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67.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8.xml" ContentType="application/vnd.openxmlformats-officedocument.presentationml.tags+xml"/>
  <Override PartName="/ppt/notesSlides/notesSlide3.xml" ContentType="application/vnd.openxmlformats-officedocument.presentationml.notesSlide+xml"/>
  <Override PartName="/ppt/tags/tag6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tags/tag70.xml" ContentType="application/vnd.openxmlformats-officedocument.presentationml.tags+xml"/>
  <Override PartName="/ppt/tags/tag71.xml" ContentType="application/vnd.openxmlformats-officedocument.presentationml.tags+xml"/>
  <Override PartName="/ppt/notesSlides/notesSlide6.xml" ContentType="application/vnd.openxmlformats-officedocument.presentationml.notesSlide+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notesSlides/notesSlide7.xml" ContentType="application/vnd.openxmlformats-officedocument.presentationml.notesSlide+xml"/>
  <Override PartName="/ppt/ink/ink11.xml" ContentType="application/inkml+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686" r:id="rId5"/>
    <p:sldMasterId id="2147483660" r:id="rId6"/>
  </p:sldMasterIdLst>
  <p:notesMasterIdLst>
    <p:notesMasterId r:id="rId27"/>
  </p:notesMasterIdLst>
  <p:handoutMasterIdLst>
    <p:handoutMasterId r:id="rId28"/>
  </p:handoutMasterIdLst>
  <p:sldIdLst>
    <p:sldId id="256" r:id="rId7"/>
    <p:sldId id="3254" r:id="rId8"/>
    <p:sldId id="3291" r:id="rId9"/>
    <p:sldId id="3276" r:id="rId10"/>
    <p:sldId id="2134805252" r:id="rId11"/>
    <p:sldId id="2134805248" r:id="rId12"/>
    <p:sldId id="2134805249" r:id="rId13"/>
    <p:sldId id="3292" r:id="rId14"/>
    <p:sldId id="2134805247" r:id="rId15"/>
    <p:sldId id="3280" r:id="rId16"/>
    <p:sldId id="3309" r:id="rId17"/>
    <p:sldId id="2134805236" r:id="rId18"/>
    <p:sldId id="2134805200" r:id="rId19"/>
    <p:sldId id="3398" r:id="rId20"/>
    <p:sldId id="2134805240" r:id="rId21"/>
    <p:sldId id="2134805254" r:id="rId22"/>
    <p:sldId id="4001" r:id="rId23"/>
    <p:sldId id="2134805241" r:id="rId24"/>
    <p:sldId id="2348" r:id="rId25"/>
    <p:sldId id="2349" r:id="rId26"/>
  </p:sldIdLst>
  <p:sldSz cx="12192000" cy="6858000"/>
  <p:notesSz cx="6808788" cy="9940925"/>
  <p:embeddedFontLst>
    <p:embeddedFont>
      <p:font typeface="Academy Sans Office" panose="020B0503030000000000" pitchFamily="34" charset="0"/>
      <p:regular r:id="rId29"/>
      <p:bold r:id="rId30"/>
      <p:italic r:id="rId31"/>
      <p:boldItalic r:id="rId32"/>
    </p:embeddedFont>
    <p:embeddedFont>
      <p:font typeface="Academy Sans Office Black" panose="020B0A03030000000000" pitchFamily="34" charset="0"/>
      <p:bold r:id="rId33"/>
    </p:embeddedFont>
    <p:embeddedFont>
      <p:font typeface="Academy Sans Office Extrabold" panose="020B0903030000000000" pitchFamily="34" charset="0"/>
      <p:bold r:id="rId34"/>
    </p:embeddedFont>
    <p:embeddedFont>
      <p:font typeface="Lato Light" panose="020F0502020204030203" pitchFamily="34" charset="0"/>
      <p:regular r:id="rId35"/>
      <p:italic r:id="rId36"/>
    </p:embeddedFont>
    <p:embeddedFont>
      <p:font typeface="Nunito Sans" pitchFamily="2" charset="0"/>
      <p:regular r:id="rId37"/>
      <p:bold r:id="rId38"/>
      <p:italic r:id="rId39"/>
      <p:boldItalic r:id="rId40"/>
    </p:embeddedFont>
    <p:embeddedFont>
      <p:font typeface="Nunito Sans ExtraLight" pitchFamily="2" charset="0"/>
      <p:regular r:id="rId41"/>
      <p:italic r:id="rId42"/>
    </p:embeddedFont>
    <p:embeddedFont>
      <p:font typeface="Nunito Sans SemiBold" pitchFamily="2" charset="0"/>
      <p:bold r:id="rId43"/>
      <p:boldItalic r:id="rId44"/>
    </p:embeddedFont>
    <p:embeddedFont>
      <p:font typeface="Open Sans" panose="020B0606030504020204" pitchFamily="34" charset="0"/>
      <p:regular r:id="rId45"/>
      <p:bold r:id="rId46"/>
      <p:italic r:id="rId47"/>
      <p:boldItalic r:id="rId48"/>
    </p:embeddedFont>
    <p:embeddedFont>
      <p:font typeface="Poppins" panose="00000500000000000000" pitchFamily="2" charset="0"/>
      <p:regular r:id="rId49"/>
      <p:bold r:id="rId50"/>
      <p:italic r:id="rId51"/>
      <p:boldItalic r:id="rId5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5BFB6F8C-24D3-4B38-A326-3A76716F3723}">
          <p14:sldIdLst>
            <p14:sldId id="256"/>
            <p14:sldId id="3254"/>
            <p14:sldId id="3291"/>
            <p14:sldId id="3276"/>
            <p14:sldId id="2134805252"/>
            <p14:sldId id="2134805248"/>
            <p14:sldId id="2134805249"/>
            <p14:sldId id="3292"/>
            <p14:sldId id="2134805247"/>
            <p14:sldId id="3280"/>
            <p14:sldId id="3309"/>
            <p14:sldId id="2134805236"/>
            <p14:sldId id="2134805200"/>
            <p14:sldId id="3398"/>
            <p14:sldId id="2134805240"/>
            <p14:sldId id="2134805254"/>
            <p14:sldId id="4001"/>
            <p14:sldId id="2134805241"/>
            <p14:sldId id="2348"/>
            <p14:sldId id="2349"/>
          </p14:sldIdLst>
        </p14:section>
        <p14:section name="Designede Copy/Paste slides" id="{5093C689-80F6-43DA-A90C-ECCE94E540B8}">
          <p14:sldIdLst/>
        </p14:section>
      </p14:sectionLst>
    </p:ext>
    <p:ext uri="{EFAFB233-063F-42B5-8137-9DF3F51BA10A}">
      <p15:sldGuideLst xmlns:p15="http://schemas.microsoft.com/office/powerpoint/2012/main">
        <p15:guide id="2" orient="horz" pos="879" userDrawn="1">
          <p15:clr>
            <a:srgbClr val="000000"/>
          </p15:clr>
        </p15:guide>
        <p15:guide id="3"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4363"/>
    <a:srgbClr val="E4DCDB"/>
    <a:srgbClr val="BBD2EA"/>
    <a:srgbClr val="B8B8C4"/>
    <a:srgbClr val="2466B0"/>
    <a:srgbClr val="77A5D5"/>
    <a:srgbClr val="14143C"/>
    <a:srgbClr val="465064"/>
    <a:srgbClr val="72728A"/>
    <a:srgbClr val="1C69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E25E649-3F16-4E02-A733-19D2CDBF48F0}" styleName="Mellemlayout 3 - Markering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012ECD-51FC-41F1-AA8D-1B2483CD663E}" styleName="Lyst layout 2 - Markerin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guide orient="horz" pos="879"/>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font" Target="fonts/font11.fntdata"/><Relationship Id="rId21" Type="http://schemas.openxmlformats.org/officeDocument/2006/relationships/slide" Target="slides/slide15.xml"/><Relationship Id="rId34" Type="http://schemas.openxmlformats.org/officeDocument/2006/relationships/font" Target="fonts/font6.fntdata"/><Relationship Id="rId42" Type="http://schemas.openxmlformats.org/officeDocument/2006/relationships/font" Target="fonts/font14.fntdata"/><Relationship Id="rId47" Type="http://schemas.openxmlformats.org/officeDocument/2006/relationships/font" Target="fonts/font19.fntdata"/><Relationship Id="rId50" Type="http://schemas.openxmlformats.org/officeDocument/2006/relationships/font" Target="fonts/font22.fntdata"/><Relationship Id="rId55"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font" Target="fonts/font5.fntdata"/><Relationship Id="rId38" Type="http://schemas.openxmlformats.org/officeDocument/2006/relationships/font" Target="fonts/font10.fntdata"/><Relationship Id="rId46" Type="http://schemas.openxmlformats.org/officeDocument/2006/relationships/font" Target="fonts/font18.fntdata"/><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font" Target="fonts/font1.fntdata"/><Relationship Id="rId41" Type="http://schemas.openxmlformats.org/officeDocument/2006/relationships/font" Target="fonts/font13.fntdata"/><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font" Target="fonts/font4.fntdata"/><Relationship Id="rId37" Type="http://schemas.openxmlformats.org/officeDocument/2006/relationships/font" Target="fonts/font9.fntdata"/><Relationship Id="rId40" Type="http://schemas.openxmlformats.org/officeDocument/2006/relationships/font" Target="fonts/font12.fntdata"/><Relationship Id="rId45" Type="http://schemas.openxmlformats.org/officeDocument/2006/relationships/font" Target="fonts/font17.fntdata"/><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handoutMaster" Target="handoutMasters/handoutMaster1.xml"/><Relationship Id="rId36" Type="http://schemas.openxmlformats.org/officeDocument/2006/relationships/font" Target="fonts/font8.fntdata"/><Relationship Id="rId49" Type="http://schemas.openxmlformats.org/officeDocument/2006/relationships/font" Target="fonts/font21.fntdata"/><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font" Target="fonts/font3.fntdata"/><Relationship Id="rId44" Type="http://schemas.openxmlformats.org/officeDocument/2006/relationships/font" Target="fonts/font16.fntdata"/><Relationship Id="rId52" Type="http://schemas.openxmlformats.org/officeDocument/2006/relationships/font" Target="fonts/font24.fntdata"/><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notesMaster" Target="notesMasters/notesMaster1.xml"/><Relationship Id="rId30" Type="http://schemas.openxmlformats.org/officeDocument/2006/relationships/font" Target="fonts/font2.fntdata"/><Relationship Id="rId35" Type="http://schemas.openxmlformats.org/officeDocument/2006/relationships/font" Target="fonts/font7.fntdata"/><Relationship Id="rId43" Type="http://schemas.openxmlformats.org/officeDocument/2006/relationships/font" Target="fonts/font15.fntdata"/><Relationship Id="rId48" Type="http://schemas.openxmlformats.org/officeDocument/2006/relationships/font" Target="fonts/font20.fntdata"/><Relationship Id="rId56" Type="http://schemas.openxmlformats.org/officeDocument/2006/relationships/tableStyles" Target="tableStyles.xml"/><Relationship Id="rId8" Type="http://schemas.openxmlformats.org/officeDocument/2006/relationships/slide" Target="slides/slide2.xml"/><Relationship Id="rId51" Type="http://schemas.openxmlformats.org/officeDocument/2006/relationships/font" Target="fonts/font23.fntdata"/><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5D8382C0-1D05-4229-918E-CDD7B7E48B4A}" type="slidenum">
              <a:rPr lang="en-GB" smtClean="0"/>
              <a:t>‹nr.›</a:t>
            </a:fld>
            <a:endParaRPr lang="en-GB"/>
          </a:p>
        </p:txBody>
      </p:sp>
      <p:sp>
        <p:nvSpPr>
          <p:cNvPr id="8" name="Date Placeholder 7"/>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13F6AEEE-E778-402E-8B8F-9A98AED26EB8}" type="datetimeFigureOut">
              <a:rPr lang="en-GB" smtClean="0"/>
              <a:t>18/01/2022</a:t>
            </a:fld>
            <a:endParaRPr lang="en-GB"/>
          </a:p>
        </p:txBody>
      </p:sp>
      <p:sp>
        <p:nvSpPr>
          <p:cNvPr id="9" name="Header Placeholder 8"/>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0:18:24.829"/>
    </inkml:context>
    <inkml:brush xml:id="br0">
      <inkml:brushProperty name="width" value="0.05292" units="cm"/>
      <inkml:brushProperty name="height" value="0.05292" units="cm"/>
      <inkml:brushProperty name="color" value="#FF0000"/>
    </inkml:brush>
  </inkml:definitions>
  <inkml:trace contextRef="#ctx0" brushRef="#br0">4366 5456 26905 0,'-2'-2'-140'0,"-2"-6"501"0,-3-7 26 16,-7-4-1037 0,0 0-245-16,0 0 177 15,-13-2-20-15,-9 0 483 16,4-5 326-16,0 5 432 15,1 4 128-15,-14-2 660 16,-6 2 502-16,0-4 186 16,3 8-566-16,-13-4-869 15,-1 3-355-15,-2 1-126 16,-10 0-40-16,9 0-16 16,-5 5-5-1,-17 2-1-15,13 3-1 16,-2 1 0-16,-7 7 0 15,-8-1 0-15,19 2 0 16,-19 2 0-16,20 3 0 16,-16 6 0-16,2-6 0 15,21 3 0-15,-25 5 0 16,20 1 0-16,-1 3 0 16,-7 0 0-1,2 9 0-15,2-7 0 16,19 7 0-16,-21 6 0 15,10 0 0-15,9 2 0 16,-11 9 0-16,7-6 0 16,-1 5 0-16,15 1 0 15,-17 2 0-15,18-5 0 16,13 1 0-16,-2 6 0 16,2-7 0-1,-1 1 0-15,7 12 0 16,2-4 0-16,10 6 0 15,-5-1 0-15,4 5 0 16,2-9 0-16,1 9 0 16,2-6 0-16,10-1 0 15,2 3 0-15,6-2 0 16,-4-4 0-16,8 9 0 16,4-9 0-1,-2 4 0-15,5 0 0 16,11 5 0-16,8-11 0 15,-2 6 0-15,47 60 0 16,-32-65 0 0,-3-5 0-16,-3-4 0 15,7 5 0-15,7-3 0 16,-3-5 0-16,5-4 0 16,4 1 0-1,-5-1 0-15,-3 2 0 16,11 0 0-16,-3-4 0 15,-12 2 0-15,13-2 0 16,-5-4 0-16,5-2 0 16,6-9 0-16,2-5 0 15,9 4 0 1,-16-3 0-16,-1-7 0 0,13 1 0 16,-8-3 0-1,1-1 0-15,23-10 0 16,-14-1 0-16,-14 0 0 15,16-2 0-15,-5-1 0 16,3-5 0-16,-7 1 0 16,-4-3 0-16,12-2 0 15,-13-3 0-15,2-4 0 16,5-2 0-16,-10-3 0 16,-2-2 0-1,-5-3 0-15,-11-1 0 16,7-8 0-16,1 1 0 15,-6-5 0-15,-7 3 0 16,5-9 0-16,1 3 0 16,-9-2 0-16,-6-11 0 15,-3 3 0-15,-3 5 0 16,-2-17 0-16,-14 4 0 16,7-5 0-1,-6-2 0-15,-4 2 0 16,-5-7 0-16,0 3 0 15,-4-2 0-15,-6-5 0 16,-9 1 0-16,-4-1 0 16,-4 5 0-16,-3-7 0 15,-4 5 0-15,-1 1 0 16,5 10 0-16,-18-10 0 16,2 5 0-1,7 0 0-15,-5 7 0 16,-15 1 0-16,-2 7 0 15,7-1 0-15,-14 7 0 16,-6 0 0-16,-4 17 0 16,-13 0 0-16,-2 7-2806 15,-12 5-2218-15,-12 16-5045 16</inkml:trace>
  <inkml:trace contextRef="#ctx0" brushRef="#br0" timeOffset="6600.24">8001 5869 20371 0,'-6'-12'-263'16,"-22"-24"550"-1,11 17-265-15,-15-9-222 16,-6 4 196-16,-2 1-136 16,8 6 53-16,-13-1-113 15,-20-1-437-15,3 8-412 16,-14 5 719 0,-2-7 401-16,-7 9 757 15,13-7 286-15,-10 4 636 16,-5-3 401-16,1 2-1055 15,-5-3-632-15,6 5-288 16,-22-1-120-16,21 3 48 16,-5 4 314-16,0 4-206 15,0 5 191-15,0 1 54 16,4 1 599 0,15 6-643-16,-8 6-77 15,10 5-150-15,9-1-43 16,-22 1-93-16,17 6 30 15,-1-3 318-15,-4 3 170 16,19 0-168-16,-7 11 135 16,5-5-410-16,3 4 66 15,7 5 64 1,4 4-21-16,-9-4-90 0,18 5-34 16,5-1-84-1,8 0-6-15,-2 9-13 16,18-9-168-16,-4 6 38 15,8 7 144-15,-4-7-56 16,16 4 1-16,4 5-106 16,0-9 52-16,10 9-29 15,3-1 144-15,5-5 112 16,9-5-138-16,8 5 44 16,7-3-142-1,-4-8 111-15,13 1 14 16,2 0-43-16,1-6-56 15,11-2 49-15,2 3 153 16,18-1-92-16,-10-14-145 16,-4 4-15-16,22-2-10 15,-10-7 51-15,18 1 130 16,-3-4 34 0,-6-10 457-16,-2-5-72 15,-11-9-345-15,13-3-89 16,-10-1-26-16,12-12-6 15,-19-12-2-15,2 3-1 16,-2-5 0-16,0-4 0 16,-12-4 0-16,12-11 0 15,-12-2 0-15,-5-4 0 16,-3-12 0 0,-8 3 0-16,2-6 0 15,-7-6 0-15,-14 6 0 16,3-14 0-16,-13 9 0 15,-11-7 0-15,-11 2 0 16,-2-9 0-16,-17 4 0 16,-10 5 0-16,-8-5 0 15,-9 5 0-15,-2-7 0 16,-6 6 0 0,-11 3 0-16,-20-3 0 15,1 16 0-15,-9-1 0 16,-4 7 0-16,-16 6 0 15,18 2 0-15,-5 9-321 16,-14 8-1682-16,3 7-1353 16,-2 14-2050-16,-7 7-3465 15</inkml:trace>
  <inkml:trace contextRef="#ctx0" brushRef="#br0" timeOffset="11264.36">11639 5822 3716 0,'0'0'5166'16,"-2"-4"-991"-16,0-6-1400 15,-2-1-1108-15,0-1-985 16,-7-7-1343-16,0 3 271 16,-10-2-192-16,-11 1 310 31,-33-15 396-31,33 19 78 16,6 3 647-16,-16-5 444 15,-5 2 524-15,-35-10 2124 16,31 12-2768-1,-6-6-248-15,4-2-381 16,1 9-17-16,-15-10 159 16,19 10-253-16,-9-1-116 15,-17-1 169-15,17 4-401 16,4 1 67 0,-17-3 78-16,7 3-28 15,45 5-152-15,-28 0 299 0,-24 0 13 16,0 2-52-16,9 4 65 15,-7 0-32-15,3 5-165 16,-12 4-28-16,11-1-62 16,1 3 112-16,-7-1-154 15,15 2-11-15,-2 3-44 16,-9-2 28 0,7-3-13-16,5 3-4 15,1 2-1-15,5 0-1 16,1 1 0-16,7-1 0 15,-11 6 0-15,15-4 0 16,8 4 0-16,-7 3 0 16,-5 6 0-16,-4 2 0 15,10-5 0-15,2 8 0 16,-6 5 0-16,4-3 0 16,0-1 0-1,5-3 0-15,5 6 0 16,7-3 0-16,-7 9 0 15,14-13 0-15,-6 2 0 16,8 4 0-16,2 5 0 16,4-3 0-16,-3-1 0 15,10 1 0-15,-3-2 0 16,4 5 0 0,0-7 0-16,4 5-79 15,0-1 128-15,3 1-31 16,4-7-49-16,2-2 56 15,4 6-14-15,-2-2-7 16,7 3-2-16,5 1-1 16,3-2-1-1,-4 1 0-15,-3-3 0 0,3 5 0 16,4-1 0 0,8 6 0-16,5-7 0 15,-5 2 0-15,1-8 0 16,9 8 0-16,7-5 0 15,3 0 0-15,5-4 0 16,-7-2 0-16,12 4 0 16,2 0 0-16,-13-12 0 15,16 10 0-15,-5-13 0 16,1 7 0-16,10-3 0 16,-7-8 0-1,15-6 0-15,-6-7 0 16,-68-4 0-16,49 3 0 0,8-3 0 15,15-11 0-15,-15 1 0 16,12-5 0-16,3-2 0 16,-8-4 0-1,8-8 0-15,-9-5 0 0,9-2 0 16,-17-11 0-16,2-5 0 16,-6-3 0-1,-3 2 0-15,-1-8 0 16,-5-5 0-16,-6-1 0 15,6-5 0-15,-3 0 0 16,-18-6 0-16,2-7 0 16,0-3 0-16,-13 5 0 15,-1-10 0-15,-9 4 0 16,-11-6 0-16,0 2 0 16,-12 0 0-1,-15 2 0-15,-7 2 0 16,-8 5 0-16,-4-3 0 15,-2 11 0-15,-19 0 0 16,-12-4 0-16,4 14 0 16,-16 1 0-16,-6 1-447 15,-6 12-850-15,-13 9-237 16,2 6-875-16,-17 5-2966 16,-10 15-1823-1</inkml:trace>
  <inkml:trace contextRef="#ctx0" brushRef="#br0" timeOffset="19734.78">11742 9433 6342 0,'0'0'4467'15,"0"0"179"-15,-2-1-1351 16,-2-6-1064-16,-4-8-961 16,-5 3-1622-16,-2-5-558 15,-4 0 219-15,-1 4 91 16,-4-4-805-16,-8 2 733 15,-15-4 468-15,-3 5 148 16,-3 1 280-16,-15 0 1197 16,9-2-443-16,6 1 1398 15,-15-6-633 1,1 3-237-16,1-2-639 16,-2 2 414-16,2 3-545 15,-1-3 224-15,-14 0-239 16,13 4-98-16,-1 5 58 15,-3-1-373-15,2 5-57 16,-8-3 143-16,-1 6-208 16,7 2-84-1,1 4-69-15,-4 3-23 0,-1 5-7 16,-2 6-1-16,-7 5-2 16,3 1 0-1,5 6 0-15,8 1 0 16,3 6 0-16,-6 5 0 15,17-11 0 1,4 10 0-16,-8 9 0 0,11-2 0 16,5 3 0-16,-11 5 0 15,-4 3 0 1,7-7 0-16,11 1 0 16,1 14 0-16,1-4 0 15,2-3 0-15,9 5 0 16,5-9 0-16,2 2 0 15,7 7 0-15,4 59 0 16,14-51 0 0,-8-6 0-16,6 6 0 15,-1 2 0-15,0 4 0 16,-2-4 0 0,11 5 0-16,-1-1 0 15,2-10 0-15,16 0 0 16,11-2 0-16,5-3 0 15,-2 3 0-15,3-9 0 16,16 5 0-16,-1-7 0 31,-5-4 0-31,18 4 0 0,-5-8 0 0,-3 6 0 16,8-15 0-16,5 0 0 16,21-8 0-1,10 0 0-15,-12 1 0 16,0-13 0-16,-8 1 0 15,12 0 0-15,8-2 0 16,-14-7 0 0,111 8 0-1,-111-16 0-15,6-6 0 0,-2-2 0 16,-77 2 0-16,49-7 0 16,25-6 0-16,2-6 0 15,-12-4 0-15,-5-18 0 16,3-5 0-16,3-12 0 15,-9-10 0-15,-1-6 0 16,-10-4 0-16,3-9 0 16,-4-4 0-16,-11-2 0 15,2-9 0 1,-7 4 0-16,-9-6 0 0,-3 5 0 16,-8-7 0-1,-9 0 0-15,-2 5 0 16,-8-2 0-16,-9 4 0 15,-9-9 0-15,-1 6 0 16,-7 0 0-16,0 10 0 16,-9-8 0-16,-16 15 0 15,-15 0 0-15,-1 7 0 32,1 1 0-32,-28 5 0 0,7 9 0 15,5 5 0-15,-2 1 0 16,-22 4 0-16,-5 4 0 15,-6 9 0-15,5 4 0 16,-10 8 0-16,-18 9 0 16,2 9 0-16,1 20-3647 15,-19 13-6270-15</inkml:trace>
  <inkml:trace contextRef="#ctx0" brushRef="#br0" timeOffset="24990.35">7389 9112 17072 0,'-8'-4'5013'0,"-18"-7"-1739"15,1-4-1795-15,-7 2-598 16,6 1-458-16,-8-1-696 16,-17 2 90-16,-46-1-230 31,38 10 403-31,-5 2 432 0,7 2-38 16,1 6 600-1,-2 3-337-15,1-1 524 16,-6 3-338-16,-3 2-124 15,5 6-474-15,4 1-157 16,-9 7-50-16,9-5-20 16,1 5-5-16,-1-1-2 15,9 4 0 1,3 3-1-16,3 3 0 16,4 1 0-16,1 1 0 15,2 13 0-15,5-5 0 16,14 11 0-16,-6 1 0 15,-3-1 0-15,-1 4 0 16,8 1 0-16,4 2 0 16,10-3 0-16,4 16 0 15,4-12 0-15,2 7 0 16,4-2 0-16,4 4 0 16,5-1 0-1,3 1 0-15,0-2 0 16,-2-5 0-16,1-1 0 15,9 6 0-15,16-8 0 16,-4 2 0-16,-3-2 0 16,7 1 0-16,9 5 0 15,-6-12 0-15,-1 1 0 16,12-4 0-16,5-6 0 16,8-9 0-1,2-10 0-15,4-5 0 16,9-3 0-16,-1-10 0 15,-2-5 0-15,6-11 0 16,11-5 0-16,-11-10 0 16,-11-4 0-16,-2-6 0 15,1-14 0-15,-3-3 0 16,-13-13 0-16,2-8 0 16,-11-12 0-1,-11-3 0-15,1-9 0 16,1 0 0-16,-9-15 0 15,-11 1 0-15,-4-5 0 16,-15-7 0-16,-8 1 0 16,-8 0 0-16,-20 1 0 15,-6 4 0-15,-4 0 0 16,-3 6 0 0,-18 8 0-16,-17-1 0 15,-3 14 0-15,-2 1 0 16,-8 13 0-16,-12 1 0 15,2 16 0-15,3 9 0 16,-18-3 0-16,-3 13-696 16,14 7-1526-16,-10 10-1712 15,0 11-4259-15,8 8-3437 16</inkml:trace>
  <inkml:trace contextRef="#ctx0" brushRef="#br0" timeOffset="28524.58">4529 9281 6983 0,'-6'-4'5471'15,"-13"-6"-3069"-15,-5-6-1086 16,-1 0-704-16,-4-4-742 16,-7-5-392-16,6 10 362 15,-13-6 505-15,-7 2 359 16,-3 6 1268-16,-2 1 51 16,-11 1 424-1,1 1-437-15,-1 6-77 16,-4-5-287-16,2 2-571 15,-10 1-181-15,0-4-287 16,4 6 58-16,-7-3-335 16,-2 5-230-16,-5-2-69 15,3 4-22-15,-4 4-6 16,6 0-2 0,-6 2-1-16,5-1 0 15,-3 5 0-15,1 1 0 16,-8 2 0-16,7 1 0 15,0 5 0-15,8 3 0 16,-10-1 0-16,2 2 0 16,13 7 0-16,-1-7 0 15,8 4 0-15,-7 3 0 16,-3 2 0-16,8-5 0 16,-8 3 0-1,16 6 0-15,1 4 0 16,1-4 0-16,13 7 0 15,6-1 0-15,1 5 0 16,3 3 0-16,5-7 0 16,7 1 0-16,2 13 0 15,-4-4 0-15,11 4 0 16,2 5 0 0,5 1 0-16,6 1 0 15,6 4 0-15,2-7 0 16,1 9 0-16,6 4 0 15,7 0 0-15,6 6 0 16,8-3 0-16,1 3 0 16,-3-2 0-16,-10 3 0 15,9 3 0-15,11 1 0 16,5-4 0 0,-3-3 0-16,8 6 0 15,3-5 0-15,10-12 0 16,-3 8 0-16,11-3 0 15,-4-7 0-15,-2-1 0 16,7-5 0-16,1 0 0 16,14-4 0-16,4-4 0 15,-11-9 0 1,1-8 0-16,10-4 0 16,6-9 0-16,0-12 0 15,-1 1 0-15,2-2 0 16,9-5 0-16,0-3 0 15,-8-7 0-15,9-6 0 16,-8-3 0-16,-1-8 0 16,3-7 0-16,-4-5 0 15,-3-7 0-15,-4-9 0 16,-2-6 0-16,6 3 0 16,-14-14 0-1,-11-6 0-15,2-14 0 16,-8-4 0-1,-3-2 0-15,-5-6 0 0,-8-1 0 16,-11-2 0-16,-4 0 0 16,-1-1 0-16,-10-5 0 15,-12-3 0-15,-6 12 0 16,-12-7 0-16,-4 2 0 16,-1-4 0-1,-8 10 0-15,-15-4 0 16,3 7 0-16,-1 8 0 15,-9 11 0-15,-14-5 0 16,7 3 0-16,-12 6 0 16,-9 6 0-16,3 15 0 15,-25 3 0-15,0 11 0 16,-15 6 0 0,2 9-679-16,9 9-3811 15,-28 14-5406-15</inkml:trace>
  <inkml:trace contextRef="#ctx0" brushRef="#br0" timeOffset="41693.05">21205 5211 25528 0,'2'-2'151'0,"2"-3"-187"16,6-5-111-16,-2 0-613 15,2 3-748-15,-4-2-12 16,-2 5-90-16,-2-4 922 16,-2 6 908-16,-12-2 298 15,-4 4 2161-15,-7 4 265 16,-5 4 666 0,3-2-1786-16,8-1-1040 15,7-1-434-15,-3 3-146 16,4-1-104-16,1 2-43 15,2 3-26-15,1-5-16 16,1-1-520-16,4-1-70 16,2-4 258-16,11 0 290 15,15-11 527-15,6-4-136 16,-5-4-24 0,-8 4-212-16,-10 5-73 15,-3-1-28-15,-10 0-13 16,-24-12-1-1,3 15-11-15,5 3-1 16,6 4-1-16,2 2 1 16,0 4-1-16,-8 5 0 15,10 5 0-15,4 2 0 16,0-4 0 0,4-1 0-16,4 1 0 15,4 0 0-15,6-3 0 16,10-1 0-16,10-5 0 15,-11-6 0-15,1 0 0 16,-8-2 0-16,-4 2 0 16,-8-5 0-16,-2-3 0 15,4-5 0-15,-6 2 0 16,-10-1 0 0,-4 3 0-16,-4 2 0 15,-10 9 0-15,-10 13 0 16,13 4 0-16,3 2 0 15,4 4 0-15,11-6 0 16,7-4 0-16,2-2 0 16,11-3 0-16,4-6 0 15,6-6 0-15,-6-5 0 16,4-3 0 0,-10 3 0-16,-7 3 0 15,4 2 0-15,-3 0 0 0,-3 1 0 16,0 3 0-16,-4 0 0 15,-17 4-217-15,-13 5-10388 16</inkml:trace>
  <inkml:trace contextRef="#ctx0" brushRef="#br0" timeOffset="47044.48">21209 7218 3011 0,'0'0'3607'15,"0"0"-317"-15,2-5-496 16,0-3-469-16,-2-1-425 15,-6-1-448-15,-5-1-219 16,-6 3 788-16,-8 0-216 16,5 1-543-1,10 5-119-15,-5-1-225 0,4 2-160 16,5 1-153 0,-7 4-65-16,-6 9 444 15,11-1-280-15,1 5-50 16,3 2-346-16,6-2-44 15,-2-6-65-15,2-1 243 16,13-3-173-16,-6-5-152 16,8-4-37-16,-1-7-38 15,8-10-20-15,2-4-11 16,5-3-7 0,-9 6-2-16,-8 0-2 15,-12 14 1-15,-8 0-1 16,-32 6 0-16,-3 16 0 15,9 1 0-15,10 7 0 16,0-5 0-16,14-9 0 16,1 3 0-16,7-4 0 15,2-3 0-15,5-4 0 16,-1 0 0-16,3-4 0 16,-3-5 0-1,-2-5 0-15,-1-5-3593 16,-8-2-8325-16</inkml:trace>
  <inkml:trace contextRef="#ctx0" brushRef="#br0" timeOffset="58660.03">6400 11230 4997 0,'-2'0'3735'0,"-2"0"-696"16,-3 0-13-16,1-1-65 16,2-2-728-1,-2 2-286-15,2-2-539 0,-5 1-465 16,-2-4-223 0,-3-1 225-1,7 5-163-15,3 2 122 16,4 0-207-16,0 0 194 15,0 0-623 1,0 0-27-16,15 2 539 16,-5 1-620-1,4 1-141 1,4 2 41-16,8 3-46 16,-1-5 166-16,3 2-203 15,-4 5-176-15,2-1 157 16,11 3 212-16,-1 2 51 15,3-5 122-15,-1 3-36 16,-6-5-60-16,6 5-22 16,13-2-130-16,0-7-79 15,-9 3-69-15,3 1 51 16,21-2-19-16,-11-3-90 16,-9-3 133-1,13 0 28-15,-1-7-136 16,-12 3 117-16,13-9-40 15,6 1-185-15,-15-4 233 16,-4-11-249-16,7 2 194 16,-8-5 72-16,-9-2 438 15,2-1-200-15,1-10-182 16,0-1-72 0,-1-9-26-16,-12-4-9 15,-4-11-4-15,4 4 0 16,-1-3-1-16,-5-3 0 15,-10 2 0-15,-4-6 0 16,-4 4 0-16,-4-6 0 16,-4 4 0-16,0 2 0 15,-7-8 0-15,-8 10 0 16,4-4 0 0,7 2 0-16,-8 9 0 15,-4-13 0-15,-8 8 0 16,2 3 0-16,-3-3 0 15,-1 1 0-15,2 9 0 16,-4-7 0-16,0 6 0 16,-10 4 0-16,6 0 0 15,10 5 0-15,-8 3 0 16,-9-6 0-16,-1 5 0 16,5 10 0-1,4 4 0-15,-12 2 0 16,0-1 0-16,2 3 0 15,3 3 0-15,-2 7 0 16,-1 6 0-16,5 3 0 16,-7 5 0-16,-2 4 0 15,5 2 0 1,-5 9 0-16,3 4 0 16,-16 5 0-16,13 4 0 15,4 10 0-15,-9 4 0 16,0-2 0-16,19 9 0 15,-8 1 0-15,-9 5 0 16,14-6 0-16,1 9 0 16,9-3 0-16,4 13 0 15,-3 3 0-15,-1-1 0 16,14-5 0 0,-2 7 0-16,8 2 0 15,-3 0 0-15,9 2 0 16,2 4 0-16,10-2 0 15,-4 5 0-15,1 5 0 16,7-2 0-16,8 10 0 16,0-14 0-16,6 9 0 15,-1-9 0-15,-1 0 0 16,-2-2 0 0,13 1 0-16,7-1 0 15,-2-2 0-15,-6 6 0 16,-5-8-242-16,5 5 254 15,15 1-76-15,-5-8-43 16,-9-3 162 0,13-7 160-16,16-5-124 0,-15-9-64 15,12-1-18-15,5-11-6 16,-13-9-2 0,10-8-1-16,9 0 0 15,-5-13 0-15,6-8 0 16,-1-9 0-16,-1-10 0 15,10-17 0-15,-11-7 0 16,-1-14 0-16,-7-7 0 16,-17-15 0-16,1-5 0 15,9-7 0-15,-4-14 0 16,-13-3 0-16,-17-4 0 16,-8-5 0-1,-1 1 0-15,-1-8 0 16,4-3 0-16,-8 11 0 15,-14-5 0-15,-8-4 0 16,-2 12 0-16,-2 1 0 16,0 10 0-16,-11-2 0 15,-14 6 0-15,-11 13 0 16,-12 15-1205-16,-10 9-1138 16,-1 12-437-1,-13 6-3178-15,2 9-4351 16</inkml:trace>
  <inkml:trace contextRef="#ctx0" brushRef="#br0" timeOffset="67144.23">21338 9190 6278 0,'0'0'2377'0,"-2"-6"247"15,0 0-759-15,-8-1 103 16,-2-3 64-16,6 1-928 16,-7 1-217-16,0 2-190 15,-1-3 494-15,3 5 497 16,-8 1-447-16,2 8-519 16,5-3-292-1,-2 8-89-15,4 3 14 16,2-2 118-16,-1 0 9 15,7-3 284-15,2-2-394 16,6 0 53-16,3 5 234 16,5-6-145-16,-5-8-191 15,4 1-201-15,-1-2-10 16,4-9 0 0,-6-1-287-16,5-10-399 15,-5 3 433-15,1 6 0 16,-7 2 626-16,-4 5 30 15,-8 0 26-15,-1 5-212 16,-16 14 511-16,-3 10-301 16,5 3-317-16,6-4-132 15,4-3-49-15,5-4-24 16,6-2-9-16,2 0-3 16,4-6-2-1,-2-2-2-15,-2-1 0 16,9-2-1-16,-1-6 1 15,11-11-1-15,2-5 0 16,-1 1 0-16,-16 11 0 16,0-1 0-16,0 9 0 15,-4 0 0-15,-19 12 0 16,-36 22-5165-16,-4 2-12406 16</inkml:trace>
  <inkml:trace contextRef="#ctx0" brushRef="#br0" timeOffset="71255.06">21287 10587 4356 0,'0'0'6560'15,"0"0"-3402"1,0 0-1042-16,0 0-144 15,0 0-129-15,0 2-370 16,0-2-280-16,0 0-242 16,-2 0-176-16,-5-4-202 15,5 4-109-15,0-2-110 16,0 0-81-16,-4 0-152 31,-7 6-201-31,-4 13 317 16,2 0 237-16,5 2 454 15,4-4-285-15,1-2-241 16,5-5-311-16,5 0 52 16,5-5-114-16,4-3 82 15,2-7 53-15,-4-8-140 16,-1-4-61 0,-1 5 19-16,-3-3-149 15,-1 0 97-15,-6-1 130 16,-8 2-93-16,-16 3-336 15,-8 15 874-15,-2 11 955 16,1 6-222-16,11-4-779 16,12-5-272-16,6-5-107 15,0-4-31-15,2 4-21 16,2-5-11-16,6 2-4 16,15-4-4-1,9-9-5-15,-3-3-2 16,-6-6-1-16,-1 3 0 15,-12 9-1-15,-6 4 0 16,0 2 0-16,-2 2 0 16,-6 6 0-16,-22 23 0 15,-8 3 0-15,0-4-1725 16,7 0-5616-16</inkml:trace>
  <inkml:trace contextRef="#ctx0" brushRef="#br0" timeOffset="81897.17">21278 11843 6919 0,'0'0'5875'0,"0"0"-390"15,0 0-1292-15,0 0-699 16,0 0-1059-16,-4-5-757 15,4 3-985 1,-2 0-588-16,2 2-282 0,0 0-216 16,-2-2-114-1,0 2 17-15,0 4 113 16,-7 7 343-16,-1 2 419 0,-1-1 41 16,2-5-45-1,5-1-144-15,-2 0 227 16,6-1-275-16,-2-1-109 15,2 2 71-15,0 0 80 16,6 7-256-16,-4-11-25 16,2 0-2-16,-2 1 288 15,2-6 238-15,6-1-152 16,-2-5-124 0,0-7-88-16,3-8-50 15,-1-3-32-15,-3 1-15 16,-5 1-43-16,-6 6 50 15,-3 4-170-15,-3 2 232 16,-5 9-39-16,-9 6-19 16,4 9-13-16,7 2-6 15,6-1-3-15,3 10 0 16,4-3-2 0,2-1 1-16,-2-7-1 15,-2-2 0-15,4-5 0 16,-2 0 0-16,6-2 0 15,16-6 0-15,8-11 0 16,-3-6 0-16,-8 6 0 16,-12 11 0-16,-7 4 0 15,0 0 0-15,-15 15 0 16,-41 21 0-16,-1 0 0 16,11-5-6012-1</inkml:trace>
</inkml:ink>
</file>

<file path=ppt/ink/ink10.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2:10:15.489"/>
    </inkml:context>
    <inkml:brush xml:id="br0">
      <inkml:brushProperty name="width" value="0.05292" units="cm"/>
      <inkml:brushProperty name="height" value="0.05292" units="cm"/>
      <inkml:brushProperty name="color" value="#00B0F0"/>
    </inkml:brush>
    <inkml:brush xml:id="br1">
      <inkml:brushProperty name="width" value="0.05292" units="cm"/>
      <inkml:brushProperty name="height" value="0.05292" units="cm"/>
      <inkml:brushProperty name="color" value="#FF0000"/>
    </inkml:brush>
    <inkml:brush xml:id="br2">
      <inkml:brushProperty name="width" value="0.05292" units="cm"/>
      <inkml:brushProperty name="height" value="0.05292" units="cm"/>
      <inkml:brushProperty name="color" value="#92D050"/>
    </inkml:brush>
    <inkml:brush xml:id="br3">
      <inkml:brushProperty name="width" value="0.05292" units="cm"/>
      <inkml:brushProperty name="height" value="0.05292" units="cm"/>
      <inkml:brushProperty name="color" value="#7030A0"/>
    </inkml:brush>
  </inkml:definitions>
  <inkml:trace contextRef="#ctx0" brushRef="#br0">15809 1885 19346 0,'-3'0'-38'0,"3"0"484"15,0-4-172-15,5-2-76 16,-3 4-117-1,5-7-1436-15,-7 5-795 16,6-2 500-16,-6 0 664 16,0-3 397-16,0 5 526 15,2-5 2198-15,-2 5 94 16,2-4 472-16,-4-3 196 16,2 0-862-16,0-3-488 15,-2-1-247-15,-11-4-375 16,2 6-459-16,-5-6-83 15,-12 2-68 1,9 2-84-16,-19-2-54 16,15 5-112-16,-9-1 168 15,0 7 98-15,0-3 3 16,-17 0 255-16,-1 5-362 16,7 4-147-16,1 3-48 15,-15 3-18-15,11 2-10 16,-7 9-2-16,6 2-1 15,-1 3-1-15,20-1 0 16,-12 6 0 0,10 1 0-16,-1 3 0 15,-10 5 0-15,13 0 0 16,4 3 0-16,4 1 0 16,3-2 0-16,4 0 0 15,9-2 0-15,4-4 0 16,0-3 0-16,2 1 0 15,2-2 0-15,7-5 0 16,2 0 0-16,3-4 0 16,18 0 0-1,9-4 0-15,-3-2 0 16,-12-11 0-16,23 6 0 16,-1-3 0-16,7-3 0 15,1 0 0-15,7 0 0 16,-10 0 0-1,-9 0 0-15,10 7 0 16,1-1 0-16,-12-2 0 16,-3 7 0-16,13 4 0 15,6-2 0-15,-23 4 0 16,18 2 0-16,-10 6 0 16,-5-1 0-16,-17-5 0 15,6 7 0-15,1 3 0 16,-1 4 0-16,2 2 0 15,-13-7 0-15,1 6 0 16,-10 2 0-16,-10 3 0 16,0 3 0-1,-4-2 0-15,-11 1 0 16,-6 3 0-16,-7-8 0 16,1 3 0-16,-9-8 0 15,6 1 0-15,-11 0 0 16,-5-11 0-16,6-4 0 15,-13 0 0 1,-8-4 0-16,6-6 0 16,3-3 0-16,8-4 0 0,-23-4 0 15,3 0 0 1,3-2 0-16,-12-5 0 16,15 1 0-16,-15-5 0 15,10-6 0-15,6-2 0 16,-11-5 0-16,9 1 0 15,4 0 0-15,0-3 0 16,0-2 0-16,0 0 0 16,13 5 0-1,-7-2 0-15,3 3 0 16,9 6-19-16,14 0-1488 16,-6 1-2214-16,18 5-3385 15</inkml:trace>
  <inkml:trace contextRef="#ctx0" brushRef="#br0" timeOffset="1100.24">16638 1706 27962 0,'0'0'-259'0,"-4"10"-815"15,0 12-286-15,-2 11-2156 16,-7 14-2080 0,-2 6 1292-16,-8 6 2534 15,9 5 2200-15,11 1 2081 16,-18 7 2628-16,2 13-692 16,4-5-761-16,0 3-846 15,-6 0-1172-15,6-7-806 16,-1 2-143-16,-4-4-457 15,3 5-179-15,-8-12-58 16,4 1-17 0,3-9-5-16,2-8-2 15,-3-11-1-15,0-14 0 16,10-12 0-16,7-8 0 16,0-3 0-16,4-14 0 15,4-27 0-15,5-15 0 16,2-14 0-16,2-8 0 15,-1-11 0-15,2-1 0 16,0-11-370 0,1 5 246-16,9 0 180 15,-4 4-64-15,4 0 234 16,-11 7-72-16,6-3-108 16,-2 9-32-16,-2 4-10 15,6 2-3-15,-3 13 0 16,-2 10-1-16,-1 7 0 15,7 12 0-15,-4 7 0 16,8 7-256 0,9 8-155-16,-10 10 88 15,18 12-234-15,-3 8 165 16,-5 5 363-16,-4 10 300 16,-23-29-196-16,14 22 396 0,6 21 193 15,1 4-340-15,-1 0-216 16,-10 9-71-16,-2 1-25 15,-10 5-8-15,4 4-3 16,-3 1 0 0,0 7-1-16,-7 3 0 15,6-4 0-15,1-9 0 16,-5 0 0-16,2-2 0 16,12-6 0-16,-4-12 0 15,12-3 0-15,-3-6 0 16,2-9 0-16,-8-9 0 15,11-1 0-15,-10-7 0 16,4-5 0 0,3-1 0-16,7-6 0 15,2-5-1459-15,-9-7-1720 16,9-20-6575-16</inkml:trace>
  <inkml:trace contextRef="#ctx0" brushRef="#br0" timeOffset="1533.32">16236 2326 32767 0,'0'0'0'0,"4"0"0"16,43-6 0-1,5 2 0-15,13-3 0 16,13-1-420-16,-21-1 360 16,26 1 305-1,-13-1-86-15,12 5-106 16,-10-3-37-16,0 3-11 16,-4 2-4-16,-16 0 0 15,-3 4-1-15,-4 0-682 16,2 0-2931-16,-18 0-4986 15</inkml:trace>
  <inkml:trace contextRef="#ctx0" brushRef="#br0" timeOffset="2064.66">17830 1667 13677 0,'0'0'1536'0,"-2"9"-180"16,-4 12 684-16,-3 11-930 16,3 12-593-16,-9 14-180 15,13 1 283-15,-15 13 1460 16,11 10 914-16,-9 1-67 15,15 8-620-15,-7-4-1413 16,7 12-626 0,0-12-195-16,7 2-51 15,-18-6-16-15,11-1-4 16,-10-6-1-16,1-10-1 16,-1-7 0-16,1-12 0 15,1-7 0-15,8-15 0 16,-5-12-287-16,5-7-999 15,-2-6-1350-15,-2-10-4822 16,4-30-3456 0</inkml:trace>
  <inkml:trace contextRef="#ctx0" brushRef="#br0" timeOffset="2482.66">17650 1674 22838 0,'-4'-7'462'0,"8"2"859"16,-4-11 213-1,0 10-1343-15,2-2 145 16,6-1 115 0,14-1 402-16,16 1 734 15,5-4-168-15,7 1-292 16,23 1-689-16,-10-4-298 16,17 7-92-16,7-3-32 15,-20 5-12-15,16 4-3 16,-17 0 0-16,10 4-1 15,2 0 0-15,-29 4 0 16,19 1 0 0,-21-1 0-16,-1-2 0 15,-12 3-241-15,4 3-2971 16,-17-4-3397-16,-4 7-3587 16</inkml:trace>
  <inkml:trace contextRef="#ctx0" brushRef="#br0" timeOffset="2863.77">17648 2275 10506 0,'-2'0'8534'0,"2"0"-3271"16,24-8-658-16,28-3-2154 15,-1-4-1560-15,17 1-541 16,-5-1-239-16,2 2-74 15,2 2-24-15,-13 1-9 16,19 6-3 0,-25-1 0-16,75 5-1 15,-74 2 0 1,-1 3-2793-16,-13-5-4144 16</inkml:trace>
  <inkml:trace contextRef="#ctx0" brushRef="#br0" timeOffset="3699.94">18381 2597 31550 0,'0'0'-196'0,"12"-2"508"0,22-1 66 15,15-1-188-15,-17-4-197 16,-22 6 5 0,15-5 1-16,11-3 324 0,15 0-185 15,-15-2-89-15,15 0-28 16,-7 1-14-16,-1 1-4 16,1-3-2-16,0-2 0 15,-5 3-1-15,-5-1 0 16,-2-4 0-16,8-10 0 15,-21 3 0 1,-5-1 0-16,4-1 0 0,-14 3 0 16,2 0 0-1,-6 2 0-15,2 2 0 16,-10-2 0-16,0-1 0 16,-10 5 0-16,-5 7 0 15,-21 3 0-15,4 7 0 16,-5 3 0-16,-5 7 0 15,-1 7 0-15,1 4 0 16,6 2 0 0,-1 9 0-16,6 0 0 15,1 0 0-15,8 6 0 16,6 0 0-16,6 2 0 16,-5 7 0-16,7 1 0 15,2 3 0-15,3 0 0 16,4 2 0-16,10 4 0 15,4-2 0 1,5-2 0-16,14 2 0 16,-1-4 0-16,-4-1 0 15,8-1 0-15,22-4 0 16,-2-11 0-16,2-9 0 16,12-1 0-16,-2-12 0 15,14-6 0-15,-9-4 0 16,-12-6 0-16,1-4 0 15,-2 0 0 1,3-3 0-16,-14-4-1847 0,-11 5-6918 16</inkml:trace>
  <inkml:trace contextRef="#ctx0" brushRef="#br0" timeOffset="17848.8">23257 7599 3203 0,'0'0'6994'16,"0"0"-2529"-16,-2 0-1069 16,0 0-1383-16,-2-3-584 15,4 3-601-15,0 0-272 16,0 0-75-16,-2 0 198 15,2 0 155-15,0 0-28 16,0 0 60-16,-2 0 424 16,0 7 257-1,0 5-158-15,2 1-427 16,0 8-435-16,4-2-272 16,-4 7-123-16,4-3-71 15,-6 7-31-15,4-3-17 16,-6 5-7-16,4 0-3 15,2 2-2 1,-8 1 0-16,-3 1-1 0,3 5 0 16,-3 3 0-1,7-1 0-15,-4 3 0 16,1 1 0-16,-1 6 0 16,0-3 0-16,0-1 0 15,-8 8 0-15,6-2 0 16,4-4 0-16,-6 17 0 15,-3-9 0-15,2-4 0 16,-1 13 0 0,7-5 0-16,7-1 0 15,1 8 0-15,-3-7 0 16,4 0 0-16,-6 9 0 16,6-8 0-16,2 4 0 15,-4-3 0-15,-6 3 0 16,-2 10 0-16,2-14 0 15,4-5 0-15,-9 0 0 16,5-20 0-16,2-3 0 16,4-9 0-1,-4-8-821-15,0-8-2441 16,0-7-3166-16</inkml:trace>
  <inkml:trace contextRef="#ctx0" brushRef="#br0" timeOffset="19783.24">23232 7554 12876 0,'0'0'5206'0,"-2"-2"-1019"16,0 0-1867-1,-3-6-942-15,3 3-817 16,0 1-360-16,0 2-82 16,2 2-70-16,-2-2-57 15,2 2-154-15,8-2 650 16,14 2 324-16,-8 0 135 15,4 4 243 1,2-2-383-16,8 2-110 16,11-2-372-16,-2-4-189 15,-5-4 44-15,-4 4-157 16,10-3-12-16,4 5-6 16,-3 0 204-16,-8 0-91 15,13 0-62-15,3-2-34 16,6 7-13-16,-15-5-6 15,4 6-2-15,4 0 0 16,1 1-1-16,-3-7 0 16,-9 2 0-1,9 2 0-15,5-2 0 16,-7-4 0-16,-4 2 0 16,9 2 0-16,13-2 0 15,-14-4 0-15,-17 6 0 16,18 0 0-16,6 2 0 15,-13-4 0-15,-4 2 0 16,6 5 0 0,18-5 0-16,-11-2 0 15,-7 0 0-15,2 2 0 16,13-2 0-16,-10-2 0 16,-7 2 0-16,7 2 0 15,-3 2 0-15,-8-4 0 16,-9 2 0-16,-3 3 0 15,-3 3-85-15,0-2-156 16,0 5 5-16,-1-3 130 16,-4 3-73-1,2-1 120-15,0 6 81 16,-1-4 70-16,-4 5 101 16,-4-2-71-16,-1 4 94 15,0 6-75-15,-4 1-76 16,0 1-34-16,8 9-17 15,-10-4-8-15,0 4-4 16,0 0-1-16,6 6 0 16,-6 7-1-1,2-2 0-15,-6-3 0 16,4 9 0-16,-2-4 0 16,2 10 0-16,-4-9 0 15,4 6 0-15,-6-1 0 16,4-7 0-16,0 7 0 15,-6-2 0-15,0 0 0 16,2-4 0-16,-6 10 0 16,8-6 0-1,2-2 0-15,-6 6 0 16,2-8 0-16,8 0 0 16,-4-1 0-16,-2-1 0 15,-4-7 0-15,4 6 0 16,-4-3 0-16,10 6 0 15,-6-14 0-15,2 14 0 16,-2-9 0 0,2 13 0-16,-2-15 0 15,0 0 0-15,4-2 0 16,0 3 0-16,-6 1 0 16,4-15 0-16,-5 3 0 15,3 4 0-15,-2-5 0 16,-1-1 0-16,-1 1-405 15,2 0-55 1,-11-4-49-16,-6-1-134 0,2-3-402 16,-9 0 620-1,7-2 123-15,-2-2 520 16,-2-1 23-16,-7-1 128 16,-9 0-70-16,-3-4-140 15,4-3-41-15,-1-2-204 16,-7-4-12-16,-7-2-81 15,11-2 195-15,-3 0-10 16,-17-5 60 0,5 2 61-16,4 1 38 15,-4 2 167-15,-3-2-131 16,3-1 56-16,-3 3-314 16,6-2 99-16,-1-1 98 15,-7 3 78-15,13 2-166 16,-4-2 315-16,0 0-255 15,-4-1 118-15,0 3-318 16,-2 2 245-16,1-4-248 16,17 2 236-1,-5 0-305-15,-5-1 200 16,6 3 93-16,3 0 74 16,-2 0-126-16,-5 0-50 15,11 0-19-15,-5-1-8 16,-3 2-2-16,3-1-1 15,3 0-1-15,6 0 0 16,-3 0 0 0,9 3 0-16,-35-1 0 15,35 0 0 1,8-4 0-16,9 2 0 16,2 0 0-16,5-2 0 15,-3 4 0-15,1-2-1047 16,4 0-3011-16,0-2-4912 15</inkml:trace>
  <inkml:trace contextRef="#ctx0" brushRef="#br0" timeOffset="20700.12">24164 7583 8936 0,'0'0'6349'0,"0"0"-1040"15,0 0-2395-15,0 0-989 16,2 3-473-16,0 6-616 16,-4 3-637-1,4 5-194-15,2 8-123 16,-4 5 133-16,2 4 194 16,0 2 199-16,-4 8 710 15,2 9 189-15,2 0-425 16,-4 0-231-16,4 17-403 15,10-11-168 1,-7 9-52-16,-5 0-19 16,5 1-6-16,-5 1-1 15,0 0-2-15,2 4 0 16,-4-2 0-16,4 2 0 16,-7 6 0-16,10-5 0 15,-5 1 0-15,2-2 0 16,-2 2 0-16,-2 9 0 15,2-9 0 1,0 3 0-16,-2-16 0 0,-3 3 0 16,-2 7 0-1,5-15 0-15,-2 1 0 16,2 6 0-16,-2-16 0 16,2 2 0-16,4 9 0 15,-8-7 0-15,-3 0 0 16,7-7 0-16,-2-2 0 15,-3-16 0 1,-1-7-366-16,4-8-1793 16,4-13-2192-16,-7-5-5843 15</inkml:trace>
  <inkml:trace contextRef="#ctx0" brushRef="#br0" timeOffset="21438.61">23033 8779 7623 0,'0'0'7073'0,"0"0"-2251"16,0 0-1604-16,2 0-1195 16,6 3-609-1,8 1-841-15,-2-2-1065 16,1 0-555-16,4-4-1 16,20 2 514-16,9 4 623 15,-3-4 1565-15,-1 0-40 16,11 0-223-16,4 0 264 15,-1 2-491-15,17-2-436 16,-9-4-272 0,9 6-189-16,2 0-182 15,-2 1-58-15,18-6-19 16,-35 3-5-16,23 0-2 16,0-2-1-16,-7 2 0 15,7 5 0-15,1-5 0 16,7 6 0-16,-11-4 0 15,9 4 0-15,-19-2 0 16,-5 5 0 0,13-5 0-16,-17-1 0 15,-3 1 0-15,5-2 0 16,-14 0 0-16,-5 2 0 16,-6 0 0-16,-9 0 0 15,-1-1 0-15,-8 1 0 16,-6-2-863-16,-4 0-1506 15,0-2-3630-15,-3 0-1757 16</inkml:trace>
  <inkml:trace contextRef="#ctx0" brushRef="#br0" timeOffset="22315.69">24237 7454 21813 0,'0'0'1334'0,"0"0"-413"16,0 0-694-16,0 0-384 15,0-4-963-15,0-13 431 16,-4-12-138-16,-2-7 430 15,6-11 241-15,-9 1 175 16,3 6 1337 0,-4-5 1503-16,6-8-908 15,-8 15-92-15,2-4-335 16,-7-5-441-16,0 11-541 16,-6-6-154-16,-9 4-239 15,0 0-94-15,9 6-35 16,-2 7-13-16,-4-1-3 15,-6 0-3-15,3 10 0 16,-2 1-1 0,12 6-188-16,2 9-108 15,-9 3-23-15,9 5 337 16,-2 9-98-16,4 4-76 16,-3 5 135-16,9 1 248 15,-6 9 105-15,18-2-144 16,2 8-11-16,7 1-105 15,4-1-44-15,10 0-17 16,-1-2-7 0,0-1-2-16,4-3-1 15,-1 1-1-15,13 2 0 16,0-6 0-16,9 6 0 16,-23-12 0-16,-1 3 0 15,-2-1 0-15,0-3 0 16,-4 1 0-16,6-3 0 15,-3-8 0-15,-4 0-1092 16,1-6-3746 0,-6-4-3181-16</inkml:trace>
  <inkml:trace contextRef="#ctx0" brushRef="#br0" timeOffset="23066.84">24235 7167 24407 0,'0'0'2473'0,"2"-4"-644"15,7-16-1575-15,10-3-945 16,-1-2 5 0,8-3 82-16,-2-5-1069 0,-7 1 489 15,-1-2 804-15,4 2 1947 16,3-2-72-16,15 0 272 15,4 1 107-15,-10 7-740 16,-5 3-443 0,7 0-396-16,0 3-176 15,11 4-70-15,-25 5-32 16,8 5-9-16,0-1-5 16,-5 5-171-16,3 4 18 15,-1 2-4-15,3 5-115 16,-7 2 152-16,0 8 63 15,-9-5 80-15,-8 5-14 16,4 7 64-16,-6 1-58 16,-2 3-10-1,4 4 32-15,-4 2-41 16,-6 0 112-16,-10 0 183 16,0 0-288-16,-6 0 190 15,-5 0-117-15,3-9-49 16,-1 7-18-16,6-7-7 15,-4 1-3-15,-9 2-2 16,-2-3 1 0,0-4-1-16,-1-3 0 15,9-1 0-15,-8-1 0 16,-9 0 0-16,-3-4 0 16,8-1 0-16,0 2 0 15,4-2 0-15,-2 2 0 16,-8 2 0-16,12-5 0 15,21-8 0-15,-7 7 0 16,4-1-344-16,2-1-2471 16,-5 4-6159-16</inkml:trace>
  <inkml:trace contextRef="#ctx0" brushRef="#br0" timeOffset="29861.88">23152 9671 865 0,'0'0'3072'15,"-6"-2"496"-15,-3 2 192 16,4 0 104-16,1 0-779 15,0 0 691-15,2 0-1992 16,2 0-375 0,-4 2-261-16,-5 10-53 15,-3 4-95-15,-4 4-58 16,2 6-157-16,4-7-289 16,-4 0-156-16,6 0 81 15,2 7 197-15,2 10-193 16,6-7-248-16,2 3-99 15,0-5-45 1,-2-14-22-16,-2 6-3 0,-4 4-4 16,2-4-3-16,0-4 0 15,-2-4 0-15,4-5-66 16,-2-4-1283-16,2 0-1811 16,0-2-3239-16</inkml:trace>
  <inkml:trace contextRef="#ctx0" brushRef="#br0" timeOffset="31565.72">22738 10494 24727 0,'0'0'1214'16,"0"0"366"-16,0 0-643 15,0 0-224-15,0 0-202 16,-2 2-325-16,-2 5-206 15,2 8 22-15,0 14 519 16,-2 7 145 0,6-2 184-16,-2 4-329 15,2 2-306-15,2 7-126 16,5-11-56-16,4 8-20 16,-7-4-8-16,-4 5-2 15,2-5-3-15,0 2 1 16,-2-3-1-16,5-2 0 15,-5 2 0 1,0-10 0-16,-2-9 0 16,-2-8 0-16,2-1 0 15,0-7 0-15,0-2 0 16,0-2 0-16,-2-4 0 16,-7-20 0-16,-1-13-825 15,6-2-146-15,-2-3 242 16,-3 4 210-16,0-13-373 15,7 0 347 1,0 1 321 0,-4 3 143-16,0-6 110 0,4 0 2 15,4 11-40-15,2-13 129 16,-4 12 248-16,-4 8-114 16,4 3 105-16,0 6-282 15,2 12 382-15,0 5-196 16,-2 7-60-1,0 2-145-15,2 6-121 16,-2 22 550-16,4 3 189 16,4 12-36-16,4-3-138 15,-2-11-313-15,0 6-107 16,-1-10-48-16,2-4-20 16,1-2-7-16,7-6-4 15,5-7-1-15,-2-6-2 16,0-8-322-16,3-9-88 15,7-9 22 1,2-3-3-16,-2 2-208 0,1-8 161 16,-3 6 199-1,-9 1 221-15,9-4-48 16,0 9-35-16,-3 2 116 16,-2 6 62-16,-6 3-61 15,-1 7-9-15,-6 7 101 16,0 9-32-16,6 17 257 15,-8 12 76-15,-8 13-97 16,0-5 120 0,1 10 189-16,-1 5-246 15,2-8-252-15,-4 0-79 16,-4 7-27-16,-1-6-12 16,3 0-3-16,-6-3-1 15,2-7-1 1,2-19 0-16,0-7 0 0,4-10 0 15,-2-5-495-15,-1-1-1530 16,3-4-1685 0,3-3-4392-16</inkml:trace>
  <inkml:trace contextRef="#ctx0" brushRef="#br0" timeOffset="31882.73">23607 10687 32767 0,'0'0'0'0,"-5"13"0"16,1 16 0-16,0 13 0 15,0 7 0-15,-2 2 0 16,-6 2 0-16,2 0 0 16,4-5 0-1,6-8 0-15,0-4 0 16,0-12-137-16,2-7-1825 16,6-11-2133-16,6-4-2470 15,2-21-2381-15</inkml:trace>
  <inkml:trace contextRef="#ctx0" brushRef="#br0" timeOffset="32065.72">23681 10335 32767 0,'0'0'0'0,"0"0"0"15,0 0 0-15,0 0-411 16,0 2-3955 0,0 5-6687-16</inkml:trace>
  <inkml:trace contextRef="#ctx0" brushRef="#br0" timeOffset="32728.72">24083 10490 27578 0,'0'0'1246'16,"0"0"-288"-16,0 0-565 15,-2-2-601-15,-8 2-1213 16,-12 0-652-16,-3 0-377 16,10 2 825-16,-4 2 625 15,-7 5 462-15,8-1 433 16,-8 5 470-16,11-1 792 15,3 5 309 1,-4 2 134-16,6-2-617 16,4 0-80-16,6 1-173 15,16 7 63-15,12-2-303 16,-5 0-216-16,3-1-80 16,2 1 243-16,-8 2 31 15,0-4-91-15,5 0 107 16,3 5-177-16,-3-1-50 15,-4-1-83-15,-4 1-97 16,0 3-98-16,-4-3-180 16,-7-2-110-1,-8 2-624-15,0 1 52 16,0-5 87-16,-13 2 276 16,0-1 403-16,-6-5 204 15,-13-3-63-15,4-1-142 16,7-4 189-16,0-3-88 15,-14-4-139 1,4 0-40-16,-1-4 169 16,4 2-628-16,12-2-630 15,4-3-370-15,4-5-1378 16,-1-11-3019-16,9 12 3738 16</inkml:trace>
  <inkml:trace contextRef="#ctx0" brushRef="#br0" timeOffset="33312.14">24568 10530 8712 0,'0'0'7814'16,"0"0"-2767"-16,-2 0-1293 16,-9 6-1066-16,-12 1-2716 15,-14 3-1586-15,1 1-1390 16,3 0 250-16,3-1-1064 16,9 3 2117-16,4-5 1026 15,0 3 2278-15,4-3 463 16,7 3-331-16,6 4 1074 15,11-1-407-15,12 8-674 16,-4-8-1016-16,4 6-583 16,22 5-146-1,1-2 51-15,-12-3-232 16,0 3 290-16,2 4 104 16,-2-4 145-16,-11 5 258 15,-4 6-155-15,-7-9-73 16,-4 9-97-16,-8-5 94 15,-8 1-150 1,-10 2-28-16,-10-6-91 0,1-5 51 16,-26 6-105-1,21-21-116 1,-6-6-38-16,0-4 9 16,6-2-123-16,9-2-391 15,1-1-18-15,-2-6-366 16,9-4-892-16,2-6-746 15,2-5 28-15,9-8-2458 16,15-4-2237-16</inkml:trace>
  <inkml:trace contextRef="#ctx0" brushRef="#br0" timeOffset="33562.14">24986 10754 21556 0,'14'15'5393'0,"6"10"-2076"15,-2 11-1826-15,-6 1-894 16,-10 7-344-16,-4-4-158 16,0-12-59-16,4 0-20 15,0-10-379-15,-2-7-1053 16,3-3-978-16,1-1-1615 15,0-7-2102-15,2-9-1978 16</inkml:trace>
  <inkml:trace contextRef="#ctx0" brushRef="#br0" timeOffset="33730.19">24982 10317 32767 0,'0'0'0'16,"0"0"0"-16,0 0 0 15,-2 0 0-15,0 0 0 16,0 0-1608-16,-4-3-4335 16</inkml:trace>
  <inkml:trace contextRef="#ctx0" brushRef="#br0" timeOffset="34218.31">25455 10659 27610 0,'0'0'1772'0,"0"0"-647"16,0 0-424-16,0 0-671 15,-11 9-34-15,-23 10-380 16,-14 4 340-16,7 9-53 16,9 8 22-16,-2 7 460 15,3-1 120-15,11-6 117 16,14-8-271-16,10-11-209 15,12 5-70-15,5-8-41 16,4-9-17-16,16-9-8 16,22-17-3-1,-15-10-2-15,-3-24 0 16,-1-2-1-16,-4-6 0 16,-10 2 0-16,-11 14 0 15,-7 1 0-15,-6 12 0 16,-14-6 0-16,-8 6 0 15,-24 1 0 1,1 12 0-16,5 9-1142 16,-3 4-1495-16,-5 10-2473 15,1 2-1737-15,5 5-218 16</inkml:trace>
  <inkml:trace contextRef="#ctx0" brushRef="#br0" timeOffset="34899.3">25755 10651 16079 0,'11'13'7481'15,"-1"10"-3004"-15,3 8-2161 16,-4 10-1023-16,-9-3-876 15,-7 8-298-15,-8 3-234 16,7-5-85 0,-1-5-82-1,3-12-274-15,0-12-24 0,2-4-88 16,1-7 105-16,3-4 323 16,0 0 505-16,7-30 525 15,1-17-366-15,-2-5-54 16,3-1-522-16,-1-3-537 15,1 4-194 1,-5 3-27-16,3 5-37 0,-5 12 193 16,0 2 375-1,-2 9 309-15,0 6 38 16,4 3-43-16,0 8-166 16,-4 1-76-16,6 3-504 15,7 17-233-15,0 19 1001 16,6 11 892-16,11 8 821 15,2 6-759-15,-5-8-134 16,-6 4 22 0,2-2 219-16,-3-8 9 15,2 0 73-15,4-12-326 16,3-5-475-16,-3-9-179 16,-7-10-66-16,0-9-24 15,6-11-10-15,5-12-5 16,-2-13-2-16,-3-16-3 15,1-6 1-15,-6-1-1 16,0 2 0 0,-12-6 0-16,-4 19 0 15,-4-1 0-15,-2 14 0 16,-6-8 0-16,-4 8 0 16,-6 4-863-16,-5 3-1047 15,4 5-914-15,0 3-3404 16,-1 3-3331-16</inkml:trace>
  <inkml:trace contextRef="#ctx0" brushRef="#br0" timeOffset="159859.79">21187 9899 3203 0,'0'0'7397'0,"-2"2"-1408"16,-2 5-2424-16,4-3-1130 15,-2 1-819 1,2-5-626-16,2 4-379 16,-2-4-500-16,0 0-61 15,0 0 150-15,0-3-36 16,2-7 23-16,4-5 22 16,-2-6 75-16,5-2 160 15,2-5 141-15,-3-4 435 16,7-6 222-16,-6 2-306 15,-3-10-264-15,0-5-130 16,-4-6-340 0,-2 0-129-16,9-7-47 15,-3-1-17-15,-6-1-6 16,4-2-2-16,3 2 0 16,-3-12-1-16,0 6 0 15,-8-6 0-15,-5-1 0 16,9 10 0-16,3-14 0 15,-10 7 0 1,1 4 0-16,-3-4 0 16,3 2 0-16,-2 4 0 15,4-2 0-15,-10-2 0 16,-2 12 0-16,-4 3 0 16,-7 0 0-16,1 8 0 15,4-2 0-15,-4 9 0 16,-1-3 0-16,3 3 0 15,-10-5 0 1,7 3 0-16,-3 3 0 0,4-3 0 16,-5-3 0-1,-7 6 0-15,-8-1 0 16,3 2 0-16,7 4 0 16,-15-3 0-16,3 1 0 15,6 4 0-15,1-2 0 16,-5 5 0-16,-11-6 0 15,9-3 0 1,-2 8 0-16,-7 2 0 16,4-2 0-16,-13 5 0 15,1-1 0-15,6-4 0 16,9 9-41-16,0-3 67 16,-7-5-16-16,6 7-27 15,-6-4 31-15,-3-2-9 16,8 7-3-16,3 0-1 15,-17-2-1 1,11 1 0-16,7 9 0 16,-13-4 0-16,10-3 0 15,1 1 0-15,0 6 0 16,-7-4 0-16,6-2-83 16,-4 4 33-16,-4 0-73 15,4 2 61-15,-6-2-235 16,1-1-36-16,-3 4 48 15,8 1 25 1,-7 2 147-16,11-4 75 16,-6 2 170-16,-9 1-235 15,7-3 28-15,-7 4 112 16,3 0-24-16,-9 5-161 16,11-7 250-16,-11-2-219 15,13 2-3-15,0 3 309 16,-14-1-273-16,-1 0 57 15,3 3 62 1,0-3-2-16,-11 4 0 16,10 3-67-16,4-2 45 15,-6 1-7-15,7-5-25 16,-10 5 36-16,3-6 12 16,6 5 24-16,-10-2 33 15,11-3-59-15,-4 4 70 16,-9-3-63-16,11 3-45 15,-4 1-34 1,3-5 97-16,1 2-56 16,-6 1-126-16,-1-3-44 15,7 3-223-15,2-3 378 16,-6 2-52-16,-8-1-173 16,17-1 196-16,-11 5 76 15,-6-5-18-15,-6 7-140 16,13-7 313-16,5 6-61 15,-88-10-283 1,82 7 161 0,2 1-108-16,1-1 119 15,-9-1-139-15,3 3-42 16,4 4-648-16,-13-3 621 16,11 3 142-16,-7-1 61 15,8 1-179-15,0 0 55 16,5 0-90-16,-11-2 139 15,0-1 49 1,14 3 166-16,-11-3-139 16,13 3 358-16,-16 0 52 15,14-2-334-15,-3 6 11 16,-15-7-241-16,24 5 213 16,-7-4 0-16,-5 0-194 15,0 4 44-15,3-5 38 16,17 1-48-16,-15 4 16 15,-14-3-37 1,18 4-128-16,7-4 18 16,-13 3 101-16,3-2 42 15,-4 4 56-15,13-2 61 16,5-3 19-16,-22 1 12 16,19 2-4-16,-4 0-38 15,-5-2-113-15,5 4 158 16,1-5-210-16,-13 4-255 15,14-2-77 1,14 6 217-16,-19-3-383 16,5 0-347-16,7 0 558 15,-18 1 348-15,19 2 279 16,-6-1-206-16,-1 2 68 16,-4-2 237-16,12 3-200 15,3 1-41-15,-16-2-242 16,7 0 144-16,0 5 7 15,-1-3-183-15,2-2 141 16,13-1 52 0,5 3 16-16,-14 0 65 15,1-4 185-15,15 0 87 16,3 5 130-16,9-3-223 16,-3 5-96-16,-5 1-166 15,0 1-92-15,12-3 71 16,-10 4 24-1,3 4 14-15,3 3-152 16,-2 2 160-16,0 4-35 16,1-6 329-16,-33 34 301 15,46-25-564 1,-9 5 118-16,4 1-88 16,7-2-16-16,-7 0 88 15,-5-1-94-15,12 3 145 16,-4 5-178-16,1-3-2 15,0-3 37 1,-1 3-60-16,-5 4 170 16,2 3 26-16,4-3-50 15,5-2 60-15,2 3-91 16,-2 3 82-16,4-6 43 16,0 2-70-16,-3 0 24 15,0 3-100-15,-3 2-122 16,4-10 50-16,4 3 57 15,-2 5 103 1,0-3 37-16,2 0-44 16,-6-4 135-16,8 2-149 15,-4 0 49-15,2 2 63 16,2-4-208-16,0 5 31 16,-9-3-100-16,5 2 34 15,0 2 54-15,0-6-170 16,-2 7 62-16,8-5 85 15,2 6 174 1,-3-6-21-16,-3 2-92 16,6 3-2-16,-6 2 20 15,-2-4-131-15,2 0 8 16,4 3-17-16,-6 1-104 16,6-1-20-16,-4-8 91 15,4 7 31-15,-2-5 91 16,2 10 122-1,6-10-84-15,-2 9-179 16,-4 0 244-16,-4 3-225 16,0-5-162-16,8 3-127 15,-2 1-24-15,3 2 185 16,-2-5 58-16,1 5-64 16,-4-6 219-16,5 6-19 15,-3-11 70-15,2 13 15 16,1-4 563-16,-5-5-285 15,1 9-284-15,-1-7-58 16,2 5 162 0,-2-4-83-16,0-9-166 15,0 6 228-15,-4 5 116 16,2-4 10-16,3-3 54 16,-5 0-256-16,0 3-136 15,0-5-14-15,2 2-85 16,-2 1-52-1,0 5 32-15,7-6 179 0,-7 1-13 16,0-1-236 0,0 2 409-16,2-1-208 15,0-3-175-15,-4 0-72 16,-4-2 73-16,3 1 42 16,-2-8-160-16,5-4-79 15,3-1 363-15,-3-4-176 16,0-6-127-16,0-3-110 15,2 2 56-15,1-1 68 16,5-1 96 0,-2 4 144-16,0-4-159 15,5 2 5-15,-3-7 93 16,-1 1 100-16,6 1 1 16,11 1 318-16,6 0 309 15,5-6 368-15,-3 0-346 16,-6-1-32-1,17 3-28-15,10-1-172 0,-9 0-123 16,-10 1 195 0,6-1-330-16,15 5 17 15,-6-7-26-15,-7-2 30 16,3 4-63-16,17-4-21 16,-8-2-35-16,-9 3-11 15,5 1-3-15,3-2-3 16,5 4 1-16,-1 1-1 15,-4 1 0-15,-1 5 0 16,2-7 0 0,11 3 0-16,-4 1 0 15,-5-3 0-15,5-3 0 16,-4 0 0-16,-1 2 0 16,17 1 0-16,-9 1 0 15,3-1 0-15,6 1 0 16,-6-2 0-16,13 3 0 15,-11-1 0-15,0-2 0 16,-1 3 0 0,9-2 0-16,11 1 0 15,-10-2 0-15,9 3 0 16,-11 4 0-16,11-3 0 16,0 3 0-16,-7-5 0 15,7-2 0-15,-2 3 0 16,2-3 0-16,-2 3 0 15,4-5 0-15,-1-6 0 16,8 10 0 0,1 1 0-16,-13-5 0 15,1 5 0-15,8-5 0 16,4 0 0-16,5 0 0 16,-4-2 0-16,-7 0 0 15,4 1 0-15,0-3 0 16,0 0 0-16,9 0 0 15,2 0 0-15,82 0 0 32,-87 0 0-32,-5-3 0 15,-1 3 0-15,-4-2 0 16,7 2 0-16,3 2 0 16,-3 1 0-16,-7-1 0 15,6 2 0-15,-2-2 0 16,2 0 0-16,1-2 0 15,-8 0 0-15,98 0 0 32,-95 2 0-32,-7-2 0 15,5 2 0-15,7 2 0 16,-8 1 0-16,-7-1 0 16,4-2 0-16,-2 3 0 15,4-1 0-15,2-2 0 16,-7-2 0-16,-1 2 0 15,-5-2 0-15,0-2 0 16,7 2 0 0,-2 0 0-16,3 0 0 15,-7-2 0-15,-1-1 0 16,-6 3 0-16,-2-4 0 16,11 2 0-16,-12 0 0 15,1 2 0-15,6-2 0 16,-4 2 0-16,-4 0 0 15,-3 0 0-15,-1 2 0 16,4-2 0 0,0 2 0-16,-3-2 0 15,3 2 0-15,-15-2 0 16,8 4 0-16,9-4 0 16,-17 3 0-16,-5-1 0 15,7-2 0-15,-1 2 0 16,1-2 0-16,12 0 0 15,-15 2 0 1,-8-4 0-16,2 2 0 16,-3 0 0-16,-2 0 0 15,-9 0 0-15,0 0 0 16,2 2 0-16,5 0 0 16,-6-2-18-16,-7 2-41 15,1 0 84-15,-2-2-66 16,-1 0 6-16,3-2-140 15,3 2-49-15,0-2 34 16,-7 2-102 0,-2-2-37-16,12 0 142 15,-5 0-49-15,0-3-170 16,-5 4 247-16,7-4 9 16,-7 1 37-16,-6 0 62 15,0-3-38-15,-3-1 92 16,4-5 99-16,-4 1-54 15,4-5 60-15,-6-1-25 16,1 0-126 0,3-6 22-16,-4 1 98 15,-6-5-41-15,-2-1-73 16,0-1-51-16,0-6-492 16,-2-4 197-16,-2 4 269 15,4 0 104-15,8-2-13 16,-2-4 287-16,-6 5 437 15,-4-3-9 1,6 3-180-16,5-11-43 16,-3-2-325-16,-3 12-1284 15,-7 8-677-15,-9 9 111 16,0-6-2552-16,-1 3-3557 16</inkml:trace>
  <inkml:trace contextRef="#ctx0" brushRef="#br0" timeOffset="169884.47">11330 10198 12396 0,'0'0'4172'16,"-6"-6"-688"-16,-1-1-1502 15,-3-2-943-15,-3-1-622 16,2 0-438 0,-3-1 10-16,0 5 5 15,2-1 95-15,-2 1 219 16,-6-1 647-16,1 1 187 16,-2 2-150-16,-6 0-72 15,5 2 50-15,6 4 148 16,-1 0-243-16,-5 2-203 15,2 7-175 1,-6-3-302-16,-4 7-119 16,3-2 29-16,7 1 109 15,-2 7-109-15,4 1-183 16,-1 5 132-16,-4 1-11 16,-2 3-5-16,8-1-24 15,-2 4-26 1,2-2-181-16,6-3-45 0,2 3 204 15,-1 2 131 1,2 6 137-16,4 3-139 16,0-3-58-16,6 2-22 15,-2 2-9-15,-10 5-3 16,16-6-3-16,2 1 1 16,-2-2-1-16,4 7 0 15,6-5 0-15,0-1 0 16,9-1 0-16,1-2 0 15,-2-1 0-15,1 1 0 16,-2-11 0 0,2 3 0-16,7 2 0 15,4-2 0-15,-2-3-20 16,-3-6-102-16,4 3-43 16,11-7 277-16,-4-6-268 15,-1-7 213-15,3 0-326 16,5-6 161-16,-1-8 127 15,1-5-212 1,-3-4-102-16,14-12 32 16,-7 1 176-16,-17-8 359 15,9 0 290-15,3-6-131 16,-9 6-288-16,-6-11-90 16,-14-6-34-16,-6 3-13 15,4 3-3 1,2-17-2-16,-7 20-1 0,-3-7 0 15,-12 3 0-15,-3-3 0 16,-6 2 0 0,-5-3 0-16,4-1 0 15,-4 4 0-15,-8-40 0 16,-4 44 0 0,3 7 0-16,-6-2 0 15,-3 2 0-15,3 10-96 16,-7-4-163-16,-9 7 97 15,9 4 8 1,1 6 95-16,-19 3 55 16,-9 3 66-16,16 5-163 15,-11 6-190-15,-10 9-266 16,8-1-530-16,1 9-703 16,-1 2-1076-16,17 2-2229 15,-3 5-3158-15</inkml:trace>
  <inkml:trace contextRef="#ctx0" brushRef="#br0" timeOffset="171004.47">12562 10247 12268 0,'0'0'5141'16,"-8"2"-1261"-16,-3-4-1752 15,-6-1-1699 1,-2 6-1786-16,-13-1 98 16,-2 4 759-16,-4 7 401 15,7 1 748-15,1 5 1354 16,-6 3 100-16,-5 5-580 16,1 1-99-16,3 5-129 15,9-5-458-15,0 4-436 16,1-3-45-16,-5 6-98 15,4 1 82 1,10-7-217-16,-2 9 275 16,5-2-240-16,5 7 3 15,2-3-96-15,2-3-40 16,6 4-15-16,2 7-45 16,-4 4 41-16,2-10 16 15,6 5-13-15,0-3-6 16,2 7-2-1,1-9 0-15,6-2-1 0,10 2 0 16,7 1 0 0,0-5 0-16,-5-7 0 15,3-5 0-15,8 1 0 16,6-5 0-16,3-5 0 16,-7-9 0-16,-1-3 0 15,13-12 0-15,-1-6 0 16,-13-4 0-16,74-40 0 31,-66 21 0-31,-10-16 0 16,-4-1 0-16,-2-9 0 15,-1-8 0-15,-1 9 0 16,-5-9 0-16,-12 2 0 16,-2 0 0-16,-7 3 0 15,-11 4 0-15,-8 3 0 16,-6-1 0-16,-11 6 0 15,-4 6 0 1,-17 14 0-16,-19-6 0 16,11 16 0-16,-14 6 0 15,1 3 0-15,6 10-238 16,-2 4-574-16,9 5-1909 16,-3 11-3213-16,7-2-4663 15</inkml:trace>
  <inkml:trace contextRef="#ctx0" brushRef="#br0" timeOffset="172516.57">20106 10471 6342 0,'-8'0'5424'0,"-16"-4"-1391"15,5-3-1886-15,-9 3-715 16,-2 4-1055-16,-3 4-262 15,-9 7 93 1,4-3-35-16,-7 12 342 16,-1 3 209-16,-5 6 870 15,5 3-302-15,5 0 377 16,5 4-821-16,-2 6-82 16,8-2 214-16,3 5-12 15,-1 1-76-15,-4 3-233 16,3 8-272-16,7-4-280 15,6 0-131 1,0 4 160-16,8 0-109 16,6-2-78-16,10-6 415 15,12 0-289-15,1-1 259 16,2-5-176-16,14-5-97 16,7-4-39-16,9-11-13 15,-9-11-7-15,7-9-41 16,17-10-297-16,-13-5 104 15,4-12 168-15,5-7-43 16,-1-9 71-16,9-3-311 16,-9-8-68-1,-14 1-120-15,-7-6-6 16,3-3 363-16,-5 2 316 16,-8-2 548-16,-18-5-31 15,-14 9-323-15,-2-4-126 16,-4-2 181-16,-16 6-213 15,-11-1-91 1,-9 3 32-16,8 5-79 16,-4 14-23-16,-15 0-9 15,-4 9-550-15,-9 8-608 16,-13 2-1115-16,20 13 717 16,-11 11-948-16,1 3-1590 15,5 12-2398-15,-5 7-1282 16</inkml:trace>
  <inkml:trace contextRef="#ctx0" brushRef="#br0" timeOffset="173666.71">20747 10430 19731 0,'0'0'3067'0,"-9"3"-854"15,-1 1-371-15,-9 2-884 16,-13 3-492-16,-2 1-630 16,-2-1-392-16,5 6-645 15,20-11 810-15,-10 6-752 0,-11 12 297 16,-6 1-567-1,6 7 1072-15,3 1 636 16,5 5 943-16,5 2 698 16,9 9-445-16,-3 0-468 15,0 1 90-15,9 1-119 16,6 6-467-16,-2-2-76 16,2 0-42-16,7 4-402 15,1-4 57-15,5 0 225 16,-4 0-164-16,7 6-79 15,14-8 200 1,37 29-280 0,-43-42 235-16,9-14-126 15,15-1-44-15,1-13-19 16,-11-3-9-16,3-7-1 16,14-9-1-16,-4 1-1 15,-6-11 0-15,-1-7 0 16,1-8 0-1,-7 1 0-15,-6-7 0 16,-3 1 0-16,-1-11 0 16,0 5 0-16,-1-8 0 15,-3 6 0-15,-6-3 0 16,-8 1 0-16,-6 5 0 16,-2-9 0-1,-8 6 0-15,4 3 0 0,-10-1 0 16,-16-6 0-16,-4 9 0 15,3 6 0-15,-5 0 0 16,-2-4 0 0,2 6 0-16,-10 4 0 15,-5 3 0-15,0 1 0 16,-3 10 0-16,-7 1 0 16,4 0 0-16,5 13 0 15,-14 2-21-15,3 2-2366 16,12 7-2100-16,-17 7-6870 15</inkml:trace>
  <inkml:trace contextRef="#ctx0" brushRef="#br0" timeOffset="175906.79">9647 12048 13549 0,'0'0'2328'0,"0"0"-473"16,0 0-513-16,0 4-372 16,0 0-311-16,2 1-218 15,7 5-248-15,10-2-49 16,2 3-86-16,3-7-32 15,5 0 167-15,3 3 1663 16,0-3 129 0,12-2-10-16,11-2-332 15,-2 0-304-15,7-4-654 16,3 0-76-16,-7-1-226 16,9-1-29-16,10-2-231 15,-7-5-85-15,7-2-25 16,-8 5-9-16,11-1-3 15,7 2 0 1,-10 1-1-16,-2 0 0 16,1-1 0-16,11 5 0 15,2 0 0-15,-2-3 0 16,-12 1 0-16,-5 2 0 16,11-3 0-16,-6 1 0 15,-3 2 0-15,7 0 0 16,-10 2 0-16,-1-3 0 15,-3 5 0 1,-3 0 0-16,1 2 0 16,-2-2 0-16,7 3 0 15,1 1 0-15,4 0 0 16,0 0 0-16,-5 3 0 16,2-1 0-16,0 5 0 15,-7-5 0-15,13 7 0 16,3-1 0-16,-6 5 0 15,5-6 0 1,-5 3 0-16,2-5 0 16,10 2 0-16,-11-5 0 15,11 3 0-15,1-8 0 16,3 2 0-16,2-6 0 16,0 6 0-16,-14-3 0 15,10 2 0-15,4 0 0 16,-4 4 0-16,0-3 0 15,6 3 0 1,-3 0 0-16,-1 0 0 16,-67-3 0-16,57 3 0 0,22 3 0 15,-6-4 0 1,-7 4 0-16,7-2 0 0,7 1 0 16,-3-4 0-16,-12 4 0 15,8-1 0 1,11-1 0-16,-5 3 0 15,-8-5 0-15,10 5 0 0,-10-7 0 16,2 0 0 0,6 0 0-16,0 0 0 15,4 2 0-15,2-6 0 16,-21-2 0-16,9 6 0 16,9 0 0-16,-5-2 0 15,0 2 0-15,1-4 0 16,10 0 0-16,-11 0 0 15,0 2 0-15,1 2 0 16,8 0 0 0,-15 0 0-16,4-2 0 15,7 6 0-15,-3-6 0 16,9 7 0-16,-6-7 0 16,-5-2 0-16,0-3 0 15,0 8 0-15,3-3 0 16,10 4 0-1,-8 0 0-15,-11-2 0 16,-1 5 0-16,13-3 0 16,-8-4 0-16,-2 8 0 15,4-5 0-15,-2 1 0 16,-2 0 0-16,7-2 0 16,10 2 0-16,-9-1 0 15,4 1 0 1,-2-2 0-16,-2 2 0 0,6 0 0 15,-2 1 0-15,12 1 0 16,-12-2 0 0,0 3 0-16,8-1 0 15,0 0 0-15,-7 3 0 16,-5 1 0-16,9 0 0 16,9 6 0-16,-7-2 0 15,15-1 0-15,-8-4 0 16,-7 3 0-1,-2-3 0-15,-91-7 0 16,68 4 0-16,23 1 0 0,-7-1 0 16,-12 0 0-16,-6-6 0 15,-6 2 0-15,-2-2 0 16,-25-2 0-16,-3 0 0 16,7 2 0-16,-19-4 0 15,-17 2-388-15,2-1-1338 16,-12 3-2356-16,-8 0-2867 15</inkml:trace>
  <inkml:trace contextRef="#ctx0" brushRef="#br0" timeOffset="177007.79">9724 10611 24567 0,'-12'4'215'0,"-4"-7"1690"16,3 3-689-16,5 3-593 15,1-3-324-15,1 2-554 16,4-2-245-16,0 0-741 15,2 0-353 1,0 2 221-16,10 4 308 16,24-2 482-16,6-4 650 15,9-5 734-15,19-2 300 16,9-8 222-16,-2-4-334 16,18-4-124-16,5 2-12 15,-7 0 63-15,2 2-167 16,0 2-104-16,0 6-209 15,-6 2-426 1,-28 3 35-16,1 8-196 16,-11 0-279-16,-23 5-374 15,-8-3 72-15,-8 0 34 16,-6 0 111-16,-1-1-1462 16,-1-2-2441-16,2 4-2513 15</inkml:trace>
  <inkml:trace contextRef="#ctx0" brushRef="#br0" timeOffset="178071.49">13051 10708 2947 0,'0'0'8271'16,"-4"2"-3240"-16,2 0-1535 15,2-2-2084-15,0 0-1418 16,0 0-477-16,4 5-588 15,14-4-776 1,12 4 861-16,9-3 922 16,3 0 1428-16,2 0 532 15,11 0 332-15,15 0 383 16,4-2-585-16,4 3-498 16,3 1-43-16,-7-2-493 15,-2 2-309-15,10 3-168 16,3-3-19-16,0 0-326 15,4-2-119-15,0 2-35 16,12-2-12-16,-3 0-2 16,-7 1-2-1,-4-1 0-15,10 0 0 16,2 0 0-16,3 0 0 16,6-4 0-16,-7 0 0 15,-6 2 0-15,1 4 0 16,12-2 0-16,0 7 0 15,-87-8 0 1,58-5 0-16,16 4 0 0,2-1 0 16,13 6 0-16,-6 0 0 15,6-10 0-15,-6 4 0 16,-7-6 0-16,17-1 0 16,-14 4 0-16,3-1 0 15,12 5 0-15,-9-4 0 16,12 2 0-1,-4 4 0-15,1-2 0 16,-6 2 0-16,-2-2 0 16,2 0 0-16,8 2 0 15,-7-10 0-15,-2 4 0 16,2-5 0-16,5 7 0 16,-8-2 0-16,-7 2 0 15,10-2 0-15,-11 1 0 16,-10 6 0-16,0-2 0 15,-21 2 0 1,9-1-2806-16,2-2-4683 16,-11-6-5940-16</inkml:trace>
  <inkml:trace contextRef="#ctx0" brushRef="#br0" timeOffset="178740.41">21421 10932 9449 0,'0'0'7613'16,"4"3"-2453"-16,0 1-1561 16,2 0-957-16,4 2-934 15,12-1-613-15,9-4-552 16,9 6-429-16,5-5-107 16,3 5-262-16,16-7-125 15,6 6 121-15,-6-6 577 16,10 2 142-16,-11 2 170 15,8 7-412 1,0-3-147-16,-7 2-48 0,-3 6-16 16,-10-4-4-1,-13-5-3-15,-10 1 1 16,-8-3-1-16,-5-1-1589 16,-4-3-4202-16</inkml:trace>
  <inkml:trace contextRef="#ctx0" brushRef="#br0" timeOffset="179498.76">13457 10847 9833 0,'-12'11'10075'0,"-12"13"-4657"16,-7 5-1748-16,-12 14-2146 15,3 1-1688-15,-11 9-1761 16,-23 10-942-16,2 7 8 15,-2 6 1812-15,-8 5 924 16,5 10 282 0,-6 4 2201-16,6 0-319 15,9-10-1120-15,11-15-726 16,19-11-574-16,14-19-3825 16,11-16-4031-16</inkml:trace>
  <inkml:trace contextRef="#ctx0" brushRef="#br0" timeOffset="179774.3">13639 10879 22069 0,'-10'11'5336'0,"-20"18"-2099"16,-15 6-1866 0,-20 19-844-16,-22 12-360 15,-14 10-1235-15,-8 11-1643 16,6 4 695-16,2 6-1879 16,-8 1 2028-16,14-3-1116 15,19-4-1302-15,13-10-2773 16</inkml:trace>
  <inkml:trace contextRef="#ctx0" brushRef="#br0" timeOffset="180324.39">16183 10784 24984 0,'0'0'1248'0,"0"0"308"0,3 0-242 16,-3 0 125-16,-17 2-314 15,-17 6-487 1,-21 12-339-16,-3 13-190 16,1 21-71-16,-15 13-26 15,-5 9-126-15,-10 16 11 16,4-3 269-16,-14 10-123 16,4-6-33-16,16 0-8 15,5-8-1-15,19-7-1 16,7-10 0-1,5-13 0-15,14-8-1241 16,8-16-2556-16,13-14-2275 16,8-6-1836-16</inkml:trace>
  <inkml:trace contextRef="#ctx0" brushRef="#br0" timeOffset="180657.46">16450 10790 20371 0,'-18'26'7306'0,"-21"14"-4415"16,-11 17-2371-16,-25 7-1339 16,-12 6-1216-16,-20 16-1137 15,-6-9 202-15,-4 24 1456 16,2-10 1230-16,-4 19 847 16,13-8-418-16,0-2-1350 15,17-1 229-15,18-15-2938 16,11-16-685-16</inkml:trace>
  <inkml:trace contextRef="#ctx0" brushRef="#br0" timeOffset="181208.54">19037 10814 10538 0,'0'0'6094'0,"-9"4"-1411"15,-10 8-1117 1,-13 5-167-16,-6 5-1185 16,-9 3-769-16,-7 13-894 15,1-2-367-15,-4 13-121 16,-11 6-42-16,1 10-15 16,-6 8-4-16,-11 11-1 15,11-1-1-15,-4 10 0 16,6-8 0-16,13 3 0 15,-4-12 0-15,9-8-607 16,15-4-1664-16,11-26-2684 16,7-13-3887-1</inkml:trace>
  <inkml:trace contextRef="#ctx0" brushRef="#br0" timeOffset="181455.53">19259 11024 32543 0,'-9'18'119'0,"-20"23"-1695"15,-39 12-2080-15,-31 10 782 16,-3 3-42 0,-14 6-2740-16,-3 4 211 15,1 8-260-15</inkml:trace>
  <inkml:trace contextRef="#ctx0" brushRef="#br0" timeOffset="190762.94">22411 11610 1537 0,'0'0'4872'0,"-2"2"500"16,-3-2-1079-16,5 2-1491 15,0-2-747-15,0 0-828 16,0 0-404-16,0 0-278 15,0 0-220-15,0 0 8 16,0 0-26 0,0 0 660-16,13 0-39 15,-5-2-214-15,6 2 31 16,-2 0-49-16,5 2-146 16,6 2-112-16,-12-4-271 15,6 4 57-15,2-1-162 0,25 7 138 16,-12-6 49-1,-3 0 127-15,7-4-1 16,1 3-216 0,-5-1 68-16,1-4-90 15,9-1 1-15,0 2 33 16,25 1 78 0,-35-3 20-16,10 3-128 15,-9 0-86-15,3 0-33 16,-6 4-12-16,2-1-6 15,-21-3-3-15,15 2 0 16,9 2 0-16,-1 2-1 16,-6-2 0-16,-4 1 0 15,6-1 0-15,9-2 0 16,-4 3 0-16,-7-4 0 16,-7 4 0-16,4-1 0 15,9-2 0-15,7-2 0 16,-1 6 0-16,-7-6 0 15,-7 5 0-15,8 1 0 16,12 1 0 0,1-3 0-16,-13-3 0 15,2 2 0 17,102-1 0-32,-109-2 0 0,7 2 0 15,10-2 0 1,-3 0 0-16,-5 0 0 0,2 0 0 15,7 2 0-15,40-4 0 32,-51 2 0-32,12 0 0 15,1 0 0-15,-9-2 0 16,7 2 0-16,8 0 0 16,-5-2 0-16,-7 2 0 15,-3 0 0-15,8-3 0 16,-3 3 0-16,-1 0 0 15,1-1 0 1,5 1 0-16,0-3 0 16,-13 2 0-16,6-2 0 15,10 1 0-15,-4 0 0 16,-11 0 0-16,7 2 0 16,11-2 0-16,-7 0 0 15,-11 4 0-15,0 0 0 16,9-4 0-16,-5 4 0 15,-3-4 0-15,0 2 0 16,3-2 0 0,54-7 0-1,-47 7 0-15,8-2 0 16,-7 2 0-16,-15 2 0 16,-5 0 0-16,24-2 0 15,3-1 0-15,-21 6 0 16,1-7 0-1,3-1 0-15,2 1 0 0,-1 2 0 16,-13 0 0 0,-6-2 0-16,5-1 0 15,-1 3 0-15,1 0 0 16,-8 2 0-16,-6-2 0 16,-5 0-404-16,-6 2-1552 15,-2 0-3125-15,0-2-5129 16</inkml:trace>
  <inkml:trace contextRef="#ctx0" brushRef="#br0" timeOffset="194891.81">12356 8500 2851 0,'0'0'4003'15,"-4"0"-610"-15,-2-2-247 16,4 0-1289-16,-2 0-790 15,-7 0-1002 1,-2 0-921-16,-4 0 192 16,1-3 132-16,-10 3 254 15,7 0 283-15,0 0 716 16,-8 0 946-16,9 0 59 16,-4 4-60-16,-10 0-138 15,-3-2-56-15,4 0-317 16,6 2-70-16,3 0-361 15,-3 0-264-15,-11 5-86 16,2-5-198-16,-2 4 11 16,7-4-150-1,-3 5 219-15,-5-1-219 16,6 1-22-16,1 1 63 16,9-4 72-16,-4 4-59 15,-1 1-102-15,8 2 40 16,-4 1 122-16,1 3-12 15,-1 2-161-15,0-4-22 16,2 2 127 0,-3 2 80-16,9 1-195 15,0 0 84-15,8-4-44 16,2-1-50-16,0 1-103 16,2 2 71-16,4-2 143 15,8 1-144-15,14 2 104 16,9-6 304-16,12-5 239 15,-13-2-56 1,-7 2-265-16,16 1 27 16,11-3-159-16,5-4-76 15,-6 5 94-15,9-4-273 16,-5-2 295-16,-7 1-182 16,3 4 273-16,9-2 329 15,-14 0-14-15,1-2-113 16,6 4-129-1,-5-6-267-15,-5 2 80 0,3 2-200 16,7-2 19 0,-5-2-71-16,-18 0 238 15,6 0-141-15,3 2-27 16,-2-2 65-16,-3-1 62 16,-6-1-100-16,-3 2-7 15,-4-2 14-15,2 4 108 16,3-4-154-16,-2 0-1 15,-8-3 80 1,-3 3 79-16,-1-2-91 16,2-3-156-16,-8 0 249 15,-2-5-260-15,-6-5-682 16,0-2 256-16,-4-1-532 16,-8 1 149-16,-11 0 545 15,-13-2 214-15,10 8 312 16,5 0 312-16,-11 0-406 15,-18-2 158 1,5 2-128-16,7 5-162 16,-15 4 154-16,-5-1-290 15,-5 3-286-15,10 2 268 16,-3 0-437-16,1 0-1045 16,3 2-928-16,3 0-556 15,2 2-1873-15,2-2-2216 16</inkml:trace>
  <inkml:trace contextRef="#ctx0" brushRef="#br0" timeOffset="196574.81">11376 8748 14702 0,'0'0'660'16,"0"0"-844"-16,0 2-564 15,0-2-553-15,0 0-163 16,2 6 453-16,-2 3 418 16,-2 1 376-16,2-1 1022 15,2 10 476-15,-2-4-273 16,0-1-27-1,0 5 932-15,0-2-78 16,0 5-368-16,3 1-178 16,1 4-232-16,-4-1-53 15,-2 1-250-15,2 1-220 16,0-5-301-16,0 5-63 16,-5-1-6-16,1 3-37 15,2-2-211-15,4-5 63 16,5 0 131-16,-7 2 216 15,2-3 104 1,6-1 217-16,-1-2-177 16,-7-5-355-16,6-3-71 15,1 2-80-15,-1-7 172 16,2 3-188-16,-4-3 348 16,-2 2 3-16,0-1 42 15,3-1 194-15,0-1 7 16,-1 1-295-16,4 0 34 15,8-1-63 1,-2-4-87-16,-6-1-64 16,3 3-56-16,5-1-115 15,0 0 6-15,-4 0-164 16,7 0 212-16,-2 0-38 16,-2 0 214-16,0-2-122 15,0 0 76-15,-1 0-86 16,4-2-12-16,-6 0-35 15,11-2 54-15,-2 0-152 16,0 0-2 0,1 1-7-16,-1 1 135 15,0 2-53-15,0-2 172 16,1 2-163-16,7 2 194 16,-4 0-229-16,1-2 143 15,-5-2-54-15,1 2 56 16,-8 0-82-16,3-2 145 15,6 0-167 1,4 2-38-16,3-2-300 16,-2 0 207-16,-5 2-98 15,-3-3 118-15,0 2 31 16,0 2 191-16,3 2-74 16,-2-1 114-16,4-2-147 15,3 0 208-15,-3 0-205 16,-6 2 79-16,-4-2-42 15,9 4 174 1,-4-4-264-16,8 0 178 16,-5 2-277-16,3-2 40 15,-10-2 1-15,4 2-44 16,-6-4-385-16,-3 2 65 16,2 0 92-16,6-2 263 15,1 1-13-15,2-1 67 16,1 2-272-16,-1-2 255 15,-10 2-215 1,-4-1-379-16,0 2 110 16,2-4 163-16,-4 1 323 15,-2-3 29-15,-4-5 40 16,2-1 16-16,0-4 71 16,0-2-57-16,0 3 178 15,1-6-214-15,1 1 103 16,0-2 120-16,-1 0 382 15,1-7 323-15,2-4-156 16,0 2-75 0,-3-2 303-16,-1-2-42 15,0 7-158-15,0-6 18 16,2 2-115-16,-6-1-124 16,2 4 201-16,0-2-417 15,0 1-130-15,-2-1-180 16,2 6-158-1,-2 6-214-15,0 3-285 0,0 4-456 16,2 4-1300 0,-3 5-858-16,3 2-1260 15</inkml:trace>
  <inkml:trace contextRef="#ctx0" brushRef="#br0" timeOffset="198431.8">12742 8779 20243 0,'0'0'1191'0,"0"0"-899"16,0 0-223-16,2 0-51 15,2-5-793-15,-2-13-1110 16,2-5-823 0,-2 0 1408-16,-2-7 689 15,2-1 2106-15,-2-1 1007 16,3-4-458-16,-6 2 329 16,3-2-142-16,-4 2-618 15,-4 0-919-15,4-6-157 16,2 6-424-16,-5-2-363 15,-5 0 87 1,1 13-22-16,-4-7 117 16,1 5 75-16,-4 2-40 15,0 3 19-15,-6 4-11 16,7 5-50-16,7 2-62 16,-8 7-333-16,6 4-543 15,-3 7-83-15,-8 10 497 16,-2 6 397-16,3 5 379 15,8 2 326 1,-4-2 674-16,2 5 81 16,-3 3-207-16,6 3-81 15,6-5-270-15,5-3-82 16,-2 3 133-16,4 3-402 16,-2-8-136-16,2-5-178 15,2-3-86-15,0-6-4 16,0 2-346-16,2-8-417 15,-1-5-105 1,-3-2 357-16,0-2 276 16,0-2 542-16,4 0-111 15,-2-12-101-15,-4-14-139 16,0-1-257-16,2-9-10 16,0-2 159-16,-7-2 43 15,1 1-130-15,2-10 189 16,0 5-12-16,0-2-680 15,0 3 290-15,2-6-756 16,-8 7 1299 0,-4-2-73-16,8 10 852 15,6 6 294-15,-5 1-350 16,3 6-115-16,-8 6-335 16,-1 4-213-16,-10 3-73 15,3 8 34-15,-6 4 96 16,-2 7 146-16,5 6 32 15,2-1 188 1,4 8 52-16,-4 9 46 16,-6 2-326-16,4 0-58 15,-3 6-41-15,6-3 17 16,2 4 10-16,6 1-75 16,1 3 132-16,5-2-134 15,6 3-86-15,-2 0-34 16,0-1-14-16,7-1-5 15,-1-9-2 1,2-3 0-16,-2-3-1 16,1-8 0-16,-2-8 0 15,-3-8 0-15,-2-1 0 16,0-3 0-16,2-4 0 16,2-17-82-16,6-9-739 15,-2-8-99-15,-5-4 447 16,3-4 32-16,3-3 212 15,-5-4 181-15,0 2-150 16,-4-1 123 0,4 1-52-16,-1 0 38 15,-8 5-354-15,-3-5-355 16,2 11 1288-16,-5 8-111 16,-2 3-343-16,-5 2 53 15,-4 5-123-15,3 10 70 16,2 3-4-1,0 3-79-15,5 6-21 16,-10 3-22-16,-5 8 169 16,-7 3 165-16,8 3-3 15,12 0-4-15,-1 7 107 16,-6 5 126-16,2 5-89 16,-1 3 29-16,6-6-29 15,1 1-33-15,2 2 113 16,1 4-266-16,8-4-119 15,-2 0-45-15,1-6-18 16,8 4-7 0,-3-6-4-16,-2-3-192 15,2-6-324-15,0-2-116 16,0-9 78-16,0-4 38 16,-2 1 220-16,0-3 102 0,0-2-3 15,2-2 49-15,0-17-261 16,0-9-101-1,0-6-121-15,-2-2-552 0,2-6-468 16,-4-6-476 0,0-4 838-16,-4 2-180 15,-4 3 632-15,3 3 830 16,-3 6 728-16,-8 2-299 16,4 6-145-16,-4 7 31 15,6 6-117 1,-4 6 13-16,-8 7 89 0,-1 6-225 15,-3 13 0-15,-2 4 502 16,5 9 402 0,8 5-230-16,6 12 715 15,-1-3-132-15,2 7 208 16,8 8 283-16,4-8-403 16,-4 8-833-16,6-2-373 15,0-2-134-15,6-4-49 16,0-5-16-16,0-6-465 15,4-2-2641-15,5-12-2967 16,-2-8-4072 0</inkml:trace>
  <inkml:trace contextRef="#ctx0" brushRef="#br0" timeOffset="198942.7">11584 7789 7367 0,'-6'-2'7693'0,"-7"-7"-4580"15,-2-1-1371-15,3 3-1233 16,-4-1-817 0,0 6 276-16,1 4 125 15,0 9 229-15,-4 10-112 16,5 7 126-16,4 3 257 16,8 3 969-16,4-5 1082 15,12 1-625-15,-2-4-377 16,5-5-209-16,4-6-522 15,2-9-414 1,11-4-274-16,-12-10-119 16,-4-7-54-16,2-11-25 15,-5-12-14-15,-3-4-84 16,-4-7-77-16,-8 7 289 16,-4 8-86-16,-4 6-32 15,-7 7-46-15,-23 11-924 16,-91 41-2497-1,59 10-1879-15,5-1-3543 16,22 3 664 0</inkml:trace>
  <inkml:trace contextRef="#ctx0" brushRef="#br0" timeOffset="199432.4">12003 7628 10250 0,'-13'-2'9361'0,"-1"-2"-5382"0,-12 2-1795 16,-14 8-3182 0,-1 9-1568-16,8 8 438 15,-5 9 903-15,0 14 645 16,2 1 1023-16,12 2 1136 16,16-5 1178-16,10 1 1027 15,17-9-744-15,13-4-1278 16,-13-12-1135-16,15-3-256 15,2-14-296-15,11-16-43 16,-3-4-19 0,-13-10-514-16,-9-14-1121 15,-3-3-325-15,15-11-200 16,-4 4 1055-16,-16 4 701 16,-4 1 1417-16,-8 12 620 15,-8 10-672-15,-12 3-960 16,-12 7-691-16,-2 14-1218 15,-15 10-1881-15,-1 11-2970 16,9 5-877 0</inkml:trace>
  <inkml:trace contextRef="#ctx0" brushRef="#br0" timeOffset="199893.4">12325 7641 27034 0,'-15'0'79'16,"-24"4"-1169"-16,6 3 88 15,-7 9-2099-15,0 12-46 16,-1 0 280-16,9 3 1560 16,8 3 805-1,6 6 461-15,14 5 1443 16,16-9 1842-16,6-4 12 16,16-7 384-16,-1-10-638 15,-1-9-913-15,10-12-902 16,11-13-821-1,-8-17-710-15,-13-5-1168 0,-2-12-56 16,-8 3-499 0,-4 1 231-16,-12-6 357 15,-6 21 931-15,-13 4 1086 16,-18 5-274-16,-3 14-220 16,-21 14-926-16,1 10-781 15,-1 10-3252-15,-8 11-1080 16</inkml:trace>
  <inkml:trace contextRef="#ctx0" brushRef="#br0" timeOffset="200410">12758 7734 21909 0,'-8'-6'4639'0,"-9"-5"-2320"15,-4 5-1416-15,-19 12-1649 16,-24 11-865-16,16 15-1947 15,8 6-698 1,-7 11-21-16,7 0 1532 16,17-8 2332-16,12-2 1405 15,15 1 3426-15,15-4-48 16,15-6-207-16,7-16-991 16,-10-9-1214-16,17-8-1006 15,23-16-582-15,-23-8-339 16,5-20-343-16,7-4-211 15,-18 3 365 1,-11-3 190-16,-9 3 303 16,-20-4-936-16,0 16 1069 15,-8-1-276-15,-18 5-378 16,-18 11-211-16,-9 8-164 16,-14 17-459-16,-14 15-116 15,15 8-587-15,1 12-2257 16,-5 14-3355-16,13 6-1707 15</inkml:trace>
  <inkml:trace contextRef="#ctx0" brushRef="#br0" timeOffset="206776.05">13822 7774 9001 0,'0'0'3593'0,"-3"-4"-579"0,-1-5-1350 16,-1 1-844 0,5 2-455-16,-4-3-587 15,-2 3-153-15,-6-1 136 16,-8 3 499-16,1-2 873 16,5 8-234-16,-2 0-59 15,4 3-116-15,-2-1 201 16,0 2 67-16,0 9 853 15,5 4-537-15,-8 4-329 16,-4 3-146 0,15-3-143-16,-2 4-198 15,6-5-67-15,-1-1-153 16,3-2 72-16,5 2 44 16,1 0-51-16,4 0 114 15,1-2 74-15,2 1-270 16,6-6-132-16,3-1-66 15,4-3-30 1,4-3-15-16,-7-7-7 16,-1-3-2-16,-6-1-2 15,4-4-1-15,3-5 1 16,-2-3-1-16,-2-4 0 16,-11 1 0-16,0-2 0 15,6-7 0-15,-8-1 0 16,-6 1 0-1,0 5 0-15,-6-2 0 16,-6 0 0-16,4 3 0 16,0 1 0-16,-13 0 0 15,0-3 0-15,8 14 0 16,-7-3 0-16,2 5 0 16,-8 6-225-16,-5 6-576 15,-7 0-1723 1,6 13-3074-16,9 6-4081 0</inkml:trace>
  <inkml:trace contextRef="#ctx0" brushRef="#br0" timeOffset="207456.2">14222 7689 20243 0,'-2'0'1476'15,"-8"-1"-512"-15,0 1-304 0,2 0-426 16,-9 0-725-16,-6 8 84 15,-10 7-133 1,5 4 293-16,0 4 275 16,9-2 408-16,8 2 532 15,0 11 711-15,7-6 97 16,2 6-12-16,2-2-476 16,8-1-398-16,14 1-193 15,-1-5-214 1,3-1-225-16,-2-9-97 0,0-3-42 15,-5-5-32 1,-5 0 12-16,8-9-29 16,6-11-29-16,0-8-24 15,8-10-8-15,-11-3-6 16,-1-9-2-16,-12-1-765 16,-4 4-49-16,-12-4-543 15,-6 10 10-15,-18 2 470 16,-6 5 308-16,4 6-359 15,1 8-40 1,-6 5 11-16,3 1-1311 16,7 8-2788-16,2 3-2220 15</inkml:trace>
  <inkml:trace contextRef="#ctx0" brushRef="#br0" timeOffset="207939.73">14501 7795 29308 0,'0'0'808'0,"-6"-6"-658"16,-3-2-308-16,-4 1-840 16,-4 1-605-16,-10 2-1487 15,4 10 980-15,-1 9 792 16,-5 10 627-16,11 9 677 16,14 0 708-16,0 2 1754 15,2 0 869-15,8-2-427 16,16-3-1024-16,13-3-1093 15,8-13-468-15,-1-6-190 16,-12-8-73 0,10-7-22-16,-8-11-13 15,5-13-3-15,0-7-3 16,-1-14-168-16,-22 4-693 16,-12 3 784-16,-2 12 634 15,0 2-486-15,-14 7-321 16,-9 6 80-1,-25 4-579-15,-2 16-968 0,-9 13-1692 16,2 14-3198 0,-5 0-1312-16</inkml:trace>
  <inkml:trace contextRef="#ctx0" brushRef="#br0" timeOffset="208407.66">14822 7783 24087 0,'0'0'3101'0,"-8"0"-1133"15,-11-2-1510 1,-4 8-1206-16,-9 15-1851 16,1 15-636-16,13 4 1336 15,4 7 1086-15,5-5 1484 16,1-4 1298-16,5-4 1002 16,10-11-348-16,12-1-347 15,-3-10-1263-15,2-10-565 16,7-8-182-16,21-20-133 15,1-20-82-15,-13-5-34 16,-6-12-11 0,-6-5-91-16,-8 9-421 15,-8 12 497-15,-2 13 172 16,-12 2-95-16,-5 12-109 16,-10 7-153-16,-20 10-894 15,-7 19-1378-15,-3 13-2471 16,17 7-1934-1,-7 11-1234-15</inkml:trace>
  <inkml:trace contextRef="#ctx0" brushRef="#br0" timeOffset="208784.98">15159 7800 24247 0,'0'0'2846'15,"-2"0"-602"-15,-20 4-518 16,-9 5-1225-16,1 5-1873 16,-6 16-2010-16,4 2-746 15,5-3 494-15,10-1 2488 16,9-7 2414-1,10-4 1715-15,11-5 911 0,8-1-317 16,7-11-1854 0,3-8-920-16,1-9-443 15,-4-7-210-15,-14-3-89 16,1-9-34-16,0-5-15 16,-13 12-8-16,-4 8-3 15,-9 2-335-15,-24 6-1586 16,-10 18-2725-16,-17 11-5029 15</inkml:trace>
  <inkml:trace contextRef="#ctx0" brushRef="#br0" timeOffset="210273.56">13673 8149 9609 0,'0'0'3641'0,"0"0"-857"0,0 0-1260 16,-2 2-503-16,4 2-201 15,-4 7-26 1,-6 8-116-16,3 9-252 0,10 5 806 16,-1 7-42-1,4 9 444-15,-6-34-1174 16,0 36 611-16,16 16 194 0,-2 1 439 16,-3 2-704-16,0-13-384 15,6 9-155-15,-7-16-31 16,-3-5-278-16,0-7-40 15,-5-8-392 1,-2-9-147-16,0-6-411 16,-2-9 16-16,0-4 316 15,0-2 188-15,-2-19 353 16,2-21 366-16,-2-11-873 16,4-8-172-16,2 2 279 15,-6 0 318-15,-2 1-342 16,4-5 82-16,16-64 177 31,-2 57-21-31,4 3-1340 16,10 4 403-16,1 12 720 15,3 5 668-15,-4 14-7 16,-7 11-254-16,-7 11-196 16,8 9 21-16,3 21 1171 15,1 13-130-15,2 12-92 16,-8 12-52-16,-2 0 491 15,-4 12 372 1,-7-6-545-16,-5-1-722 16,0-3-236-16,2-15-81 15,-4-5-26-15,-6-9-8 16,4-11-4-16,2-6-1 16,0-9-1-16,-3-4 1 15,3-2-1-15,0-8 0 16,5-28 0-16,-1-13 0 15,13-15-470-15,-4-5-680 16,7 5-162 0,8 7 880-16,4 2-94 15,-1 6 14-15,-9 9 245 16,-10 10 445-16,3 15 242 16,-8 7 74-16,1 4-229 15,-6 6-286-15,11 19 300 16,-1 17 243-16,-10 11 201 15,-10 10-150 1,8 7 101-16,-4 4-296 16,0-7-257-16,6-4-80 15,0-6-27-15,-4-13-9 16,6-10-3-16,-4-11-2 16,0-12 1-16,0-3-1 15,6-4 0-15,16-20 0 16,10-15 0-16,5-16 0 15,-9-2-167-15,2-6-126 16,1-5-24 0,5-8-10-1,5 2-105-15,-7 11 151 0,0-4 167 16,-7 18 18-16,-4 10 198 16,0 9-26-16,3 13-258 15,0 11-492-15,-3 23 428 16,-11 32 1091-16,-3 11 41 15,-5 8-300 1,-4 12-142-16,0-8-314 0,-9 3-88 16,3-11-30-1,4-9-8-15,0-15-3 16,-4-4 0-16,1-14-1 16,3-12 0-16,0-7 0 15,-6-1 0-15,8-4-752 16,0-2-3956-16</inkml:trace>
  <inkml:trace contextRef="#ctx0" brushRef="#br0" timeOffset="211089.73">13875 8940 11018 0,'-16'0'8201'0,"-7"-1"-3519"16,-7-6-2524-16,-4 3-1502 16,-5-3-657-16,-1 5-454 15,10 0-139-15,2 6 536 16,11-1 303-16,11 1-97 15,2 2-649-15,4 17-57 16,6 1 905-16,21 8-27 16,20-1 84-1,23 1 558-15,8 0 199 16,11 4 435-16,6-6-70 16,-6-5-907-16,10 0 5 15,12-8-428-15,3 0-143 16,-6-7-40-16,-2-7-9 15,-7-6-3 1,-7-7-1-16,-23-9 0 16,-1-9 0-16,-9-8 0 15,-31-1 0-15,-7-4 0 16,-11-3 0-16,-22-5 0 16,-16 2 0-16,-31 1 0 15,-13 2 0-15,-4 9 0 16,-9 4 0-16,-19 5 0 15,9 5 0-15,-11 9 0 16,-19 12-986 0,24 8-1951-16,-18 16-3314 15,10 1-3225-15</inkml:trace>
  <inkml:trace contextRef="#ctx0" brushRef="#br0" timeOffset="211739.78">13679 8957 2947 0,'0'0'9908'0,"-6"9"-2611"15,-2-5-3643-15,-3 7-1600 16,1 14-1359-16,-3 2-1582 16,2 3-1502-16,9 10 860 15,-4-8 936-15,2 7 696 16,6-3 1031-16,6 1 1103 15,5 2 292 1,14-4-671-16,18-3-314 16,1-9-532-16,-7 1-476 15,-27-18-378-15,30 11-48 0,19 0-86 16,-3 0-16-16,25 2-296 16,-8-2 225-16,-13-4 23 15,12-3 201-15,-6 1-348 16,9 1 125-16,-4-1 64 15,-11-9 441-15,11-2-178 16,-7-4-181 0,-2 0-56-16,6-7-19 15,-24-1-6-15,1-10-2 16,1-3 0-16,3-3-1 16,-2-1 0-16,-26-1 0 15,-2 3 0 1,-1-3 0-16,-8-8 0 0,-4 4 0 15,-10-4 0 1,-10 4 0-16,-14-6 0 16,1 6 0-16,-7 2 0 15,-8 5 0-15,-7 1-673 16,17 7-2500-16,4 4-5718 16</inkml:trace>
  <inkml:trace contextRef="#ctx0" brushRef="#br0" timeOffset="212389.49">15947 7849 25368 0,'0'0'1993'15,"0"0"-440"-15,-2-5-639 16,-6 1-509-16,-2 0-1209 15,-13 8-452-15,-4 10-548 16,2 10 314 0,7 4 267-16,10 9 1023 15,2-5 1831-15,8 2 340 16,4-4 911-16,13-11-1355 16,13-2-762-16,12-15-440 15,-8-8-202-15,0-7-71 16,9-8-30-1,-14-11-14-15,5-10-5 0,-6-5-2 16,-18 3 0 0,-3 3-1-16,-9 7 0 15,-7 7 0-15,-3 6 0 16,-20 6-794-16,-23 15-1011 16,5 8-1757-16,-3 14-3320 15,-8 11-2520-15</inkml:trace>
  <inkml:trace contextRef="#ctx0" brushRef="#br0" timeOffset="212859.59">16331 7850 18321 0,'0'0'2307'0,"-16"0"-1759"16,-10 3-499-16,5 3-296 15,-7 9-311-15,-1 8 302 16,4 7 436-16,8 1 356 15,11 1 1077 1,1 2 1125-16,5-7 200 16,0-7-585-16,5-1-1219 15,7-5-565-15,15-3-268 16,7-9-161-16,4-11-80 16,3-16-34-16,-17 2-18 15,7-17-3-15,-4-2-4 16,-8 1 0-16,-1 3-1 15,-10 2 0-15,-16 4 0 16,-6 9-87 0,-13 2-526-16,-13 11-1130 15,-11 10-664-15,-4 6-2929 16,4 6-2412-16,-4 10-73 16</inkml:trace>
  <inkml:trace contextRef="#ctx0" brushRef="#br0" timeOffset="213279.65">16729 7922 11595 0,'0'0'7330'0,"0"0"-2389"0,-2-4-1444 15,-14 0-902-15,-29 8-2033 16,-14 11-2543 0,15 8-2825-16,8 7-129 15,-7 10 1882-15,19-6 3042 16,8 0 2161-16,10-8 1282 16,16-6 1071-16,18 1-472 15,18-10-2198-15,5-11-1154 16,8-15-414-16,5-10-171 15,-3-13-63-15,-12-9-21 16,-17 3-7 0,-16 1-2-16,-5 5 0 15,-18 2-1-15,-19 3 0 16,-15 5-40-16,-19 11-749 16,-11 17-625-16,1 6-1020 15,9 16-2515-15,-1 7-1880 16,13 1 532-16</inkml:trace>
  <inkml:trace contextRef="#ctx0" brushRef="#br0" timeOffset="213757.66">17111 7963 27514 0,'0'-5'1543'16,"-7"-11"-1213"-16,-7-4-714 15,-14 12-178-15,-25 8-354 16,-7 11 36-16,4 12-612 16,-3 11 437-16,10-3 881 15,15 1 1366-15,16-10-9 16,12-1 905-16,12 2 260 15,24 0-1145-15,23-10-673 16,7-20-336 0,5-8-124-16,-1-10-46 15,-17 0-17-15,-1-15-4 16,-6 0-395-16,-6-5-609 16,-11 11-103-16,-14 4 433 15,-11 9 452-15,-11 6 132 16,-13 5 114-16,-14 16 347 15,-15 15-61-15,-19 11-375 16,11 8 184 0,20 7-178-16,7 4 311 15,16-13 80-15,8 2-610 16,21-10-622-16,14-5-2611 16,5-10-4209-16,19-7-2587 15</inkml:trace>
  <inkml:trace contextRef="#ctx0" brushRef="#br0" timeOffset="214046.65">17483 7918 28411 0,'0'0'1591'16,"-13"-8"-283"-16,-5 1-554 15,-31 11-316-15,-13 9-727 16,13 13-873-16,15 3-738 15,10 1 657-15,13-4 977 16,17-10 767 0,5 4 1558-16,12-6-625 15,28-5-714-15,16-18-446 16,-16-4-187-16,15-10-53 16,-15-7-24-16,-3-6-6 15,-11 0-3-15,-15 3 0 16,-6 5-1-1,-16 0 0-15,-18 3-1915 0,-28 4-6758 16</inkml:trace>
  <inkml:trace contextRef="#ctx0" brushRef="#br0" timeOffset="-213899.37">15834 8155 25720 0,'0'0'1234'0,"8"6"-326"16,10 11-551-16,-6 9-639 16,3 6-1840-16,-9 2-313 15,-6 18 734-15,0 18 1146 16,-6-6 799-16,0 16 1814 15,4 1 1242-15,-5-7-748 16,3 0-1122 0,4-15-752-16,0-15-227 15,-4-9-322-15,2-12-146 16,0-10 97-16,2-9-91 16,0-4 4-16,-2-15 66 15,-7-28-141-15,2-10-548 16,7-23-47-16,5 5-191 15,6-4-85 1,8 3 119-16,8 2 28 16,2-8-40-16,5 23 475 15,-1 5 521-15,-4 14 628 16,-2 1-208-16,7 17 81 16,-11 9-100-16,3 11-118 15,-2 13 34-15,-1 10-252 16,-7 16 199-16,2 7 216 15,-10 18-65 1,-2-3-187-16,-6 7-98 16,-4-2-124-16,4-3-168 15,-4-5-55-15,-2-5-38 16,-1-19 220-16,5-13-190 16,2-10 88-16,7-7-33 15,-7-2-2-15,0-4 200 16,6-19-21-16,8-21 63 15,10-15-126 1,5-8-60-16,-1-7-23 16,-2-2-183-16,1 4-338 15,5 0 60-15,12 15 118 16,-6 9-481-16,-15 10 372 16,-5 6-123-16,0 12 59 15,4 7 93-15,-6 18 115 16,4 20 381-16,-5 20 739 15,-5 12-80-15,-16 14 263 16,0 2-42 0,1 6-354-16,-3-11-426 15,-5 0-124-15,6-15-43 16,7-17-11-16,0-21-4 16,-2-10-1-16,2-7-1 15,5-4 1-15,20-23-1 16,12-24 0-16,-6-16 0 15,-4-10-44 1,8 5-519-16,0 5-228 16,5 5 262-16,7 1 291 15,-7 9 145-15,-6 9 144 16,4 7-235-16,-12 13 766 16,-3 11 46-16,-7 5-518 15,0 16-295-15,-6 23 189 16,-2 21 121-16,-10 15-56 15,-4 8 152 1,2 7 252-16,-2-9-223 16,0-2-172-16,4-14-55 15,-1-16-15-15,3-19-5 16,0-12-2-16,0-7-1 16,5-6 1-16,17-21-1 15,12-26 0-15,3-21 0 16,3-12-453-16,-2-2-385 15,-7-5-390 1,3 0-56-16,2 11 272 16,7 12 734-16,-9 14 972 15,-1 14 773-15,-11 12-515 16,-12 12-292-16,2 8-55 16,-2 8-393-16,-2 23-181 15,2 32 172-15,-12 9-44 16,2 15-83-16,-2 6-52 15,4 6-17-15,-4 0-5 16,0 3-1 0,-2-1-1-16,-18 36-2288 15,18-95-4269 1,-4-8-4008-16</inkml:trace>
  <inkml:trace contextRef="#ctx0" brushRef="#br0" timeOffset="-213153.26">15953 8890 23190 0,'0'0'3091'16,"-8"-9"-258"-16,-4-4-1094 15,-8-1-738-15,-6 1-1291 16,3 3-1306-16,1 3-376 16,6 5-746-16,-1 4 677 15,0 6 935-15,-8 7 752 16,9-2 1468-16,12 4 967 15,8 13 381-15,14-1 82 16,17 3-822 0,25 2-1005-16,21-7-473 15,10-3-168-15,0-3-55 16,2-4-14-16,6 4-6 16,16-4 0-16,-20-4-1 15,-4-5 0-15,12 3 0 16,-6-7 0-1,-12 2 0-15,4-6 0 0,-11-6 0 16,-5-5 0 0,-14-5 0-16,-19-4 0 15,-8-9 0-15,-5-10 0 16,1-7 0-16,-10-14 0 16,-4 4 0-16,-14 0 0 15,-20-2 0-15,-5 9 0 16,-7 0 0-16,-14 13-726 15,-24 9 105-15,-17 7-33 16,-13 8-329 0,-3 10-999-16,4 2-2393 15,-16 8-2520-15,12 5 355 16</inkml:trace>
  <inkml:trace contextRef="#ctx0" brushRef="#br0" timeOffset="-212352.56">15733 8960 26809 0,'0'4'1566'16,"-4"11"-1853"-16,-5 10-763 15,4 0-267-15,3 1-1871 16,0 1-2019-16,-2 5 895 15,0-2 2376-15,2-3 2184 16,6-4 677 0,0-6 936-16,4-2 869 15,6 2 62-15,-6-2-51 16,4-2-800-16,14 4-303 16,-3-5-597-16,-3-1-553 15,-2-3-187-15,16 5-143 16,11-6-204-16,-3 3 221 15,-6 1-163 1,11 4 315-16,8-1 108 16,-7 1 54-16,3 0 28 15,19-1-215-15,-7-1-289 16,1 0-454-16,-3-4 250 16,5-3 190-16,4-2-22 15,4 0 125-15,-19-4 95 16,19 0-168-16,-15 0-103 15,-4-6 7 1,13-1 171-16,-5-3 269 16,-3 0 464-16,-3-3 304 15,2 0-740-15,-1 0-262 16,-1 1-91-16,-11-5-31 16,-1 0-11-16,-11-2-4 15,0-9-1-15,-1-3 0 16,-1-10-1-16,-8-1 0 15,-4 2 0-15,-9-7 0 16,-7 0 0 0,-10 1 0-16,-7 6 0 15,-21-7 0-15,-12-4 0 16,1 17-228-16,-14 14-107 16,-7 3-721-16,1 8-2807 15,-18 18-3219-15,11-22-3598 16</inkml:trace>
  <inkml:trace contextRef="#ctx0" brushRef="#br0" timeOffset="-211748.55">18245 7958 29660 0,'0'0'993'0,"0"0"-807"0,-8 7-545 15,-9 10-548 1,6 12-78-16,-3 5 211 16,4-2 656-16,15 2 458 15,-5-9 390-15,11-6 603 16,6-4 73-16,6-7-722 16,4-10-367-16,5-10-166 15,0-14-85-15,-5-10-39 16,-1-4-17-16,-12-4-5 15,2 4-4-15,-12 5 0 16,-8 8-1 0,-14 1 0-16,-6 10 0 15,-8 9 0-15,-21 14-1396 16,4 8-3045-16,9 3-3248 16,2 14 681-16,10 0 921 15</inkml:trace>
  <inkml:trace contextRef="#ctx0" brushRef="#br0" timeOffset="-211365.55">18682 7992 7944 0,'-8'0'10742'16,"0"-2"-4459"-16,-13-2-2325 15,-11 4-2530 1,2 0-2290-16,1 10-1751 16,-3 7-1463-16,2 5-1115 15,8 1 2714-15,11-2 3005 16,6-6 1745-16,15-1 1845 16,10-2 331-16,12-7-898 15,9-9-1936-15,1-9-945 16,6-7-399-16,-11-1-177 15,-15-11-57 1,0-2-22-16,-7-2-9 16,-11-2-4-16,-10 4-355 15,-7 4-212-15,-15 9-526 16,-10 12-242-16,-17 14-434 16,0 14-2421-16,2 6-2880 15,2 9-1832-15</inkml:trace>
  <inkml:trace contextRef="#ctx0" brushRef="#br0" timeOffset="-210961.54">19026 7929 21140 0,'0'-4'2223'0,"-4"-7"-554"15,-9-1-741-15,-27 7-995 16,0 7-1692 0,-7 17-666-16,-8 9-3435 15,7 1 1149-15,10 7 3101 16,21-2 2696-16,6-12 2954 16,6 1 2186-16,14-2-587 15,12-7-2252-15,11-5-1730 16,13-11-923-16,1-13-441 15,-1-6-182 1,-3-7-70-16,-13-5-26 16,-1 1-9-16,-7-6-3 15,-8 2-3-15,-13 6 1 16,-13 5-249-16,-8 5-361 16,-17 10-1002-16,-5 15-711 15,1 9-1923-15,-4 9-2291 16,3 3 304-16,20 4 1229 15</inkml:trace>
  <inkml:trace contextRef="#ctx0" brushRef="#br0" timeOffset="-210590.55">19253 7889 12011 0,'0'0'6275'0,"-5"-7"-203"15,-5 1-2243 1,-13 4-1372-16,-28 10-1120 16,9 13-1544-16,8 15-1777 15,-7 4-2139-15,9 1-535 16,16-5 497-16,10-4 2414 16,10-9 2935-16,10-4 1436 15,8-9 1174-15,5-3-465 16,15-11-407-16,11-14-973 15,-2-9-1318 1,-15-4-321-16,-10-10 144 16,-4-6-264-16,0-3-448 15,-20 11-58-15,-8 6 132 16,-7 12-133-16,-10 8-541 16,-56 23-2784-1,29 16-1426-15,11-1-2066 16,17 9 173-16</inkml:trace>
  <inkml:trace contextRef="#ctx0" brushRef="#br0" timeOffset="-210399.48">19587 7899 30044 0,'0'0'913'0,"-10"-4"-54"16,-18-1-338-16,-17 12-1563 15,9 8-5504-15,3 16-6371 16</inkml:trace>
  <inkml:trace contextRef="#ctx0" brushRef="#br0" timeOffset="-210262.47">19454 8102 9065 0,'16'-6'12415'0,"40"-11"-5181"16,-7-13-4606-16,-13-4-1745 16,-11 1-551-16,-6-10-203 15,-4-1-79-15,-17 6-70 16,-15 4-3312-16,-13 15-6292 16</inkml:trace>
  <inkml:trace contextRef="#ctx0" brushRef="#br0" timeOffset="-208832.79">18268 8161 22325 0,'0'0'1850'15,"2"11"-330"-15,-2 17-482 16,-6 10-593-16,-4 10-876 16,-10 16-254-16,1 4 562 15,9 4 624-15,2-1 54 16,4-18-143-16,1-6 229 15,3-7 285-15,5-8 440 16,-5-13-146 0,2-8-689-16,-2-9-278 15,4-2-74-15,19-21-40 16,11-24-72-16,2-14-41 16,-7-17-18-16,-5-9-5 15,0-12-25-15,9 1-1100 16,3 14-2108-16,0 21 599 15,-13 22 934-15,-2 20 5 16,-8 9 1154 0,-3 18 1648-16,-1 37 1204 15,-9 35-373-15,-6-3-407 16,-7 9-701-16,7-3 148 16,-1-5 530-16,1-23-1058 15,4-15-301-15,0-17-96 16,-4-10-34-16,6-9-11 15,10-4-4-15,17-23-2 16,3-17-3 0,4-19-1-16,8-3-1 15,5-6 0-15,-13-1 0 16,1 3 0-16,3-1-285 16,-10 24-180-16,-11 18 472 15,-4 14 358-15,-4 9-202 16,1 8-61-16,-2 34-34 15,-12 18-39-15,-2 5-18 16,-11 7-8 0,6-8-2-16,-1-8 0 15,10-5-1-15,2-13 0 16,8-13 0-16,2-3 0 16,8-10 0-16,-2-8 0 15,6-6 0-15,1-15 0 16,13-17 0-16,0-6 0 15,-6-7 0-15,-3-4 0 16,-5-15 0 0,-6 4 0-16,-1 18-281 15,2 19 151-15,-9 14 295 16,-3 6-76-16,-5 7-151 16,0 5 88-16,0 33-101 15,-9 19 249-15,-3 15-110 16,3-6-44-1,0 2-13-15,9-5-5 0,7-15-1 16,4-9-1 0,3-10 0-16,1-12 0 15,11-6 0-15,3-15 0 16,3-17 0-16,8-20 0 16,4-6 0-16,-1-5 0 15,1-10 0-15,-8 5 0 16,-6-8 0-16,-1-1 0 15,3 9 0-15,-13 16 0 16,-8 18 0 0,-7 13 0-16,3 3 0 15,-7 7 0-15,-2 39 0 16,-11 15 0 0,0 8 0-16,7 12-1067 15,1 0-2100-15,-1 9-1855 16,12-9-1434-16,-8-11-161 15</inkml:trace>
  <inkml:trace contextRef="#ctx0" brushRef="#br0" timeOffset="-208316.15">18224 8640 641 0,'-6'4'11484'0,"-7"-2"-3517"16,-7 2-3676-16,-8 1-1871 15,10 1-3498 1,-3 3-1180-16,4-1-93 16,11 3 583-16,1 3 1308 15,10 9 1887-15,27 5 2311 16,4 0-680-16,6 1-139 16,21 1-1070-16,18 0-1228 15,8 2-430-15,12-5-136 16,5-4-39-16,8-6-12 15,-14-13-3 1,16-12-1-16,-25-5 0 16,-10-10 0-16,8-13 0 15,-13-7 0-15,-9 1 0 16,-24 8 0-16,-22 5 0 16,-8 4 0-16,-17-5 0 15,-26-2-644-15,-27-2-2098 16,-8 19-1983-1,-40 2-1084-15,2 9 365 0,-6 4 68 16</inkml:trace>
  <inkml:trace contextRef="#ctx0" brushRef="#br0" timeOffset="-207705.96">18145 8799 29116 0,'-6'10'298'0,"-11"20"-505"16,1 4 210-16,0 2-79 15,2-1-429-15,-1 4-167 16,4-5 418 0,11-5 149-16,0 1 330 15,6 2 35-15,16-2-180 16,12-1 92-16,11-2 137 16,9 1-147-16,3-5-190 15,1-4 165-15,20-4-87 16,4-2-213-16,3-9 23 15,6-2 98-15,6-2 30 16,-8 2 54 0,2 1-30-16,-15 5-118 15,-9-2 308-15,6 5-286 16,-7-3 122-16,-17 1 135 16,-7-3 933-16,3-1 487 15,-9-10-897-15,-9-3-426 16,-2-5-150-16,0-19-62 15,-1-16-33 1,-7-10-16-16,-6-12-6 16,-9 3-2-16,-8-5 0 15,-4-8-1-15,-4 8-109 16,0-5-234-16,-6 14 175 16,-1 10 299-16,-9 4 41 15,-6 9-12-15,-6 12-463 16,1 11-571-16,-5 11-1983 15,-3 15-6261-15</inkml:trace>
  <inkml:trace contextRef="#ctx0" brushRef="#br0" timeOffset="-203841.16">6527 4572 7719 0,'0'0'5036'0,"4"0"-1776"16,-4 0-714-16,2 4-424 15,1 2-443-15,-1 1-533 16,-2 1-10 0,2 1-5-16,0-5 107 15,-2 2 366-15,0 1-232 16,3-3-308-16,-3 4-335 16,4-1-316-16,2 3-151 15,-2 1-121-15,0 4-61 16,-2-3-38-16,-2 5-19 15,2 11-10-15,0 1-7 16,0 3-3 0,10 6-2-16,-2 1 0 15,-4 1-1-15,5 10 0 16,-7 1 0-16,0-4 0 16,0 8 0-16,3 0 0 15,-5-2 0 1,5 10 0-16,-7 0 0 15,0-5 0-15,0 5 0 16,4 3 0-16,-6 0 0 16,-3 5 0-16,-1 4 0 15,6-6 0-15,-9 10 0 16,-1-5 0-16,-1 4 0 16,9-4 0-16,0 9 0 15,0 2 0-15,-4 1 0 16,0 1 0-16,1 2 0 15,2 0 0-15,-3 2 0 16,4 2 0 0,-4 0 0-16,2 0 0 15,6 2 0-15,0-3 0 16,-6 5 0-16,10-6 0 16,-6 2 0-16,-2 2 0 15,-2 2 0-15,2-1 0 16,-2 3 0-16,0 5 0 15,-1-4 0-15,-2 7 0 16,-7-9 0 0,5 4 0-16,1-5 0 15,4-4 0-15,-2-8 0 16,-4 8 0-16,4-8 0 16,6 5 0-16,-2-1 0 15,0 0 0-15,0-2 0 16,0 4 0-16,2 0 0 15,-2 4 0-15,-4-4 0 16,0 5 0 0,1-6 0-16,3 6 0 15,-3-7 0-15,-1 12 0 16,0-12 0-16,-2 11 0 16,3-7 0-16,1 13 0 15,-2-7 0-15,-1 5 0 16,1 0 0-16,1-5 0 15,-1 11 0-15,-6-12 0 16,8 7 0 0,2-1 0-16,0 2 0 15,2-2 0-15,0-3 0 16,-2 5 0-16,-1-9 0 16,0 5 0-16,-7 0 0 15,6 4 0-15,2 4 0 16,0-13 0-16,0 13 0 15,-2-13 0-15,1 7 0 16,8-9 0 0,-7 9 0-16,-1-11 0 15,6-2 0-15,-8-4 0 16,1 2 0-16,2-9 0 16,4-8 0-16,4-2 0 15,-6-11 0-15,-2-10 0 16,2-19-3479-16,2-13-7115 15</inkml:trace>
  <inkml:trace contextRef="#ctx0" brushRef="#br0" timeOffset="-202019.8">8611 4536 27674 0,'0'0'-52'0,"0"0"-344"15,0 0-359-15,0 2 36 16,2 9 221-16,2 1-216 15,-2 7 223-15,4 4 237 16,-4 9 184 0,0-2 344-16,-4 1 1005 15,6 10 196-15,-2 6-25 16,5-1 344-16,-3 2-584 16,7 6-219-16,-7-1-627 15,2 4-232 1,-6 2-85-16,5 0-30 0,-3 5-11 15,8 5-4-15,-12-1-1 16,6 2-1 0,-4 4 0-16,4 5 0 15,-2-1 0-15,2 0 0 16,-4 4 0-16,0-3 0 16,0 10 0-16,5-4 0 15,-5 10 0-15,-5-4 0 16,7 8 0-16,-2-3 0 15,6 9 0-15,-6-5 0 16,-3-1 0 0,0 5 0-16,1 0 0 15,2 10 0-15,0-4 0 16,-4 0-305-16,4-2 270 16,0 0-161-16,-2 2 72 15,0-6 21-15,4 4-18 16,-2-5 251-16,-8 3-257 15,10 0-2-15,-6 6 94 16,0 0 97 0,2-8 187-16,0 6-157 15,-5 0 144-15,1 2-267 16,-9 1 165-16,2-8 41 16,1 6-340-16,0-5-253 15,-2-5 97-15,8 9 373 16,0 0 80-16,-1-6 391 15,-2-4-288-15,5 12-169 16,-6-9-48 0,5 1-14-16,-5 6-2 15,4-13-2-15,4 5 0 16,-3 0 0-16,1 4 0 16,4-9 0-16,-3 0 0 15,3 5 0-15,-2-9 0 16,0 4 0-16,0-4 0 15,0 7 0 1,0-7 0-16,2 0 0 16,2-2 0-16,-4 3 0 15,-4-10 0-15,4-1-89 16,2 3-73-16,0-3 91 16,0-2 272-16,6 3-116 15,0-2-60-15,-4 10-17 16,-4-7-6-1,2 3-1-15,2-1-1 0,0-3-45 16,0 5 77 0,-2-10-23-16,-2 16-6 15,4-6-2-15,5 4-1 16,-2 100 0 0,-5-98 0-16,-7 0 0 15,9 7 0-15,-2-9 0 16,0 9 0-16,5-7 0 15,-5 2 0-15,-5-10 0 16,12 0 0 0,-5-15 0-16,-6-13 0 15,4-13-3819-15,4-14-5710 16</inkml:trace>
  <inkml:trace contextRef="#ctx0" brushRef="#br0" timeOffset="-201024.42">6625 5736 7847 0,'0'0'7184'0,"0"0"-2809"15,-3 0-968-15,3 0-1389 16,0 0-927-16,0 0-727 15,0 0-601-15,9 0 51 16,0-2 152 0,15-5 572-16,2-1 390 15,2 6 893-15,17-2 17 16,16-3-651-16,-19 3-808 16,15 2-219-16,23 0-100 15,-13 2-42-15,14 2-12 16,-4-4-4-16,3 6-1 15,3-6-1 1,0 0 0-16,1 0 0 16,1 2 0-16,-7-4 0 15,-2 4 0-15,7 0 0 16,-13 0 0-16,12 4 0 16,-6-4 0-16,-17 0 0 15,1 6 0-15,-1-4 0 16,-15 0 0-16,9 5 0 15,7-11 0-15,-15 1 0 16,-25 3 0 0,2 7 0-16,3-3 0 15,-19-2-2413-15,-6-2-3847 16</inkml:trace>
  <inkml:trace contextRef="#ctx0" brushRef="#br0" timeOffset="-200308.24">6672 7728 32062 0,'0'0'246'15,"4"-3"-65"-15,-2 6-76 16,2-3-38-1,0 2-27-15,0 2-14 16,5 0-9-16,1-2-7 16,3 7-4-16,12-1-2 15,13 3-2-15,3-5-1 16,-5 1-1-16,25 3 0 16,7-1 0-16,15 4 0 15,-3-3 0-15,-4 5 0 16,34 1 0-16,-31-3 0 15,12 0 0 1,-2 0 0-16,4 4 0 16,-4-5 0-16,14 1 0 15,-14 0 0-15,-6 2 0 16,-11-3 0-16,-15-1 0 16,8 4 0-16,-13-1 0 15,-28-3 0-15,6 2 0 16,-9-3 0-16,-3-3 0 15,-12-1 0-15,-4-4-1547 16,0 2-2994 0,-4 3-4245-16</inkml:trace>
  <inkml:trace contextRef="#ctx0" brushRef="#br0" timeOffset="-199621.93">6631 9865 13581 0,'0'0'5379'16,"2"0"-1967"-16,7 4-945 16,-1-1-936-16,6 3-621 15,-2-3-861-15,2 1-83 16,12 0 274-16,16 2 560 15,9-6 581-15,-6 6-78 16,13-3-166 0,15 3-724-16,0-2-278 15,20 3-90-15,-1-6-32 16,3 6-9-16,0-3-3 16,11 0-1-16,15 3 0 15,-16-7 0-15,6 4 0 16,-4-2 0-16,-7 2 0 15,-11 0 0-15,-13 3 0 16,-10-5 0 0,-9 5 0-16,0-3 0 15,-15 0 0-15,-16-4 0 16,-12 2-200-16,-3 0-2003 16,-4-2-2402-16,-7 2-3270 15</inkml:trace>
  <inkml:trace contextRef="#ctx0" brushRef="#br0" timeOffset="-197585.43">6415 11819 2979 0,'-2'4'11086'15,"0"5"-3506"-15,2-3-3178 16,0 3-1600-16,2 4-1247 15,7-5-740 1,3 3-921-16,8-5-370 16,4 0-369-16,0-4 55 15,16-4 535-15,17 0 410 16,2-7 339-16,11-1 400 16,13 6 115-16,6 2 27 15,4 4-728-15,12 0-218 16,6 2-65-16,1-4-18 15,4 2-6 1,-10 3 0-16,15-1-1 16,0 2 0-16,-16 5 0 15,0 3 0-15,-17-1 0 16,-10 4 0-16,-6-2 0 16,-23-2 0-16,-5-3 0 15,-7-1 0-15,-13-3-1980 16,-6-4-3848-16,-12 0-3507 15</inkml:trace>
  <inkml:trace contextRef="#ctx0" brushRef="#br0" timeOffset="-196684.2">6363 13661 6246 0,'0'2'8186'0,"0"2"-3276"16,10 2-578-16,6 1-1391 15,6-1-1276-15,11-2-918 16,3-1-435-16,-8 1-205 16,6 0-204-16,23-2-116 15,2-2 116-15,-3-4-365 16,22 8-5-16,4-4 297 15,11-2 254-15,14 0 642 16,-12 2 824 0,26-2-186-16,8 2-529 15,-22 0-639-15,31 0-141 16,-3-7-42-16,-18-1-10 16,1 3-2-16,-8-1-1 15,-8 0 0-15,-7-1 0 16,-4 6 0-16,-27 5 0 15,-26-4 0-15,2 2-1466 16,-13-2-4774 0,-9-2-4655-16</inkml:trace>
  <inkml:trace contextRef="#ctx0" brushRef="#br0" timeOffset="-195767.13">6309 13597 10154 0,'0'7'5991'0,"0"5"-613"16,4 7-1464-16,-4 7-669 16,3 3-1281-16,-1 3-754 15,-2 8-688-15,0 5-283 16,-7 7-225-16,-1 4 53 16,-7-1-250-16,5 6 348 15,6 1-108-15,-4-1-37 16,8 9-13-16,3 1-5 15,-6-1-1-15,1-6-1 16,2 8 0 0,-2 0 0-16,2-4 0 15,-6-1 0-15,2-5 0 16,4-5 0-16,2 6 0 16,2 8 0-16,-4-8 0 15,0 3 0-15,2 1 0 16,0-10 0-16,2 5 0 15,-4-5 0-15,3-8 0 16,6-7-97 0,-5-4-1205-16,-6-6-1022 15,6-5-1954-15,0-10-1641 16,2-2-1413-16</inkml:trace>
  <inkml:trace contextRef="#ctx0" brushRef="#br0" timeOffset="-181125.85">6834 5973 12556 0,'0'0'3021'0,"-2"-5"-829"16,-2 4 86-16,2-2-887 16,2-1-717-16,-2 2-1005 15,-1 0-28-15,-1-2 188 16,0 2 154-16,4 2 667 16,0 0 311-16,0 0 319 15,-2 0 20-15,2 0 421 16,8-5 66-16,1 5-432 15,10-4-218 1,-8 2-536-16,3-4-256 16,1 1-160-16,0 4-81 15,2-4-51-15,17 3-22 16,-2-2-18-16,-1-1-7 16,-3 1-4-16,-7 0-1 15,8 2 0-15,8 0-1 16,3 0 0-16,2 0 0 15,-15-2 0 1,1-1 0-16,6 1 0 16,8 0 0-16,-5 0 0 15,-10 1 0-15,-4-1 0 16,-2 2 0-16,15 0 0 16,4 0 0-16,-5 0 0 15,-11-3 0-15,-2 3 0 16,8 0 0-16,-3 0 0 15,9 2 0-15,0-2 0 16,-15 0 0 0,5 0 0-16,10 2 0 15,-3 0 0-15,9-3 0 16,-5 2 0-16,-14-2 0 16,4 1 0-16,-1 2 0 15,6 0 0-15,-3 2 0 16,7-2 0-1,-10 0 0-15,-9 0 0 16,4 3 0-16,8-3 0 16,3 1 0-16,-6-1 0 15,3 3 0-15,-5-3 0 16,-1 2 0-16,-13-2 0 16,16 2 0-16,0 0 0 15,-10 0 0-15,-1 2 0 16,4-4 0-16,-4 5 0 15,-1-3 0 1,2 2 0-16,-4 0 0 16,-6-2 0-16,-2 2 0 15,1-1 0-15,-3 3 0 16,0 5 0-16,1-1 0 16,-1 5 0-16,-2 2 0 15,2 0 0-15,-2 2 0 16,0 4 0-16,0 3 0 15,-2 3 0-15,6-8 0 16,-8 9 0 0,-1-3 0-16,3 3 0 15,-3 0 0-15,-3 3 0 16,4-3 0-16,-4 2 0 16,0-2 0-16,-4-1 0 15,8 5 0-15,-4-2 0 16,2 2 0-16,-5 2 0 15,3-2 0-15,1 4 0 16,1-4 0 0,-1 3 0-16,-1 2 0 15,0-1 0-15,6 0 0 16,-12-2 0-16,10 0 0 16,0 0 0-16,2 0 0 15,-2 2 0-15,2-6 0 16,-4-1 0-16,3 1 0 15,6 2 0-15,-3-2 0 16,-3 2 0 0,1-7 0-16,0 1 0 15,2 2 0-15,0-3 0 16,0 3 0-16,-4 2 0 16,0-9 0-16,2 0 0 15,-3 2 0-15,3-1 0 16,-2-3 0-1,4-2 0-15,0-4 0 16,0-5 0-16,0-1 0 16,-2-3 0-16,2 1 0 15,0-6 0-15,-3 4 0 16,3 1 0-16,-2 2 0 16,-8 3 0-16,2-5 0 15,-10 9 0-15,6-4 0 16,-3-5 0-16,-2 1 0 15,-4-1 0-15,2-4 0 16,6 2 0 0,-6-2 0-16,0-2 0 15,-2 3 0-15,-1-8 0 16,-4 1 0-16,-2 0 0 16,0 0 0-16,9-3 0 15,5 1 0-15,-10 0 0 16,-3 3 0-16,-13-1 0 15,-5-2 0-15,11 6 0 16,19-4 0 0,-10 1 0-16,-15-3 0 15,-1 0 0-15,9 1 0 16,3 4 0-16,-1-2 0 16,2 1 0-16,-16 2 0 15,-3-4 0-15,16 8 0 16,8-2 0-16,-11-2 0 15,-9 3 0-15,1 1 0 16,9-2 0 0,1 0 0-16,-7 0 0 15,1 0 0-15,0 0 0 16,5 1 0-16,9-3 0 16,1 1 0-16,-11 2 0 15,8-3 0-15,4 2 0 16,-6 0 0-16,4 0 0 15,14-2 0-15,-3 0 0 16,7 2 0 0,0-2 0-16,2 0 0 15,2 0 0-15,-1 0 0 16,-2-2 0-16,3 2 0 16,-2-6 0-16,0-5 0 15,-4-10 0-15,10-3 0 16,4-3 0-16,-4-5 0 15,0 1 0-15,-4-8 0 16,-2-3 0 0,6 2 0-16,0 0 0 15,-6-3 0-15,-2-7 0 16,6 1 0-16,2-2 0 16,-2-2 0-16,-4-2 0 15,4 0 0-15,-2 2 0 16,6-2 0-16,-2 0 0 15,-2 5 0-15,-6-8 0 16,0 5 0 0,1 5 0-16,5-1 0 15,5-6 0-15,-3 6 0 16,-2 5 0-16,4-3 0 16,-2 2 0-16,4 10 0 15,-8-6 0-15,0 8 0 16,-2-1 0-16,0 0 0 15,-3 4 0-15,0 3 0 16,-3 6 0 0,4 1 0-16,-3 0 0 15,5 7 0-15,4 6 0 16,-2 3 0-16,2 4-328 16,0 0-1861-16,2 4-4272 15</inkml:trace>
  <inkml:trace contextRef="#ctx0" brushRef="#br0" timeOffset="-179041.6">6965 8208 6022 0,'-2'-2'5636'15,"-6"-7"-1786"-15,2 3-1552 16,-1 0-731-16,3 2-624 16,2-1-71-16,0 3 8 15,2 2-531-15,0 0-304 16,0 0 630-16,17 2 982 15,9 7-152-15,5-3-24 16,5 0 159 0,0-3-251-16,12 1-323 15,13-2-483-15,-1 0-384 16,10-2-125-16,-10 0-50 16,-2-2-16-16,27 2-5 15,-18 0-2-15,0 0-1 16,7-2 0-16,-7 4 0 15,14-4 0-15,-16-2 0 16,3 4 0 0,9 0 0-16,-18-4 0 15,-9 1 0-15,5 3 0 16,-11 0 0-16,-7-2 0 16,-14 4 0-16,-2-2 0 15,-8 0 0-15,-6 3 0 16,-5-3 0-16,0 4 0 15,0 0 0-15,-4 6 0 16,-4 5 0 0,-8 0 0-16,2 4 0 15,-1 4 0-15,-2 5 0 16,4 8 0-16,5 4 0 16,0 1 0-16,0 3 0 15,-4 2 0-15,0 12 0 16,4-12 0-16,-4 3 0 15,4 6 0-15,3-5 0 16,-1-3 0 0,2 2 0-16,0-3 0 15,0-5 0-15,-3-3 0 16,3 0 0-16,2-2 0 16,-4 0 0-16,2-2 0 15,0 0 0-15,-5-7 0 16,-3 7 0-16,2 2 0 15,-4-7 0-15,4 3 0 16,0-2 0 0,0-3 0-16,-1-1 0 15,2 1 0-15,3-1 0 16,0-3 0-16,0-8 0 16,-9 6 0-16,-1 0 0 15,2-2 0-15,4-4 0 16,2-4 0-16,0 2 0 15,-5-5 0-15,6-4 0 16,3 0 0 0,2 1 0-16,0-3 0 15,-2-2 0-15,2 2 0 16,-2-2 0-16,0 0 0 16,-6-2 0-16,-3-3 0 15,1 1 0-15,-3-4 0 16,2 2 0-16,1-1 0 15,-8 3 0-15,-11-1 0 16,-5 1 0 0,-4 2 0-16,0 2 0 15,5-2 0-15,1-2 0 16,-13 0 0-16,-1 0 0 16,12-3 0-16,2 1 0 15,3-1 0-15,-12 1 0 16,-12-3 0-16,20 3 0 15,5 0 0-15,-6 1 0 16,-9-3 0 0,-5 2 0-16,11-1 0 15,2 1 0-15,-5-3 0 16,0 5 0-16,-3-4 0 16,9-1 0-16,11 3 0 15,-11 2 0-15,2-5 0 16,2 5 0-16,1-5 0 15,-5 5 0-15,13 0 0 16,-2 2 0 0,-5-4 0-16,1 2 0 15,-3-1 0-15,12 1 0 16,4-2 0-16,4 1 0 16,-3-3 0-16,7-2 0 15,0-1 0-15,1-4 0 16,-1-6 0-16,-1-9 0 15,1-1 0-15,4-8 0 16,10-1 0 0,-3-4 0-16,-1-7 0 15,5 0 0-15,-3 2 0 16,0-8 0-16,-2 2 0 16,-4 2 0-16,5-1 0 15,1-2 0-15,-4 1 0 16,6 2 0-16,-1-1 0 15,-5-2 0-15,7 5 0 16,5 1 0 0,-6-1 0-16,-3 9 0 15,2-5 0-15,-1 5 0 16,-2 3 0-16,2 4 0 16,-4 5 0-16,0 9 0 15,-2-4 0-15,3 3 0 16,-3 8 0-16,2 3 0 15,-2 2 0 1,2 5 0-16,-2 2 0 16,0 2-522-16,0 0-1940 15,6 8-5266-15</inkml:trace>
  <inkml:trace contextRef="#ctx0" brushRef="#br0" timeOffset="-178050.13">6072 3846 18001 0,'0'0'2618'0,"-2"2"-1065"16,2 9-413-16,2 3-487 15,2 9-298-15,-4 5-167 16,0 4 28-16,-2 4 681 15,6 6 305-15,-4 1 100 16,7-3 311-16,-3-7-225 16,7 6-412-1,1-5-586-15,-1 3-228 16,-5-7-98-16,3-2-37 16,-9-7-15-16,7 2-7 15,-5-4-2-15,2-8-2 16,-2-3-1-16,2-6 1 15,-4 3-24-15,0-5-900 16,-2-9-4313 0,-2-14-6627-16</inkml:trace>
  <inkml:trace contextRef="#ctx0" brushRef="#br0" timeOffset="-177557.08">5992 3886 29980 0,'0'0'116'15,"-5"-4"-72"-15,5-5-554 16,-2-4-572-16,4-1-464 15,5-1 268-15,3 0 669 16,3 0 1446 0,16-6 411-16,1 6 15 15,9-6 453-15,-5 4-564 16,2 4-310-16,17 9-462 16,-5 2-247-16,-16 0-87 15,-9 8-28-15,11 7-8 16,-4 4-6-16,-1 2-2 15,-19 0-2-15,-5 2 1 16,-14 9-1 0,-7 4 0-16,-16-4 0 15,1-1 0-15,-12 3 0 16,-6-3 0-16,-4 1 0 16,0-4 0-16,7-3 0 15,-1-6 0-15,7-7 0 16,19-6 0-1,14 1 0-15,-1-3 0 0,6-2-978 16,-1 2-2709 0,3-2-3235-16</inkml:trace>
  <inkml:trace contextRef="#ctx0" brushRef="#br0" timeOffset="-176751.07">6585 3784 30397 0,'2'0'494'0,"6"15"-485"16,5 13-4-16,-5 5-808 15,-4 10 154-15,-8 3 200 16,0 7 358 0,2-2 747-16,2-2 489 15,8-9-431-15,-8 0-183 16,7-4-129-16,-3-11-184 16,-2-5-123-16,-2-12-56 15,0-8-20-15,0 0-7 16,-2-4-2-16,-9-24-3 15,1-12-3 1,-1-6-23-16,5-5-188 16,8 6 249-16,-2-1 73 15,4 3-111-15,13 1-2 16,0 0-159-16,-2 0 18 16,1 3-68-16,2 3 68 15,3 9 196-15,-4 8 153 16,0 12-150-1,4 7 140-15,-4 13-105 16,2 10-48-16,-6 7-25 16,-9 6-13-16,-12 2-5 15,1-4-2-15,-8-4-1 16,1-7-1-16,-4-4 0 16,4-4 0-16,-3-7 0 15,2-2 0-15,-2-3 0 16,-5-6 0-16,2-3 0 15,3-2 0 1,4 1 0-16,6 1 0 16,1-3 0-16,4 8-12 15,0-3-335-15,4 4 21 16,17 1 366-16,5 8-20 16,-6 4 308-16,14 5-152 15,-2 10-104-15,-1 4-42 16,9 4-18-16,7 0-8 15,-21-9-2-15,0 3-1 16,6-2-1 0,-11-7 0-16,-4-11 0 15,-2-1 0-15,-7-7-105 16,0-2-1659-16,4-11-3855 16,-4-8-5978-16</inkml:trace>
  <inkml:trace contextRef="#ctx0" brushRef="#br0" timeOffset="-176283.07">7211 3829 19891 0,'2'-6'3351'0,"0"-5"-1550"16,-2 0-767-16,-2 1-1685 15,0 1-25-15,-17 1 130 16,-6 5-2 0,1 8 953-16,1 6 803 15,-11 12 624-15,8 6-452 16,-5 9 18-16,-1 5-238 16,14-3-415-16,0 5-136 15,16-3-383-15,10-2-137 16,4-2-54-16,4-8-21 15,12-1-8 1,-11-10-4-16,3-4-1 16,-2-9 0-16,7-7-1 15,9-16 0-15,-6-11 0 16,1-10 0-16,-4-2 0 16,-10-7 0-16,-11 3 0 15,-6 6 0-15,0 2 0 16,0 13 0-16,-11-5 0 15,-19 7 0 1,-6 10-517-16,7 5-1863 16,-5 8-1524-16,10 9-2003 15,3 1-1193-15</inkml:trace>
  <inkml:trace contextRef="#ctx0" brushRef="#br0" timeOffset="-175714.98">7710 3776 2562 0,'-6'0'13282'0,"-8"0"-5180"15,-12 4-3323-15,-10 9-2402 16,-5 12-3551 0,-13 11-2621-16,7-2 1099 15,15 6 2042-15,11 7 1582 16,7 8 1240-16,9-4-145 16,1-1 195-16,8-3-568 15,5-9-1061-15,16-2-339 16,7-6-154-16,16-13-57 15,1-11-25-15,-9-8-8 16,5-9-4 0,-5-10-2-16,-12-4 1 15,-9-11-1-15,-7-4 0 16,-6 0 0-16,-12 5 0 16,-6 8 0-16,-3 4 0 15,-11 3 0-15,-4 8-370 16,8 8 12-16,5 4 290 15,6 4-51-15,-4 4 113 16,9-1 255 0,2-1 41-16,4 2-123 15,0-1-81-15,8 4-25 16,17-3-23-16,29-6-19 16,0-4-12-16,-17-4-5 15,11-1-582-15,1-3-4044 16,-7-1-4979-16</inkml:trace>
  <inkml:trace contextRef="#ctx0" brushRef="#br0" timeOffset="-175055.42">8106 3890 32062 0,'0'0'165'0,"11"15"-72"16,-5 6-177-16,11 11-1000 15,0 12 25-15,-7 1 556 16,4 48 2132 0,-10-51-715-16,0-12-553 15,0-11-224-15,-2-4-72 16,-2-9-37-16,2-4-12 15,-2-2-7-15,-2-2-1 16,0-27-2-16,-4-16-4 16,-9-15-1-16,13-1 0 15,2-8-1-15,4 7-273 16,7 16 224-16,7 1 90 16,6 9-6-16,1 4-99 15,7 7 58-15,-8 13 177 16,-12 5-101-16,-2 7-37 15,8 21-10-15,-6 6-12 16,-14 16-6 0,-2-1-3-16,-11 2-1 15,6-7-1-15,-1-10 0 16,2-10 0-16,2-9 0 16,6-3 0-16,0-3 0 15,0-4 0-15,-12-13 0 16,12-2 0-16,8-8 0 15,2 1 0 1,-2 11 0-16,2 3 0 16,-3 4 0-16,8 6-110 15,10 11 171-15,7 14-32 16,0 11-16-16,-7 8-9 16,3 7-2-16,-3-2-1 15,-10-11-1-15,-2 0 0 16,12-8 0-16,-6-13 0 15,1-5-794 1,-4-12-1609-16,-1-12-2799 16,0-20-3714-16</inkml:trace>
  <inkml:trace contextRef="#ctx0" brushRef="#br0" timeOffset="-174631.72">8635 3753 10538 0,'0'-3'3752'16,"2"1"-762"-16,-2 2-812 15,-2 11 1156-15,0 21-90 16,-2 20-409 0,-2 8-1263-16,6 3-864 15,2-1 57-15,-2-48-570 16,6 31 208-16,5-1-247 0,-1-5-99 16,1-16-36-16,-4-9-11 15,-1-7-6-15,-2-5-2 16,4-17-1-16,6-23 0 15,-4-15 0 1,0-8-1-16,-8-5 0 16,7-10 0-16,8 11 0 15,-4 26 0-15,-5 18 0 16,4 9 0-16,2 9 0 16,10 14 0-16,-4 18 0 15,1 27 0-15,-13 9 0 16,5 7 0-16,4 2 0 15,13-8 0-15,-16-9 0 16,12-6 0 0,-1-15 0-16,-15-15 0 15,2-8 0-15,-10-11-1491 16,-4-4-3292-16,-12-34-6719 16</inkml:trace>
  <inkml:trace contextRef="#ctx0" brushRef="#br0" timeOffset="-174438.33">8676 3981 28059 0,'0'0'1556'0,"0"4"-298"16,10 11-323-16,14 0-410 15,12-5-268-15,15-7-146 16,-7-12-384-16,-8-4-2717 15,7-4-3322 1,3 1-3067-16</inkml:trace>
  <inkml:trace contextRef="#ctx0" brushRef="#br0" timeOffset="-173775.29">9146 3787 21620 0,'0'0'2578'0,"2"4"360"15,-2 17-3-15,0 19-1327 16,-9 11-921-16,12 4-430 16,-1 11-162-16,8-12-63 15,3-5-21-15,-5-13-8 16,5-8-1-16,4-7-2 16,-9-13 1-16,-2-4-1 15,-2-5 0-15,6-33 0 16,4-17 0-16,-5-4 0 15,-3-17 0-15,-4-13 0 16,-2-4 0 0,-8 5-738-16,14 35-826 15,-4 22 2315-15,2 16-61 16,-4 9-382-16,0 4-67 16,-4 27-66-16,8 24-88 15,1 5-55-15,1 1-20 16,5-2-8-1,11-11-3-15,2-3 0 16,31 12-1 0,-35-38 0-16,-6-9 0 15,9-4 0-15,15-14 0 16,-2-13 0-16,2-14 0 16,-12-11 0-16,-3-16 0 15,7-16 0-15,-7-3 0 16,7 1 0-16,-4 25 0 15,-4 16 0-15,-2 8 0 16,-12 13 0 0,-6 12 0-16,-2 4 0 15,2 4 0-15,0 21 0 16,0 21 0-16,-2 18 0 16,13 5 0-16,-5 12 0 15,10 1 0-15,-2 4 0 16,2-12 0-16,-4-8 0 15,3-14 0-15,-2-12 0 16,-4-8 0 0,-3-11 0-16,-6-9 0 15,-2-8-121-15,-4 0-1793 16,-24-12-8597-16</inkml:trace>
  <inkml:trace contextRef="#ctx0" brushRef="#br0" timeOffset="-169037.28">6173 4678 30877 0,'0'0'237'0,"-2"2"-194"0,0 8-96 15,9 9-163-15,0 11-382 16,-3 4 182 0,8 2 270-16,3 4 398 15,-7-4 652-15,8 2 183 16,-2-8-632-16,-4-3-265 16,-3-5-111-16,0-6-44 15,-7-11-20-15,0-3-8 16,0-2-2-16,-10-7 0 15,-6-20-2-15,-7-11-2 16,4-5 0 0,4 1-1-16,5 6 0 15,3 6 0-15,-2 1 0 16,7 5 0-16,0-1 0 16,-2 6 0-16,8-4 0 15,4-4 0-15,8 3 0 16,11-4 0-16,13 7 0 15,-6 0 0-15,9 6 0 16,-7 9 0 0,0 10 0-16,-5 7 0 15,-1 10 0-15,-22 5 0 16,-8 9 0-16,-23 10 0 16,-11-3 0-16,2 2 0 15,7-16 0-15,12-4 0 16,7-14 0-16,2-2 0 15,-7-1 0-15,7-5 0 16,4-2 0 0,0 0 0-16,2-4 0 15,7-3 0-15,13 7 0 16,14 5 0-16,3 1 0 16,5 0 0-16,-8 1 0 15,7 3 0-15,-3 1 0 16,-6-3 0-16,-17 3 0 15,-3-1 0 1,-3 10 0-16,-14 3 0 16,-17 9 0-16,-25 6 0 15,-5-7 0-15,-10 3 0 16,-12-4 0-16,28-7 0 16,-11-4 0-16,-21-6 0 15,25-13 0-15,11 2 0 16,-5-4 0-16,9-7 0 15,6 1 0 1,14-5 0-16,9 1-848 16,14-12-3481-16,13-1-4228 15,12-3-1357-15</inkml:trace>
  <inkml:trace contextRef="#ctx0" brushRef="#br0" timeOffset="-168509.28">6737 4655 32767 0,'0'0'0'0,"0"0"0"0,10 12 0 16,1 5-83-16,-6 13-670 15,-5 16 377-15,-5 3 293 16,-2-1 553-16,5 3 47 16,-6-13-335-1,2-8-110-15,8-4-43 16,-2-10-17-16,-2-3-4 16,2-13-6-1,10-6-1-15,3-22 0 16,8-25 0-16,-4-2-1 15,8-10 0 1,1-16 0-16,-7 13 0 16,0 20 0-16,0 1 0 15,2 17 0-15,-2 16 0 16,6 3 0-16,1 11 0 16,2 17 0-16,-11 17 0 15,-3 13 0-15,2 12 0 16,-6 11 0-16,0-5 0 15,1 1 0-15,12-9 0 16,-2-2 0 0,-3-11 0-16,0-4 0 15,-3-12 0-15,-4-9 0 16,-5-10-2336-16,-4-3-2326 16,-2-12-3217-16</inkml:trace>
  <inkml:trace contextRef="#ctx0" brushRef="#br0" timeOffset="-168291.22">6735 4811 31806 0,'0'2'377'0,"-4"0"-162"15,6 3-60-15,18 11-37 16,23 1-59-16,3-19-36 15,16-8-14-15,7-10-6 16,-11-5-3365 0,7-4-3256-16,2-3-2808 15</inkml:trace>
  <inkml:trace contextRef="#ctx0" brushRef="#br0" timeOffset="-168020.22">7433 4612 5733 0,'0'0'2606'0,"7"-6"1824"16,-1 2-168-16,-4 1-272 15,0 1-627-15,-2 2-925 16,-4-2-383 0,-7 4-576-16,-27 15-25 15,0 8-861-15,-4 7-363 16,-3 0-145-16,11 4-54 16,11-2-20-16,7 0-7 15,6-7-2-15,17 7-2 16,6 0 1-16,6-4-1 15,2-9 0 1,12 2 0-16,23-10 0 16,-15-9 0-16,32-40-688 15,-29 0-3238 1,5-17-6184-16</inkml:trace>
  <inkml:trace contextRef="#ctx0" brushRef="#br0" timeOffset="-167804.17">7654 4489 2883 0,'0'2'11549'15,"-3"17"-2278"-15,-5 26-3695 16,1 7-3357-16,3 14-1373 16,4 9-559-16,2-12-197 15,0-4-60-15,-8-6-20 16,8-21-7-16,0-9-1 15,0-10-1805-15,-2-11-1037 16,0-2 1092 0,11-7-4637-16,10-35-4209 0</inkml:trace>
  <inkml:trace contextRef="#ctx0" brushRef="#br0" timeOffset="-167553.17">7878 4525 30205 0,'-2'5'1078'0,"-20"7"-284"0,-5 16-384 16,-5 4-239 0,-6 9-101-16,-2 2-45 15,9-5-16-15,9-2-6 16,16-25-2-16,2 12-1 0,12 13 1 16,8-5-1-16,14 1 0 15,-4-6 0-15,3-5 0 16,-9-8 0-16,14-5 0 15,7-8 0-15,7-8-1328 16,-9-13-4171 0,-7-9-5040-16</inkml:trace>
  <inkml:trace contextRef="#ctx0" brushRef="#br0" timeOffset="-167320.11">8183 4510 31742 0,'-4'4'431'16,"-3"22"-106"-16,-8 16-160 15,11 13-98-15,-2 4-43 16,10-1-16-16,-8 1-5 16,20-6-2-16,2-6 0 15,-6-14-1-15,7-3 0 16,2-11 0-16,9-12-1606 15,1-12-2317-15,5-12-5549 16</inkml:trace>
  <inkml:trace contextRef="#ctx0" brushRef="#br0" timeOffset="-166989.09">8688 4593 3491 0,'0'0'11216'0,"-4"0"-4652"0,2-2-2345 15,-10 4-911-15,-23 23-912 16,-13 24-1339 0,16 10-713-16,13 5-229 15,2 3-77-15,28-1-25 16,-9-23-9-16,8-3-3 16,14-11 0-16,3-12-1 15,3-15 0-15,10-18 0 16,-4-25 0-16,-2-14 0 15,0-4 0 1,-16-15 0-16,4-11 0 0,-18 16 0 16,-14 20 0-1,-14 10 0-15,-3 18-598 16,-13 15-1764-16,-28 27-2721 16,2 11-2957-16,22 12-654 15</inkml:trace>
  <inkml:trace contextRef="#ctx0" brushRef="#br0" timeOffset="-166506.1">9126 4523 17713 0,'-4'4'6418'0,"-8"11"-1974"16,-14 19-1919-16,3 15-1465 15,-13 10-2205-15,8 6-5426 16,14 1-670-16,16 6 4533 16,16-2 5068-16,8-15 1508 15,8-11-887-15,-3-9-817 16,12-12-1085-1,-5-13-1659-15,-6-12-112 16,-18-13-828-16,4-10-409 16,-12-11-1499-16,-10-2-545 15,0 2 451-15,-16-2 2098 16,2 6 1095-16,5 8 1791 16,6 14 2929-16,7 3 750 15,0 3-566-15,2 0-1528 16,22-11-502-16,14 7-1329 15,19 3-674-15,7 0-345 16,-17-6-134 0,11 4-38-16,8 1-17 15,-19-2-5-15,-18 4-2 16,5 1-423-16,-8 6-7755 16</inkml:trace>
  <inkml:trace contextRef="#ctx0" brushRef="#br0" timeOffset="-164554.83">6997 6049 7015 0,'0'0'3381'0,"0"0"-743"16,0 0-103-16,-2 0-328 15,-4 0-329-15,0 0-240 16,0 0-391-16,0-2 188 15,4 2-358-15,-2 0-153 16,4 0-252 0,0 0 78-16,0 0 346 15,0 0-21-15,0 0-303 16,0 0-128-16,-4 2-172 16,4 2-203-16,-4 5 97 15,0 4-172-15,2 4 44 16,2 1-114-16,2 8-60 15,-2-5-35-15,2 3-15 16,-4-8-7 0,2-1-4-16,2-2-2 15,0-3 0-15,0-1-1 16,2-3 1-16,-4-4-1 16,2 0 0-16,0 1 0 15,-2-3-293-15,0 0 36 16,0 0-603-16,0 0-951 15,2 0-1648-15,-2-7-2336 16,2-9-2833 0</inkml:trace>
  <inkml:trace contextRef="#ctx0" brushRef="#br0" timeOffset="-164148.75">6981 6083 9033 0,'0'0'307'0,"0"0"-50"16,0 0 26-16,0-8-366 16,0 1-33-16,-2 1 203 15,4 0 992-15,0-1 919 16,0 3 887-16,-2 0-264 15,6-1 541-15,-2 1-902 16,28-11 751 0,-24 14-2336-1,-3-4-227-15,11 1 88 16,0 0 123-16,-6 1-142 16,-2 1-21-16,0 0-180 15,1 0 28-15,2 2-113 16,-11 0-130-16,0 0-124 15,0 0-345-15,0 0-255 16,0 2-290 0,-2-2 302-16,2 4 65 15,0-1-1378-15,2-2-2344 16,-2 2-2259-16</inkml:trace>
  <inkml:trace contextRef="#ctx0" brushRef="#br0" timeOffset="-163732.36">7005 6119 19314 0,'0'0'1030'16,"0"0"647"-16,0 0 102 16,0 0-407-16,0 0-579 15,0 0-236-15,0 0-184 16,11-2 43-16,-4 2-231 15,-1-2-22-15,0 2 207 16,3 0 582 0,1 0 130-16,6 4-62 15,-8-2-311-15,2-2-286 16,3 4-164-16,0-1-126 16,-7-3-948-16,2 1-2142 15,-5-1-2196-15,-3 0-2173 16</inkml:trace>
  <inkml:trace contextRef="#ctx0" brushRef="#br0" timeOffset="-163335.35">7256 6043 22037 0,'0'0'-78'16,"0"0"266"-16,4 2 772 15,-4-2-484-15,0 4-276 16,0 0-587-16,-2 7 66 16,2 0 286-16,-7 7 1156 15,1 4 436-15,1 1-143 16,3 0 248-16,0 1-226 15,4-5-449-15,0-1-238 16,-4-6-381 0,2-2-174-16,2 0-92 15,1-1-43-15,-1-5-28 16,0 0-13-16,5-1-5 16,5-3-6-16,12-3-722 15,5-3-1431-15,3 0-2575 16,-12-3-3173-16</inkml:trace>
  <inkml:trace contextRef="#ctx0" brushRef="#br0" timeOffset="-163053.83">7280 6174 23222 0,'0'0'-670'0,"0"0"183"15,0 0-199-15,0 0-187 16,8-2 372-16,4-2 740 16,-2 2 352-16,5-3 691 15,-4 3 455-15,8-2 132 16,0 0-735-16,2-2-506 15,-11 3-456-15,-3-1-1419 16,0 2-2639 0,-3-5-1708-16</inkml:trace>
  <inkml:trace contextRef="#ctx0" brushRef="#br0" timeOffset="-162689.83">7278 6017 20371 0,'0'0'2600'0,"2"0"-892"15,8 0-29-15,0-1-624 16,5-2-640-16,-5 1-557 16,3-2-710-16,-4 1 178 15,7 2-54-15,0 1 164 16,-8 0-846-1,2 0-779-15,-4 0-1110 0,3 1-882 16,-2 2-651 0</inkml:trace>
  <inkml:trace contextRef="#ctx0" brushRef="#br0" timeOffset="-162165.68">7583 6017 32126 0,'0'7'-986'0,"-2"5"385"0,-2 3-250 15,-4 6-550-15,-5 5-1689 16,-6-3 685-16,2-4 1380 15,5 0 828-15,-6-2 1820 16,4-2 696 0,3-4-500-16,2-3-425 15,5-6-660-15,4-2-786 16,0 0-111-16,8-6-58 16,6-9-478-16,2-6 187 15,10-3 10-15,1-1-797 16,-1 0 436-16,-8 4 596 15,-6 3 205 1,-6 4 1087-16,0 1-63 16,2 3-419-16,1 6-165 15,-7 1 144-15,0 3 149 16,0 9-53-16,-4 8-241 16,2 0-248-16,0 10 9 15,4-1 368-15,-1 1 101 16,-3-2 196-16,-5 0-447 15,10-7-197 1,1-4-87-16,-4-5-646 16,2-2-1498-16,1-3-1493 15,1-4-3215-15</inkml:trace>
  <inkml:trace contextRef="#ctx0" brushRef="#br0" timeOffset="-161951.68">7526 6115 32767 0,'2'0'0'16,"9"8"0"-16,-3 1 0 15,16-1 0-15,-8-6-1472 16,0-2-3424-16,5-6-2528 15,2-2-1349-15</inkml:trace>
  <inkml:trace contextRef="#ctx0" brushRef="#br0" timeOffset="-161690.68">7854 6066 32767 0,'-2'4'-69'0,"-4"9"-231"15,-3 2 403-15,3 0-367 16,0 4-1255-16,4 4 312 16,-4 3 478-16,6-3 345 15,0-6 81-15,0-4 132 16,-3-1-28-16,1-4-842 15,0-5-1303-15,4-1-2282 16,0-4-2123 0</inkml:trace>
  <inkml:trace contextRef="#ctx0" brushRef="#br0" timeOffset="-161115.58">7692 6017 32735 0,'-2'3'12'0,"4"3"-3"15,6 7-4-15,20 1-1 16,1-7-253-16,-5-10-1505 16,-8-1 254-16,16-4-157 15,6-3 27-15,-15 3 1062 16,-3 2 904-16,-2 2 641 15,-7 4-284-15,-7 0 427 16,-2 1-123 0,-4 10-355-16,0 6-227 15,-4 6-229-15,-7 1-94 16,1 3 235-16,8-6-4 16,-4-2 139-16,8-2-134 15,3-4-278-15,2-5-295 16,3-1 123-16,4-3 142 15,10-8-341-15,-3-7 233 16,1-4 10 0,6-2 22-16,2 1-241 15,-13-1-43-15,-1 2-179 16,2 0-17-16,-8 0 81 16,4-6 27-16,-6 8 413 15,-4 3 22-15,3 7 366 16,-5 3 89-16,-2 0-215 15,-5 17-127-15,1 7 114 16,-4 5 282 0,-3 3 137-16,0-2 79 15,7-1-443-15,0-4-149 16,-1-5-452-16,7-8-1394 16,2-5-2447-1,1-3-2473-15</inkml:trace>
  <inkml:trace contextRef="#ctx0" brushRef="#br0" timeOffset="-160617.48">8149 6043 32767 0,'-5'13'0'0,"-3"18"-200"15,0 3 316 1,-3 0-160-16,0 0-1286 0,3-5-586 16,2-1 653-1,0-11-93-15,1-2 329 16,0-9 606-16,3-2 547 16,2-1-200-16,2-3 933 15,10-16 524-15,0-7-514 16,-2-7-532-16,6-3-187 15,-6-1-647 1,1 4-182-16,3 3-488 16,-5 8-70-16,-3 0 58 15,7 4 559-15,-3 4 744 16,3-1 717 0,-6 10 238-16,-7 2-393 15,2 6-22-15,-13 13 198 16,-6 8 77-16,-2 10 154 15,6-1-13 1,5 8-140-16,8-8-437 16,-9-7-301-16,7-3-117 15,0-18-54-15,4 7-11 0,0-4-196 16,3-5-1265-16,5-4-1715 16,-2-10-3345-16,4-9-2455 15</inkml:trace>
  <inkml:trace contextRef="#ctx0" brushRef="#br0" timeOffset="-160397.48">8324 6062 29884 0,'0'0'156'0,"2"13"439"15,-12 10 484-15,6 2-578 16,4 1-323-16,0 3-255 15,0-3-198 1,2-1 61-16,2-6 27 0,0-6-929 16,2-3 199-1,5-3-174-15,-2-5-1999 16,8-7-3672-16</inkml:trace>
  <inkml:trace contextRef="#ctx0" brushRef="#br0" timeOffset="-160216.48">8272 6161 32767 0,'0'0'0'0,"0"7"0"16,8-1 0-16,14 2-215 15,-4-8-2326-15,8-4-4408 16,1-8-2503-16</inkml:trace>
  <inkml:trace contextRef="#ctx0" brushRef="#br0" timeOffset="-160031.49">8310 6022 32767 0,'0'0'0'16,"4"10"0"-16,4-1-75 15,0-1-2350-15,12-1-6332 16</inkml:trace>
  <inkml:trace contextRef="#ctx0" brushRef="#br0" timeOffset="-159600.89">8657 6030 3427 0,'-7'2'12600'0,"-12"0"-4202"16,7 0-4400-16,-12 1-1722 15,1-1-1170-15,8 2-2102 16,5 0-582-16,-3 3-152 15,3-1-100-15,-14 9 975 16,3-3 1824 0,0 8 465-16,12-8 592 15,5 5-294-15,4 0-844 16,6 4-420-16,13 2-222 16,7-4-139-16,-5-3-64 15,-2-2-23-15,11 1-10 16,5 0-5-16,1-2-3 15,-10-1-2-15,-13-1 1 16,-7-3-1 0,0 1 0-16,-2 3 0 15,-6 3 0-15,-16 2 0 16,-31-4 0-16,11-2 0 16,8-7 0-16,-13-3 0 15,1-2-2640-15,4-3-8360 16</inkml:trace>
  <inkml:trace contextRef="#ctx0" brushRef="#br0" timeOffset="-129307.2">7084 6661 17489 0,'0'0'268'0,"-8"4"1428"0,2-2 233 15,-2 1-59 1,8-3-514-16,-4 0-135 16,4 0-425-16,-4-3-71 15,4 3-94-15,-6-2 103 16,4 2-42-16,2 0-90 16,0 0-49-16,-2-2-146 15,0 2-163-15,2 0-92 16,0 0 179-16,6 2-82 15,6-2 5 1,-2 0-121-16,2 2 56 16,-2-2-77-16,10 0-46 15,1 3-114-15,7-8 111 16,-2 1-69-16,2-3 38 16,0-1-141-16,-3 2 183 15,7 1-75-15,-7 4 0 16,1 1-33-16,-10 0 83 15,0-3-56 1,-4 6-116-16,1-3 132 16,-7 1 33-16,1 4-55 15,-3 3 46-15,2 5-133 16,-4-4 79-16,2-1-74 16,1 0 211-16,1 3-81 15,-4-5-111-15,2 5 30 16,-2-3 173-1,0 1-54-15,-8 3-27 16,0 5-22-16,4 0-12 16,0-4-6-16,0 6-2 15,-3 2-3-15,3-2 0 16,4 0 0-16,-6 1-1 16,2-2 0-16,2 1 0 15,-2-2 0-15,-4-2 0 16,6-2 0-16,-2-2 0 15,4-1 0 1,-2-4 0-16,-2 3 0 16,-1-1 0-16,3-1 0 15,0-3 0-15,3 0 0 16,-3-2 0-16,0 1 0 16,0-3 0-16,-7 1 0 15,-6-1 0-15,-3-1 0 16,0 1 0-1,-4 0 0-15,-4 0 0 16,5 1 0-16,3 2 0 16,-2-1 0-16,-1 0 0 15,6 0 0-15,3-2 0 16,-7 0 0 0,2 0 0-16,0-2 0 0,1 0 0 15,1 2 0-15,0 0 0 16,3-2 0-16,1 4 0 15,5-2-102-15,2 0 48 16,-2 0 112 0,-1 0-21-16,1 0-14 15,-1 0-9-15,1 0-5 16,0-2-3-16,0-2-2 16,-2-3-2-16,0-3-1 15,4-3 0-15,2-2 0 16,0-6-1-1,-5 0 0-15,3-1 0 16,-5-1 0-16,3 4 0 16,0 2 0-16,2 0 0 15,-2 0 0-15,4 2 0 16,-2-2 0-16,0 3 0 16,2-3 0-16,6-2 0 15,-4 2-16-15,4 4-143 16,-4 4-140-16,0 1 16 15,0 4-802 1,-4-2-1625-16,0-1-2810 16,2-1-1853-16</inkml:trace>
  <inkml:trace contextRef="#ctx0" brushRef="#br0" timeOffset="-128049.73">7710 6621 12972 0,'-2'0'5328'16,"-4"0"-1932"-16,0 1-1399 16,-4 8-836-16,-4 2-812 15,10-3-629-15,0 3 19 16,2 2 291-16,-2-1 755 16,-3 7 218-16,5 0 258 15,-2 3 387-15,2 1-275 16,0-2-430-1,-3 2-378-15,3 0-300 16,-2 1-143-16,-5-3-64 16,5 0-31-16,2 0-14 15,0-6-7-15,0-2-3 16,0-5-2-16,2-3 0 16,0-1-1-16,0-4 1 15,-2 2-1-15,2-2 0 16,0 2 0-16,0-2 0 15,6-4 0 1,7-3 0-16,2-1 0 16,4 0 0-16,7 1 0 15,-4 5 0-15,4 2 0 16,-3 2 0-16,-1 0 0 16,-4 3 0-16,12-3 0 15,1 0 0-15,3-4 0 16,-2 0 0-1,0-5 0-15,-5 1 0 16,-9-3 0-16,-2 3 0 16,-5 2 0-16,0 0 0 15,-5 1-26-15,-6 3 13 16,0 0 26-16,2-2-5 16,-2 2-2-16,2 0-2 15,-2-4-1-15,0-4-1 16,0-9 0-1,-2-2-2-15,-2-5 1 16,6 3-1-16,-2-6 0 16,6-5 0-16,-3 7 0 15,-3-1 0-15,0-1-122 16,-3 5 1-16,1-1 64 16,0 4 144-1,0 4-109-15,0 1-64 0,0 1 42 16,0 2-122-16,-3 3-66 15,-3 1-111 1,-1 3 51-16,-7 2 130 16,2 4 83-16,-8 2-3 15,-10 5 77-15,-5-1 246 16,8 1-162-16,-3-1 9 16,11 1-34-16,-12 1 252 15,-8 1-308-15,-3-3 21 16,12-1-140-16,7-1-279 15,1 2-595 1,-2-1-264-16,2-5-1470 16,6-2-3582-16</inkml:trace>
  <inkml:trace contextRef="#ctx0" brushRef="#br0" timeOffset="-126914.34">7651 7004 21172 0,'0'0'783'15,"0"0"-704"1,3 2 56-16,9 6-469 15,2 3-159-15,6-2-316 16,5-3 310-16,-6-2 426 16,4-4 455-16,-1-2 151 15,-1 0 655-15,4-3 439 16,3 4 195-16,-1-2-845 16,1 3-342-16,-5-2-448 15,-8 2 17-15,0 0-144 16,-3 2 1-16,0 1 41 15,-8-2-90 1,0 4-119-16,0-1 15 16,2 5 61-16,-2 1 186 15,-4 5-110-15,-6 4-53 16,0 4-30-16,2-4 21 16,2 5 43-16,0 3-67 15,-6 3 220-15,6-5 2 16,2 7 31-16,0-7 151 15,2-6 74 1,-2 0-67-16,-4-6-196 16,4-7 27-16,0 0-136 15,2-3 13-15,-2-3 93 16,0 0 34-16,-2-4-627 16,2-5-193-16,-4-1-154 15,-6 1-73-15,-9-2-398 16,2 5 224-16,-20 2 322 15,0 6 513 1,5-2 381-16,15 4 863 16,-6-1-118-16,-15 1-46 15,-17-2-18-15,23 0-340 16,7-2-495-16,-5 0-41 16,-2-2-3-16,11-3-101 15,4 5-88-15,2-1-11 16,7-2 157-16,-7 1-87 15,10 2 38 1,5 0 0-16,0 0 34 16,5 0 185-16,10 0 5 15,-5-2 169-15,5-4 113 16,0-3 20-16,-2-8-260 16,1-10-247-16,0-7 38 15,-4 0 20-15,-2-10 123 16,9-3-145-16,-6 5 42 15,-5 6 89 1,3 8-469-16,-1 7-185 16,-2 8-1638-16,0 7-3486 15,-6 6-1219-15</inkml:trace>
  <inkml:trace contextRef="#ctx0" brushRef="#br0" timeOffset="-125082.02">6801 8083 21204 0,'-3'0'134'0,"-1"-6"-123"15,4 0-32-15,7-5-37 16,3 2-290-16,3 1-61 16,8 4 2-16,10 4 73 15,-11 6 393 1,7 3 11-16,17 5 319 16,3 1-58-16,-11-2 91 15,6 2 125-15,15-1 1263 16,1-1-632-1,5-2 465-15,18-5-1016 16,1-4-274-16,9 2-40 16,-4-4-178-16,14-1 22 15,-1 2-136-15,4-1-63 16,4 5 360-16,-18-1-486 16,-15 0 361-16,3 0 133 15,-17 1 258-15,-4-5 82 16,-5 0-532-16,-13-2-48 15,-9-1-234 1,-19 3 167-16,-4 0-138 16,-5 0-41-16,0 0 189 15,0 3 2-15,-4 5-163 16,2 7 6-16,-7 4-40 16,-8 2 6-16,1 11 29 15,5-2 185-15,2 10 46 16,5 4 159-16,-6 7 46 15,-2 6 426 1,3 2 60-16,-3 1-371 16,3 5-232-16,-4 5 290 15,3-4-198-15,-6-3-294 16,-4 3 202-16,14-3-105 16,-10 3-161-16,-3-9 52 15,4-2 79-15,-4 0-137 16,-1-4 55-16,8-6 57 15,-2-8 80 1,-1 4-65-16,-4-5-26 16,-2 4-10-16,4-12-5 15,4-5-1-15,1-2 0 16,6-4-1-16,-2-5 0 16,-3-1 0-16,2-2 0 15,-1-5 0-15,0 0 0 16,-7-4 0-1,-2-4 0-15,-4-4 0 16,-3-1-171-16,-1-2-141 16,-9 3-241-16,-4 0-485 15,-9 1 377-15,-1 5 609 16,10 0 335-16,-3 2 238 16,-22 0 551-16,8-5-567 15,2 4-248-15,-19-2-156 16,4-5-69-1,5 4-21-15,-13-7-8 16,15 2-2-16,-10 1 0 16,-3 2-1-16,11-1 0 15,-9-1 0-15,11 1 0 16,46 6 0-16,-17-3 0 0,-2-3 0 16,-8-2 0-16,10 5 0 15,11 2 0-15,11 0 0 16,0 2-709-1,8 0-3234-15,2 0-3471 16</inkml:trace>
  <inkml:trace contextRef="#ctx0" brushRef="#br0" timeOffset="-123447.18">6735 9840 24215 0,'0'4'1210'0,"-2"9"-384"15,0 8-308-15,-1 9-389 16,1 2-1766-16,-2 10-420 15,2 5 979 1,2-3 729-16,2 11 1068 16,-2 6 916-16,4-1 347 15,-2 3-229-15,1 15-235 16,-1-10-217-16,-2 9-359 16,2-8-260-16,2 7-522 15,-6-2 44-15,-2 1-140 16,-3-1-44-16,5-13-13 15,0 3-5 1,-4-1-1-16,4-12-1 16,-5-7 0-16,-6-1 0 15,5-5 0-15,2-7 0 16,0-1 0-16,-1-4 0 16,0-1 0-16,-1-2 0 15,0-2 0-15,2 4 0 16,3-3 0-16,-3-1 0 15,2-4 0 1,-9 8 0 0,6-14 0-16,3-5 0 15,6 5 0-15,5-3 0 16,3 3 0-16,5-2 0 16,2-1 0-16,1-2 0 15,4 1 0-15,12 1 0 16,9-4 0-16,3 3 0 15,-5 1 0 1,-3-2 0-16,10 1 0 16,18 4 0-16,-14-1 0 15,-5-6 0-15,19-1 0 16,-13 1 0-16,9-8 0 16,13-1 0-16,-7 3 0 15,13-2 0-15,-12-2 0 16,-14 6 0-16,11 1 0 15,-5 10 0 1,-5-2 0-16,7 1 0 16,-6 1 0-16,-9-3 0 15,-3-1 0-15,-3 1 0 16,-8-8 0-16,-6-2 0 16,-11-7 0-16,-3-3 0 15,6-16 0-15,3-14 0 16,-6-2-697-16,-2-5-645 15,2-11 56 1,-4 1 447-16,-1-2 501 16,-2-7 50-16,-2 6 131 15,-4 1 230-15,-2-4-91 16,-4-3 77-16,-2 3 45 16,0 1-27-16,8-1-30 15,0-1-94-15,-2 2 31 16,0 7-52-16,4-6 234 15,-2 6-28 1,-4 4-232-16,4 12 81 16,-2-3-90-16,-2 12 285 15,0 0 110-15,-2 9 20 16,4 2-173-16,2 4-139 16,-4 4 132-16,3 3-162 15,-1 1 42 1,0-2-88-16,-4 10 37 0,0-4 101 15,2 3-27 1,-3 0-143-16,-1-5-289 0,-10 3 130 16,-6 2 72-16,-5 2 131 15,-2 2 103-15,2 2 471 16,-7 1 226-16,-4-5 316 16,-19 0-19-16,0 2-211 15,-5-4-524-15,-11-3-189 16,9 5-74-16,7-6-23 15,-20 0-8 1,2-2-3-16,-8 1 0 16,3-2-1-16,-9 3 0 15,4 2 0-15,1 4 0 16,-5-2 0-16,2 6 0 16,8 3 0-16,15-3 0 15,1 4 0-15,-5 1-214 16,15-1-2613-16,11-6-3740 15,1 4-4688 1</inkml:trace>
  <inkml:trace contextRef="#ctx0" brushRef="#br0" timeOffset="-111641.02">10881 7431 13293 0,'0'0'2222'15,"4"0"708"-15,-4 0-755 16,0 0-57-1,0 0-206-15,0 0-1115 16,-2-2-194-16,2 2-103 16,0 0 16-16,0 0-113 15,0 0 178-15,0 0 344 16,0 4 442-16,2 5-302 16,7 2-432-16,-5 1-291 15,2 3-158-15,-1-2-88 16,-5-3-50-16,0 3-19 15,4 2-11 1,-2 0-8-16,0 2-4 16,3 2-2-16,-3-2-1 15,-4 4-1-15,2 2 1 16,0 0-1-16,-2-4 0 16,-1 3 0-16,3 1 0 15,0 0 0-15,5-2 0 16,-3 5 0-1,-2 1 0-15,-2-1 0 16,0-5 0-16,2 2 0 16,0 2 0-16,2 1 0 15,-2-3 0-15,2 7 0 16,-4-5 0-16,-3-2 0 16,3 0 0-16,7 5 0 15,3-3 0-15,-4-1 0 16,0 3 0-1,-4-1 0-15,0-1 0 16,2-2 0-16,-4 1 0 16,2-1 0-16,2 0 0 15,2 7 0-15,3-2 0 16,-4-3 0-16,3 3 0 16,-4-1 0-16,4 3 0 15,-4 2 0 1,-4-1 0-16,2 1 0 15,4-5 0-15,-4 7 0 16,-2 4 0-16,-2-8 0 16,4 0 0-16,2 2 0 15,-2-3 0-15,2 5 0 16,8-4 0-16,-3 1 0 16,-5 3 0-16,0-2 0 15,0 0 0-15,-4-3 0 16,9 5 0-16,-3-2 0 15,-2-1 0 1,0 5 0-16,-2 0 0 16,-2-2 0-16,2 1 0 15,0 2 0-15,2-3 0 16,0 2 0-16,0 7 0 16,3 1 0-16,-1-2 0 15,-4 1 0-15,0-1 0 16,-2 5 0-1,2-7 0-15,-2 4 0 16,0-8 0-16,-3-6 0 16,5 0 0-16,-4-12 0 15,0-7 0-15,4-5-1280 16,0-3-2774-16,-2-10-6130 16</inkml:trace>
  <inkml:trace contextRef="#ctx0" brushRef="#br0" timeOffset="-110561.81">11258 7539 15983 0,'0'0'2860'0,"0"0"-726"0,0 3-759 16,3-2-618-1,3 4-737-15,-6-3-590 16,-4 8 109-16,-1 1 298 16,0 4 1354-16,1-2 1170 15,-2 8-310-15,2 4-2 16,10 1-349-16,-4 1-887 16,-2 7-431-16,-4 2-215 15,6 4-96-15,-2 11-34 16,-2-11-31-1,0 3-4-15,4 7-1 16,4-3 0-16,-2-3-1 16,-6 5 0-16,6 2 0 15,-1-7 0-15,-3-31 0 16,0 21 0-16,3 8 0 0,-3 7 0 16,2-9 0-16,2 0 0 15,4 3 0-15,-8 1 0 16,-4-4 0-16,0-6 0 15,4 6 0 1,0-4 0-16,-2 3 0 16,-2-4 0-16,1-3 0 15,0 6 0-15,-1-4 0 16,2 4 0-16,6 3 0 16,1-10 0-16,-2 5 0 15,-1-2 0-15,0 8 0 16,0-3 0-16,-2-2-131 15,0-1-37 1,2 3 42-16,-2 5 170 16,6-6-8-16,-4 3 36 15,-4-4 89-15,0 12-91 16,2-6-45-16,2-1-15 16,0 0-6-16,2-1-2 15,-2-1-1-15,-4-13-1 16,4-4 0-1,-2-8 0-15,0-2-1358 16,0-9-2978-16,0-4-2983 16</inkml:trace>
  <inkml:trace contextRef="#ctx0" brushRef="#br0" timeOffset="-109970.68">10896 7725 27258 0,'0'0'630'16,"0"0"-142"-16,0 0-154 16,4 3 260-16,5-1-132 15,6-2-420-15,10 2-206 16,0-2-2-1,5-4 213-15,-7 1 676 16,-7 3 144-16,-2 0-76 16,3 5-366-16,-2-1-214 15,10 2-90-15,1 1-65 16,1-1-29-16,-6-2-16 16,9 0-6-16,-15-4-2 15,-1 3-2-15,-3 1-1633 16,-8-4-4189-16</inkml:trace>
  <inkml:trace contextRef="#ctx0" brushRef="#br0" timeOffset="-109426.91">10915 8244 14125 0,'0'0'4756'15,"-2"0"-1202"-15,2 0-1301 16,0 0-774-16,2 0-271 16,5 2 405-16,11 2 96 15,10-1-574-15,6 3-602 16,-1-6-302-16,-7 0-138 16,-2 2-52-16,1 2-21 15,21-2-9-15,-18 1-8 16,-3-3-1-16,-3 0-2 15,-8-3-980 1,-1 6-1505-16,-8-3-3312 16</inkml:trace>
  <inkml:trace contextRef="#ctx0" brushRef="#br0" timeOffset="-108976.95">10998 8754 5605 0,'0'0'8246'0,"-2"0"-1530"15,2 0-2754-15,0 2-1243 16,-3-2-753-16,3 0-833 15,11 2 51 1,10 1-542-16,-6-1-355 16,8 0-126-16,1-2-83 15,3 0-41-15,1-2-20 16,4 2-9-16,-7 0-5 16,-2 2-1-16,-14-2-1856 15,1 0-2467-15,0 2-3043 16</inkml:trace>
  <inkml:trace contextRef="#ctx0" brushRef="#br0" timeOffset="-108530.54">10954 9190 13805 0,'0'0'6716'0,"4"0"-2226"15,0-2-1387-15,2 2-1242 16,7 0-589-16,10-2-462 16,0-4-430-1,3 0-199-15,-1-5-100 0,15 6-40 16,9-3-24-1,-7 8-11-15,-14-2-4 16,-4 2-1-16,11 2 0 16,-1 0-1010-16,0 4-1732 15,-13-3-2143-15,-6 1-2443 16</inkml:trace>
  <inkml:trace contextRef="#ctx0" brushRef="#br0" timeOffset="-108228.72">11000 9594 30525 0,'0'0'802'15,"2"0"-284"-15,4 3-148 16,9 1-101-16,7 0-124 16,7 1-67-16,15-5-120 15,12-7-4232-15,-6-6-7441 16</inkml:trace>
  <inkml:trace contextRef="#ctx0" brushRef="#br0" timeOffset="-107123.18">13067 7522 24247 0,'0'0'1128'0,"3"0"-455"16,-3 0-305-16,0 5-687 15,-3 1-1069-15,1 7-249 16,2 4 294-1,-2 2 602-15,2 4 479 16,0 11 739-16,0-1 1006 16,0 6 1249-16,4 5-564 15,-1 5-158-15,-3-4-703 16,-7 5-391-16,7-1-327 16,0 4-361-16,9-9-147 15,-9 7-50-15,-2-4-19 16,-1 3-28-16,-1-7 30 15,-6 6-8 1,6-3-4-16,4 5-1 16,-2-2-1-16,-3-3 0 15,1 7 0-15,4-4 0 16,2 1 0-16,-2-1 0 16,7 6 0-16,-5-10 0 15,0-3 0 1,4 0 0-16,-6 3 0 15,0-9 0-15,0 2 0 16,0-2 0-16,-2 2 0 16,0 4 0-16,-2-4 0 15,2 2 0-15,-3-4 0 16,3 4-19-16,2 1-351 16,-2-5-190-16,-2 2-91 15,2-2 127-15,-4 2 319 16,-1 4 123-16,3 3 147 15,-1-1 719 1,-1-5-124-16,6 2-152 16,0 2-271-16,-2-5-144 15,2-6-57-15,-4-4-161 16,4-9-625-16,2-7-797 16,0-7-2350-16,-2-5-2751 15</inkml:trace>
  <inkml:trace contextRef="#ctx0" brushRef="#br0" timeOffset="-106338.16">13479 7518 10922 0,'0'0'3662'0,"-2"2"-397"0,-3 5-531 15,1 5-913 1,4 1-772-16,0 4-590 16,7 2-114-16,-3 6-160 15,4 7-58-15,-2 2 205 16,-4 6 465-16,4 5-56 16,-1 8-180-16,-3 4-167 15,3 0-89-15,-1 4-216 16,-6 3-38-1,4 0-12-15,0 1 38 16,0-6-9-16,-4 3-24 16,-4 3-113-16,3-4-144 15,-4-1 287-15,1 5-69 16,-2-8-128-16,0-1 142 16,2 9-33-16,-4-8 71 15,6-2-140-15,2 9 201 16,-6-11 23-16,-3 2 12 15,5 6 431 1,0-3 338-16,2 1 171 16,8-2-292-16,0-2-298 15,-8-2-242-15,-3-2-227 16,7 4-144-16,3-15-294 16,-3-2-301-16,0-6-491 15,2-9-74 1,0-6-1963-16,-2-11-1807 15,0-4-725-15</inkml:trace>
  <inkml:trace contextRef="#ctx0" brushRef="#br0" timeOffset="-105855.03">13053 7827 32639 0,'0'0'43'0,"8"0"-5"0,14 0-14 16,-2-2-12-16,15 0-6 15,3 2-192 1,-6-2 113-16,8 0 39 16,-1 4 213-16,-2-2-110 15,-1 2-40-15,-8 0-18 16,8 2-5-16,-20 0-1051 16,-1 1-1890-16,9 3-4039 15,-16-1-443-15</inkml:trace>
  <inkml:trace contextRef="#ctx0" brushRef="#br0" timeOffset="-105435.02">13106 8399 24119 0,'2'0'3282'16,"13"2"-695"-16,12 2-1050 15,13-4-800-15,-8 0-449 16,-4 0-170-16,-1-2-63 16,11 0-29-16,-6 0-16 15,0 2-5 1,-9 0-4-16,1 0-753 0,-10 2-1867 15,-7-2-3045 1,1 2-2207-16</inkml:trace>
  <inkml:trace contextRef="#ctx0" brushRef="#br0" timeOffset="-105093.09">13047 8699 31133 0,'2'0'616'0,"4"4"-198"0,4 3-140 15,8-5-121 1,14 2-63-16,7-2-51 16,-1-4-27-16,-1 0-9 15,-3 0-4-15,8 0-2 16,-6 4 0-16,-1-2-1 16,-1 4 0-16,-4 1-451 15,-9 0-2096-15,-3 4-3028 16,-8 4-3192-16</inkml:trace>
  <inkml:trace contextRef="#ctx0" brushRef="#br0" timeOffset="-104801.08">13042 9347 6534 0,'9'9'12664'0,"-3"1"-6340"15,9 7-2586-15,-2 2-1891 16,14-2-897-1,7-4-534-15,-4-5-251 16,2-8-92-16,-7-7-3751 16,7-1-6337-16</inkml:trace>
  <inkml:trace contextRef="#ctx0" brushRef="#br0" timeOffset="-102036.7">15360 7666 27034 0,'0'0'760'0,"0"0"72"16,0 0-349-16,2 5-210 15,0-1-619-15,-2 9-264 16,0-5-85-16,-4 9 115 16,0 2 1075-16,-5 6 916 15,-1 11 431-15,-2 7-695 16,10-1-713-16,4 2-259 15,0 3-106 1,4 12-41-16,-6-6-18 16,4 63-6-1,-4-63-3-15,2 3-1 16,2 7 0-16,7-4 0 16,-5-2 0-16,3 5 0 15,-7-3 0-15,-2 5 0 16,6 12-922-16,5-8 1046 15,-13-5 129-15,2 9-427 16,-11-2-400 0,-8 8 207-16,8-10 385 15,5 10-34-15,-6-8 573 16,4 0-32-16,12 6-130 16,0-8-274-16,0-9-82 15,0 2-25-15,-2-8-10 16,2-8-2-1,-2-7-1-15,2-10-685 16,-2-10-1351-16,3-7-1599 16,-3-9-1029-16,0-6-3407 15</inkml:trace>
  <inkml:trace contextRef="#ctx0" brushRef="#br0" timeOffset="-101485.2">15673 7696 27290 0,'0'0'670'0,"-4"8"-769"15,-7 20-948-15,9 4 155 16,-2 8-1827-16,8 10 622 15,3-7 1396 1,-1 10 517-16,-2 19 632 16,-4-6 332-16,5 7 1153 15,-3 10 320-15,-6-1-526 16,-7 3-899-16,4 2-425 16,-1 6 105-16,2-2-133 15,2 6 423 1,0 7 38-16,-6-6 174 0,0 10-535 15,0-11-351 1,4 9-89-16,-10 74-23 16,16-95-11-1,0-11-1 1,-10-18 0-16,8-13 0 0,0-16-384 16,2-14-1439-16,2-8-2056 15,-2-5-1994-15</inkml:trace>
  <inkml:trace contextRef="#ctx0" brushRef="#br0" timeOffset="-101045.09">15354 7842 32767 0,'0'0'0'0,"6"0"0"16,5 4 0-16,8 0 0 16,2-1 0-16,-2-2 0 15,7-2 0-15,18-2-194 16,7 2 175-16,-9-4-375 15,-11 5-97 1,3 0-999-16,-4 0-612 16,-9 0-2223-16,-5 0-2798 15</inkml:trace>
  <inkml:trace contextRef="#ctx0" brushRef="#br0" timeOffset="-100714.03">15356 8392 32767 0,'0'0'0'0,"11"3"0"16,3 1 0-16,3-2 0 15,-4-2 0-15,10-6 0 16,7-3 0-16,3-6 0 16,5 9 0-16,5-3 0 15,-21 3-1385-15,-4 4-2376 16,2-3-3902-16</inkml:trace>
  <inkml:trace contextRef="#ctx0" brushRef="#br0" timeOffset="-100453.93">15371 8739 28411 0,'2'3'1794'0,"17"7"-458"16,5 3-667-16,2 1-359 16,17-7-160-16,10-5-88 15,-9 2-80-15,-16-6-2062 16,-2 0-2490-16,5 0-3548 15</inkml:trace>
  <inkml:trace contextRef="#ctx0" brushRef="#br0" timeOffset="-100230.89">15424 9142 11275 0,'4'6'9449'16,"6"4"-3584"-16,14 7-2440 16,9 0-1791-16,12-4-952 15,-11-3-4003-15,-2-10-6582 16</inkml:trace>
  <inkml:trace contextRef="#ctx0" brushRef="#br0" timeOffset="-99995.83">15386 9611 32767 0,'10'15'0'0,"18"13"0"16,-3-7 0-16,15-9 0 16,22-7-397-16,-11-10-8160 15</inkml:trace>
  <inkml:trace contextRef="#ctx0" brushRef="#br0" timeOffset="-99272.64">17775 7628 21909 0,'2'4'3793'16,"13"20"-1250"-16,-4 5-1292 16,-7 3-606-16,7 8-1494 15,-3 11-435-15,-2 4-1134 16,5 4-446-1,-9 11 1520-15,-4 5 939 16,7 5 540-16,-5 11 1157 16,-7 0 931-16,5 11 122 15,-5-1-882-15,9-1-671 16,-4 12 473-16,2-15-68 16,-12 2-418-16,10-7-566 15,2 1-152-15,-3-13-44 16,-3 1-11-1,4-20-490-15,4 0-975 16,2 0-132-16,1-16-535 16,-5-7-1422-16,0-8-1661 15,2-11 364-15,-4-10 6 16</inkml:trace>
  <inkml:trace contextRef="#ctx0" brushRef="#br0" timeOffset="-98770.54">18023 7755 25208 0,'-2'9'1195'0,"2"22"-1091"15,2 20-75-15,0 5 145 16,-6 0-628-16,-3 14 5 16,5 0 305-16,2 21-65 15,-2 0 398-15,2 15 429 16,-4-9 629-16,0 11 304 16,1 15 607-16,-1-11-1017 15,0-4-840 1,4-6-223-16,0 0-56 0,-4-7-16 15,4-13-5 1,6-14 0-16,-2 8-1 16,3-27-199-16,-1-9-1944 15,-4-13-800-15,3-9-1352 16,-1-12-1360-16</inkml:trace>
  <inkml:trace contextRef="#ctx0" brushRef="#br0" timeOffset="-98469.54">17807 8015 32767 0,'0'0'0'15,"6"0"0"-15,5 0 0 16,10 0 0-16,18-4 0 16,46-6-3610-1,-50 5-1028-15,-1 4-1769 16,0-2-1801-16</inkml:trace>
  <inkml:trace contextRef="#ctx0" brushRef="#br0" timeOffset="-98238.53">17822 8338 32767 0,'8'5'0'15,"34"17"0"-15,7-1 0 16,-7-4 0-16,1-6-214 16,1-1-3024-16,-6-8-5101 15,-6 0-1895-15</inkml:trace>
  <inkml:trace contextRef="#ctx0" brushRef="#br0" timeOffset="-98014.4">17892 8725 32767 0,'10'6'0'0,"24"15"0"16,7 1 0-16,3-2 0 15,9-7-1526-15,-5-6-4383 16,-18-7-4633-16</inkml:trace>
  <inkml:trace contextRef="#ctx0" brushRef="#br0" timeOffset="-97802.39">17797 9017 14542 0,'6'15'9265'0,"15"12"-4128"16,17 9-2711-16,8-2-1521 15,-3-5-594 1,12-5-2065-16,0-9-6741 16,-10-5-3975-16</inkml:trace>
  <inkml:trace contextRef="#ctx0" brushRef="#br0" timeOffset="-97587.39">17759 9535 32767 0,'20'32'0'0,"33"12"0"15,28 16 0 1,-5-16 0-16,3 1-1156 0,-2-12-15972 15</inkml:trace>
  <inkml:trace contextRef="#ctx0" brushRef="#br0" timeOffset="-92213.47">11512 7159 21524 0,'0'-3'1851'0,"-4"-1"313"0,0-2-374 15,-5-3-811-15,3 3-861 16,-9-5-381-1,-2 1-549-15,-7 1-513 16,-3 3 575-16,2 4 486 16,-6-1 465-16,1 6 1137 15,-2-1 298-15,17 2 220 16,7-2-685-16,-2 0-538 16,8-2-293-16,7 7-79 15,6-1-113-15,-3 2-69 16,5 1-34-1,8 8-20-15,0-4-13 16,-7-1-7-16,0 9-2 16,-10-4-2-16,2 2-1 15,-2 2 1-15,3 3-1 16,-3-3 0-16,0-2 0 16,-2-2 0-16,3-2 0 15,-3-3 0-15,0-3 0 16,-4 2 0-16,-9-1 0 15,-6 1 0 1,-9-3 0-16,6-4 0 16,-12 3 0-16,3-3 0 15,3-4 0-15,5 0 0 16,-3-2 0-16,8-3 0 16,2 1 0-16,-2-2 0 15,6 2 0-15,3 0-1400 16,2-3-3184-16,5-1-3805 15</inkml:trace>
  <inkml:trace contextRef="#ctx0" brushRef="#br0" timeOffset="-91397.43">11614 7143 27642 0,'0'0'1461'0,"-3"4"-35"16,1 5-454-1,0 4-396-15,-2 8-217 16,0-2-189-16,-3 4-203 16,-1 3 104-16,-4 4-147 15,0-1 171-15,8-4-39 16,-2 3-30-16,2-9-15 16,-2-2-5-16,-1-2-4 15,1-5 0-15,6-8-2 16,0 1 1-16,0-3-1 15,0 0 0 1,4-7 0-16,9-16 0 16,-3-6-235-16,1-8-228 15,-4 1 270 1,-5 4-373-16,4 7 245 0,0 2 295 16,0 6 64-16,-1 2 164 15,-1 7 29-15,-4 3-80 16,2 3-279-16,-2 2-34 15,0 11 74 1,0 6 178-16,2 2-140 16,-2 0 415-16,2 0 213 15,5-4-297-15,1-3-138 16,-3-5-79-16,-3-3-29 16,0-2-16-16,2-6-4 15,6-11-5 1,10-10-76-16,-12 3-548 15,0-3-89-15,7-4-51 16,4-1-389-16,0 5 558 16,-6 8 385-16,0 2 284 15,-7 6 209-15,-4 7-78 16,0 2-8-16,2 2 629 16,3 18-284-16,-5 7-147 15,-4 5-146-15,-3 3 362 16,-1 6-261-16,6 1-213 15,2-6-91 1,-4-4-33-16,0-5-14 16,-4-10-5-16,2-6-635 15,4-4-2098-15,4-3-2042 16,-4-4-3353-16</inkml:trace>
  <inkml:trace contextRef="#ctx0" brushRef="#br0" timeOffset="-90745.31">12183 7141 32158 0,'0'0'-46'16,"2"5"14"-16,-2 5 24 16,-2 5-212-16,-3 4-185 15,-1 2 172-15,-2 0 75 16,4 0 248-1,2 3-147-15,-2-5-52 16,4 0 122-16,0-9-36 16,-2 1 10-16,0-5 33 15,2-3-396-15,2 1-514 16,0-2 379-16,-2-2-6 16,2-11 142-16,0-8 155 15,-4-4 772-15,4-4 282 16,6-3-148-16,-2 4-384 15,-2 6-3-15,3-2-455 16,2 1-55 0,1 2 77-16,7-2-535 15,11 4 252-15,-6 2 172 16,4 5 137-16,-7 3 144 16,-8 5-93-16,4 2 503 15,-5 9-55-15,-6 5 67 16,-10 12 145-1,-2-3-97-15,-7 7-88 16,-2-5-261-16,-4-2-87 16,-3-4-581-16,6-6-280 15,5-3-603-15,0-5-431 16,4-3-729-16,1-6-1192 16,2-7-1803-16</inkml:trace>
  <inkml:trace contextRef="#ctx0" brushRef="#br0" timeOffset="-90343.24">12473 7114 24727 0,'0'0'2621'16,"-2"17"-840"-16,-4 4-1464 16,-5 9-2068-16,0-3-2173 15,-1 3 139-15,5-5 1830 16,1-1 1338-16,4-8 1719 16,2-1 1350-16,2-9 452 15,4-1 463-15,9-10-642 16,15-9-1135-16,-9-9-898 15,-4-7-389-15,-2-6-174 16,-3 6-78 0,-1 3-30-16,-4-1-12 15,-7 5-5-15,-11 4-2 16,-6 4-1-16,-13 6 0 16,-3 8-1-16,-8 5-630 15,9 6-1626-15,7 7-2736 16,-5 4-4467-1</inkml:trace>
  <inkml:trace contextRef="#ctx0" brushRef="#br0" timeOffset="-89056.52">13830 7209 29564 0,'0'0'836'16,"-2"-4"-109"-16,-4-1-291 15,1 1-732-15,-4-4-827 16,3-1-180-16,-4 1-798 16,-10 4-522-16,4 0 1211 15,3 4 709-15,7 0 443 16,2 4 99-16,-3 6 903 15,16 8 841 1,10-2-322-16,4 1 100 16,4 7-321-16,1-1-138 15,1 6 452-15,1-1-91 16,-18-5-489-16,2 3-573 16,-16-3-48-16,-12 2-79 15,-4-4-40-15,-14 0 20 16,-2-8 42-16,9-7-672 15,-9-3-1149 1,-2-6-1038-16,7 2-2520 16,9-4-1783-16</inkml:trace>
  <inkml:trace contextRef="#ctx0" brushRef="#br0" timeOffset="-88437.97">13970 7302 13453 0,'0'0'7069'0,"-2"17"-1993"16,-5 4-2638-16,5 3-1778 15,-2-1-1974-15,4-2-1336 16,0-4 799-16,2-9 686 15,-2-1 756 1,0-3 524-16,2-4 719 16,2 0 486-16,7-13 807 15,1-8-596-15,-4-11-900 16,2 1-575-16,2-8-202 16,-4 12-271-16,1 4 365 15,-3 12-108-15,-3 5 217 16,-3 4 16-16,0 2-27 15,-9 17 113 1,-2 10 164-16,1 1 194 16,4-5 457-16,6-2 186 15,2-2-450-15,2-4-120 16,0-7-330-16,2-1-240 16,3-7-642-16,8-7 9 15,4-13-512-15,11-4 568 16,-9-8 1202-16,-10-6 23 15,2-2-515 1,1 10-390-16,-12 16 292 16,-1 7 419-16,-1 7-452 15,5 4-290-15,-5 18 466 16,-2 9-24-16,-9 12-35 16,-4-3 11-16,1 6 188 15,7-10 68-15,7 4-218 16,3-10-850-16,-1-15-1763 15,2-4-3645 1,11-9-4123-16</inkml:trace>
  <inkml:trace contextRef="#ctx0" brushRef="#br0" timeOffset="-87971.37">14479 7228 32767 0,'2'4'0'0,"3"20"0"16,-7 5 0-16,2 7 0 16,-3 2-661-16,-1 0-1059 15,-2-2 244-15,2 1 794 16,6-14 321-16,2-6 312 15,-4-5 372-15,0-5 602 16,0-7-237 0,0 0-15-16,6-22-213 15,8-15-639-15,-8-6-145 16,2-10 46-16,2-4-1012 16,6 2-683-16,-2 6-1877 15,14 20 1336 1,1-1 1347-16,1 9 1298 15,-4 6 2381-15,-12 9 26 16,3 4-386-16,-11 4-408 16,6 6-219-16,-10 9-306 15,-6 0-416-15,-12 8-333 16,-11 1-258-16,-13-3-121 16,8-4-548-16,4-2-1250 15,5-2-1503-15,6-6-1668 16,8-5-1419-16</inkml:trace>
  <inkml:trace contextRef="#ctx0" brushRef="#br0" timeOffset="-87418.77">14772 7213 19538 0,'0'0'3979'0,"0"0"-1008"16,0 0-1640-16,0 2-1191 16,-4 9-1458-16,-5 8-351 15,-4 13-5 1,-2-1 1835-16,3 10 2282 15,6-3 139-15,2-8-308 16,6-3-1174-16,4-4-622 16,4-8-257-16,5-8-118 15,15-10-43-15,4-16-32 16,-2-8-17-16,5-11-6 16,-13 0-3-16,-12-11-1 15,-1 2-1-15,-6 18 0 16,-10 1 0-16,-10 7 0 15,-10 10 0 1,-31 11 0-16,6 7-466 16,-3 10-3515-16,9 0-7375 15</inkml:trace>
  <inkml:trace contextRef="#ctx0" brushRef="#br0" timeOffset="-86476.61">16058 7211 23318 0,'0'-2'2107'0,"-2"-4"-102"15,-2-2-390 1,0-1-356-16,-4-2-611 16,-10 5-181-16,10 4-408 15,0 0-163-15,-3 4-865 16,-2 6-120-16,-2 7 59 16,9 4-51-16,10 4 666 15,3 7 710-15,8 0 362 16,8-1 77-1,5 5 212-15,-10-4-331 16,4 2-158-16,-3 1-231 16,-13-3-192-16,-12-3 121 15,-3-5-1-15,-16-5 153 16,10-5-81-16,-9-7 118 16,4-12-347-16,9-1-915 15,-4-7-2094-15,4-8-5111 16</inkml:trace>
  <inkml:trace contextRef="#ctx0" brushRef="#br0" timeOffset="-85876.1">16226 7311 32767 0,'0'0'0'0,"0"17"-170"16,0 4-778-16,-6 4-1423 15,-1 7-1693-15,1 0 1947 16,-5-3 1350-16,11-6 2701 16,-4-7 317-16,4-8-133 15,2 0-507-15,2-3-570 16,7-3-367-16,6-9-265 15,4-22-419 1,4-11-652-16,1-3-808 16,-9 5 394-16,3-10-329 15,-2 7-702-15,-8 16 1466 16,3 6 1233-16,-6 10 439 16,-5 7-32-16,-2 2-259 15,-2 4 168-15,-5 17 195 16,-4 7-240-16,5-1-32 15,10-7-470 1,0-3-193-16,5-3-83 16,2-5-42-16,8-5-19 15,13-8-12-15,8-13-6 16,-13-15-42-16,1 1-208 16,6-1 102-16,-9 2 317 15,-6 11-212 1,-6 8 180-16,-3 5-75 0,-6 8-37 15,-4 21-6 1,-10 11-13-16,0 5-7 16,-5 5-2-16,2 24-2 15,21-37-1 1,3-1-1773-16,2-5-3027 16,-5-8-2702-16</inkml:trace>
  <inkml:trace contextRef="#ctx0" brushRef="#br0" timeOffset="-85405.09">16983 7315 7559 0,'-8'25'14327'0,"-4"32"-7284"15,-12 16-4422 1,10-14-1828-16,-6-6-520 16,8-4-621-16,5-18-1232 15,3-18 143-15,6-5 238 16,0-6 47-16,0-6 644 16,5-36-164-16,12-15 155 15,-6-4 249-15,9-14 213 16,10 10-2221-16,5 19-871 15,-7 12 2037 1,-6 5 1394-16,2 10 1181 16,-5 4 2095-16,5 8 553 15,-20 4-1990-15,-2 5-959 16,0 6-377-16,-2 12-298 16,-12 7-245-16,-14 3-131 15,-3-3-66-15,-5-3-28 16,-2-5-12-16,-8-4-4 15,9-9-2 1,1-5 0-16,4-6-1 16,-1-5-644-16,7-1-1976 15,10 3-2032-15,5-4-3451 16</inkml:trace>
  <inkml:trace contextRef="#ctx0" brushRef="#br0" timeOffset="-85075">17163 7383 32767 0,'0'0'0'16,"0"0"0"-16,-6 8 0 16,-6 7 0-16,-6 8-1138 15,-5 19-1342-15,4-1-217 16,4 7 1930-16,9-3 2303 15,4-1 1400 1,8-18-1501-16,7-3-796 16,10-6-338-16,14-11-164 15,7-20-76-15,0-16-38 16,-10-11-14-16,-11 8-6 16,-2-12-2-16,-8 3 0 15,-13 6-1-15,-13 10-1578 16,-14 8-3342-16,-7 9-2620 15,0 7-1024 1</inkml:trace>
  <inkml:trace contextRef="#ctx0" brushRef="#br0" timeOffset="-84687">18423 7391 32767 0,'0'0'0'0,"0"0"0"16,0 0-723-16,0 0-1190 15,0 0-2792 1,-4 2-1754-16,-5-2-1008 16</inkml:trace>
  <inkml:trace contextRef="#ctx0" brushRef="#br0" timeOffset="-84471.93">18375 7421 2242 0,'0'0'1578'0,"2"12"1853"0,-2 5 1508 16,4 3 80-16,8 0-567 15,10 0-970 1,-6 3-1070-16,-5-2-540 0,-1-2-728 15,-1 0-443 1,-11 2-421-16,-11 1-62 16,-8-5 34-16,-5-1 90 15,8-5-133-15,5-5-116 16,-6-3-154-16,-2-8-446 16,-5-6-1086-16,12-1-2213 15,-6-5-3029-15,8 2 301 16</inkml:trace>
  <inkml:trace contextRef="#ctx0" brushRef="#br0" timeOffset="-83824.1">18650 7347 14734 0,'0'0'5732'0,"2"2"-887"15,-4 10-1298 1,-3 20-1335-16,-3 6-1210 16,-1-2-595-16,-1 4-234 15,5 1-373-15,1-6 197 16,0 0 184-16,8-8-106 16,-4-4-41-16,0-6-21 15,2-6-6-15,0-7-4 16,3-4-1-16,5-6-1 15,5-22 0 1,-2-3 0-16,3-5-1 16,6-7 0-16,-5 1-1062 15,10-2 157-15,-4 10 29 16,-3 8 651-16,-8 9 454 16,1 7 389-16,-8 8-69 15,-5 2-114-15,-3 14 185 16,-8 14-275-16,5 6-189 15,4-1-89 1,2-5-40-16,4-7-15 16,14 0-7-16,0-6-2 15,-5-8-2-15,2-6-1 16,14-7 1-16,-7-11-1 16,1-6 0-16,5-4 0 15,-4-5 0-15,4-6 0 16,-2-5 0-16,-9 7 0 31,-11 15 0-31,-4 15 0 0,0 4 0 16,-2 2 0-16,-8 21 0 15,-20 21 0-15,3 7 0 16,-3 4 0-16,3 0 0 16,6-7 0-16,8 7 0 15,9-14 0-15,-8-2-714 16,6-13-2236-16,4-13-4215 15,10-3-2458 1</inkml:trace>
  <inkml:trace contextRef="#ctx0" brushRef="#br0" timeOffset="-83098.54">19304 7321 5509 0,'0'0'5273'16,"0"0"533"-16,0 0-958 15,-2 11-86-15,-2 8-1392 16,-4 15-1524-16,-4 8-1024 15,4 9-486 1,-3-5-215-16,2 1-75 16,1-3-29-16,8-7-11 15,4-14-3-15,-2-10-2 16,0-7-1-16,-2-4 1 16,0 0-370-16,0-2-58 15,5-10-889-15,1-26-1284 16,5-9-1610-16,-5-2 1500 15,-2-1 1009 1,-2-7 1173-16,-6 12 1200 16,0 12 798-16,6 3 1212 15,-2 15-315-15,2 3 100 16,0 2-619-16,0-5-743 16,6-2-497-16,16 4-262 15,6 1-177-15,1 1-97 16,-1 5-41-1,-8 8-19-15,1 2-5 16,-13 7-21-16,-8 8 24 16,-8 5-5-16,-11 7-3 15,-15 2-1-15,-4-8 0 16,-2-4-1-16,13-3-638 16,10-6-1389-16,8-8-1886 15,3-1-1571-15,4-5-511 16</inkml:trace>
  <inkml:trace contextRef="#ctx0" brushRef="#br0" timeOffset="-82796.51">19680 7410 13581 0,'-2'3'8167'0,"-19"7"-2340"15,-15 11-2692-15,-4 2-1943 16,-9 5-2034-16,17-7-1012 16,20-4 508-16,1-4 1174 15,9 4 1525-15,15-3 603 16,21-5-936-16,8-7-564 16,-7-8-285-16,-3-9-100 15,-8-2-42-15,-5 0-17 16,-3-6-6-16,0-7-3 15,-14 4-2 1,-8-1 0-16,-18 2-1 16,-5 6-2784-16,-31 6-8283 15</inkml:trace>
  <inkml:trace contextRef="#ctx0" brushRef="#br0" timeOffset="-50969.92">11243 4527 24599 0,'0'0'959'0,"0"0"-300"15,0 0-355-15,0 0-129 16,2 3-156-16,2 1-59 16,2 4 101-16,6 5 300 15,-4 4 304-15,-8 0 563 16,2 0 296-16,2 0-407 16,-2 2-536-16,5 4-288 15,-1-2-156-15,3 2-70 16,-1 7-34-16,-8-1-19 15,-2-18-9-15,8 10-2 16,5 9-1-16,-11 0-2 16,0 3 1-16,0 1-1 15,-2 0 0-15,4 2 0 16,-4 5 0-16,6-4 0 16,-6-1 0-16,6 1 0 15,-4-6 0-15,2-3 0 16,2-3 0-1,0-4 0-15,-6-1 0 16,6-4 0-16,-4-1 0 16,2-5 0-16,-2-3 0 15,0-3 0-15,0-2 0 16,0-2 0-16,0 2 0 16,0-2 0-16,0 0 0 15,0 0 0-15,-4-4-2243 16,6-8-8637-16</inkml:trace>
  <inkml:trace contextRef="#ctx0" brushRef="#br0" timeOffset="-49433.57">11239 4540 3363 0,'0'0'2678'16,"0"0"-106"-16,-2-2-100 15,-2 0-597 1,0-3-1312-16,2 4-272 0,-1-4-113 15,6 1 842 1,-1 0 702-16,-2 1-61 16,0-1 457-16,0 0 83 15,0 2-386-15,0-2-372 16,0 2-421-16,0-3-208 16,0 1-27-16,4-2 34 15,2 0-262-15,10-1 100 16,-6 5-246-16,0 2-11 15,7-2-103-15,8 4 10 16,0-2-100 0,7-2-125-16,-2 2 149 15,11-2-93 1,-25 6-118-16,12 2-10 16,-1 5-6-16,-1 0-4 15,-6-1-1-15,-2 1 0 16,-4 2-1-1,-1 3 0-15,-2-1 0 16,2 0 0-16,-5-2 0 16,-6-7 0-16,2 1 0 0,4 5 0 15,4 5 0-15,-8 0 0 16,-8 4 0-16,-6 0 0 16,2 0 0-16,-10 5 0 15,3-5 0-15,-2 0 0 16,-2 0 0-16,-5-1 0 15,6-6 0 1,-8-1 0-16,11-7 0 16,1 1 0-16,4-3 0 15,2 0 0-15,-4-2 0 16,6-2 0-16,-8 0 0 16,2 0 0-16,4 0 0 15,-5 0 0-15,-11-2-218 16,8 0 11-16,2 0 74 15,0-2 2-15,4 4 124 16,5-3 274 0,-1 1-87-16,-3 0-74 15,5-2-49-15,2 2-25 16,-2-2-11-16,2 2-9 16,2-1-5-16,-3 1-2 15,3-2-2-15,0 4-1 16,0-2 0-16,3-3-2 15,7 1 1 1,1 3 0-16,6 1-1 16,3 1 0-16,-10-2 0 15,4 5 0-15,7-4 0 16,-4 1 0-16,-6-1 0 16,1 5 0-16,-5-3 0 15,4 7 0-15,-1-1 0 16,2 7 0-1,8-1 0-15,-7-1 0 16,1 4 0-16,1-2 0 16,-4 2 0-16,1 2 0 15,-1-4 0-15,-2 0 0 16,5 4 0-16,-10-4 0 16,3 1 0-16,-5 1 0 15,0 0 0-15,2 2 0 16,3 0 0-16,1 1 0 15,-1-3 0 1,-3-3 0-16,2 3 0 16,-2 0 0-16,4-2 0 15,-2-2 0-15,-2-3 0 16,0 1 0-16,2-3 0 16,2 0 0-16,3-1 0 15,0-1 0-15,8-3 0 16,4-6 0-16,-6-1 0 15,-5-2 0 1,8-5-2412-16,-10-4-6283 16</inkml:trace>
  <inkml:trace contextRef="#ctx0" brushRef="#br0" timeOffset="-46554.79">12083 4652 3619 0,'0'0'2140'0,"0"-6"-253"15,0 2-69-15,0-3-323 16,-2-1-470-1,2-1-409-15,-2 5-239 16,0 2 964-16,4 0 268 16,-2 2-176-16,-2-3-19 15,2 3 854-15,-2-1-897 16,2 1 447-16,0 0-267 0,0 0 110 16,0 0-397-16,0 0-131 15,0 0-225-15,0 4-255 16,0 0-245-16,4 5 4 15,-2 5-156-15,-2 4-112 16,2 2-68 0,-2 1-40-16,4 7-17 15,1 0-11-15,-3 1-4 16,3 3-2-16,1-2-2 16,0 1 1-16,-8-1-1 15,2 4 0-15,6-5 0 16,-1-1 0-1,-8 6 0-15,6-9 0 16,-3 3 0-16,2-3 0 16,2-1 0-16,-2-5 0 15,-2-1 0-15,-2 2 0 16,-4-1 0-16,6-2 0 16,0 0 0-16,-3-1 0 15,8 0 0-15,-3-6 0 16,-2-6-834-1,0-2-1112-15,0-2-2154 16,-9-19-6991-16</inkml:trace>
  <inkml:trace contextRef="#ctx0" brushRef="#br0" timeOffset="-45918.64">11804 4580 8680 0,'0'0'4351'15,"0"0"-1729"-15,0 0-679 16,2 0-768-1,0 0-653-15,-2-2-386 16,5 2 4-16,-1 0 36 16,-2-2 366-16,0 0 585 15,0 0 727-15,13 0 203 16,2 2-293-16,9-3 61 16,-1 3-410-16,5-1-304 15,-10-2-420-15,6 1-350 16,1 2-178-1,7 2-88-15,2 1-42 16,2-3-19-16,-17 0-9 16,9-3-2-16,-2 3-2 15,1 0 0-15,9 0-1 16,0-4 0-16,-21 0 0 16,7 2 0-16,-3-2 0 15,4 1 0-15,5 3 0 16,-9 0 0-1,-15 0 0-15,3 0 0 16,-7 4-769-16,7 3-2107 16,-11-3-3141-16,-9 7-3427 15</inkml:trace>
  <inkml:trace contextRef="#ctx0" brushRef="#br0" timeOffset="-45246.06">12564 4536 9929 0,'0'0'3057'15,"0"0"-1836"-15,-2 0-192 16,0 6-88-1,4 7-24-15,-2 2 419 16,0 6 173-16,-4-2 498 16,0 2 547-16,4 4-519 15,0 1-74-15,4 1-290 16,-6 5-297-16,-2-2-679 16,4-3-407-16,4 3-151 15,-4-1-78-15,2-1-33 16,-4 4-14-16,0-5-7 15,0-4-3 1,8 1-1-16,6-3 0 16,-2 2-1-16,0-6 0 15,0 2 0-15,-6-2 0 16,0-2 0-16,1 0 0 16,3-1 0-16,3 2 0 15,4-8 0-15,3 0 0 16,0-1 0-1,-4-3 0-15,-3-2 0 16,2 0 0-16,6 0 0 16,-1 1 0-16,12-3 0 15,-6-3 0-15,3 1 0 16,-7-2-629-16,-8 0-1243 16,-4 0-1046-16,12-1-4395 15</inkml:trace>
  <inkml:trace contextRef="#ctx0" brushRef="#br0" timeOffset="-44783.4">12526 4845 19186 0,'0'0'2509'16,"0"0"-829"-16,0 0-652 16,0 0-347-16,0 0-306 15,0 4-169-15,6 0 444 16,5 3 490-16,0-1 562 16,13-4-106-16,6 0-470 15,7-6-607-15,-5-1-310 16,-12 4-126-16,6-2-42 15,-11 1-23 1,13 2-26-16,-16 0-583 16,0 0-1314-16,-3-2-1684 15,-7 2-1615-15</inkml:trace>
  <inkml:trace contextRef="#ctx0" brushRef="#br0" timeOffset="-44204.52">12517 4510 9033 0,'0'0'4539'0,"0"0"-1090"16,0 0-130-16,3 4-657 16,-3-1-1022-16,6 3-251 15,2-4-294 1,-1 3 471-16,1-5 161 0,9 0-573 16,7-3-527-16,7 1-301 15,5-6-186 1,4-1-79-16,-14 3-39 15,5 2-12-15,3 2-5 16,-2-1-3-16,-13 1-2 16,-2 2 1-16,0 0-1 15,-17 0 0-15,4 0 0 16,-4 0 0-16,4 0 0 16,-2 0 0-16,0 2 0 15,-2-2 0-15,0 0 0 16,-2 5-257-16,0-3-1974 15,-6 2-6763 1</inkml:trace>
  <inkml:trace contextRef="#ctx0" brushRef="#br0" timeOffset="-14219.57">11239 5452 9481 0,'0'0'170'0,"4"-4"605"16,-2 4 63-16,-2 0-321 16,-2-2-306-16,2 2-400 15,0 0-36-15,0 0 95 16,-2 2 460-16,2 0 200 16,-2 0 1397-16,4 0 748 15,0 3-329-15,4-1 786 16,0-2-605-1,4 0-576-15,-4-2-670 16,4 0-281-16,7-2-422 16,7 0-361-16,-8 0-151 15,12-3 258-15,-5 3 267 16,-4-2-226-16,4 0-74 16,3-3-82-16,2 3 138 15,3 0-61-15,-9 0-141 16,7 0-31-16,-8-3-69 15,-2 5-24 1,1-4-10-16,-2 4-70 16,12-1 80-16,-5 2 5 15,3-4-14-15,-2-1-7 16,-4 4-2-16,-4-2-2 16,-8 4-1-16,7-3 1 15,5 3-1-15,-4 3 0 16,8-3 0-1,1 0 0-15,-3 0 0 16,-6 0 0-16,-2-3 0 16,-2 3 0-16,5 3 0 15,3-2 0-15,-4 2 0 16,6-3 0-16,-3 2 0 16,2-2 0-16,-4 0 0 15,-1 0 0-15,2 0 0 16,-2 0 0-1,-4 0 0-15,5 2 0 16,7 0 0-16,-2-4 0 16,-2 2 0-16,-5-2 0 15,0 2 0-15,0 0 0 16,5 0 0-16,-4 2 0 16,10 0 0-16,-7-2 0 15,11-2 0-15,-5 0 0 16,-4 2 0-16,-6-2 0 15,5 4 0-15,32 0 0 32,-24 2 0-32,-9-4 0 15,1-2 0-15,3 0 0 16,2 2 0-16,14-2 0 16,-9 2 0-16,1-5 0 15,-9 1 0-15,-4 0 0 16,6 2 0-16,6 2 0 15,-5-2 0-15,1 0 0 16,-5 0 0 0,-2 0 0-16,-12 0 0 15,-3 2 0-15,-4 0 0 16,4-3 0-16,-6 3 0 16,0 0 0-16,0 0 0 15,0 0 0-15,0 0-112 16,0 0-5204-1</inkml:trace>
  <inkml:trace contextRef="#ctx0" brushRef="#br0" timeOffset="-12532.77">12138 7446 8392 0,'0'0'1613'0,"0"0"-502"16,0 0-650-16,-2-2-1099 15,2 0-1263-15</inkml:trace>
  <inkml:trace contextRef="#ctx0" brushRef="#br0" timeOffset="-8573.28">14160 4603 20756 0,'-2'0'326'0,"2"-1"501"15,-4-2 320-15,4 1-387 16,-2 0-177-16,2 2-257 16,-3 0-200-16,3 0-35 15,0 4 743-15,-2 9 562 16,0 0 511-16,2 4-275 15,-6 1-577-15,8 0-557 16,-6 0-245 0,6 2-126-16,-4-1-64 15,6 4-32-15,-4-4-16 16,6 4-8-16,-8-3-3 16,4 5-3-16,-2-2 0 15,7 2 0 1,-12 5-1-16,8-4 0 0,-6 5 0 15,8 3 0 1,-10-2 0-16,10 4 0 16,-10-2 0-16,8 0 0 15,-8 1 0-15,12 1 0 16,-12 0 0-16,5-6 0 16,0-3 0-16,0-14 0 15,0-4 0 1,5-3 0-16,-5-4 0 0,0-2-1023 15,-5-6-3740 1,5-19-4957-16</inkml:trace>
  <inkml:trace contextRef="#ctx0" brushRef="#br0" timeOffset="-7745.19">14147 4618 20595 0,'0'0'613'16,"0"-2"226"-16,-2-2 74 16,0-2-599-16,0-1-735 15,2 1 214-15,0 2 132 16,0-1 298-16,0 1 547 15,8-6 847 1,-1 3-447-16,16-1 290 16,-4-1-156-16,15 1 36 15,-2 1-373-15,-3 1-216 16,13 2-395-16,-18 4-232 16,7 2-59-16,1 5-37 15,-4 1-16-15,-9 0-8 16,-4 5-1-16,0 0-2 15,-1 1-1 1,-3-1 1-16,-2-2-1 16,-5-1 0-16,2 5 0 15,-6 2 0-15,0 2 0 16,-8 2 0-16,-3-2 0 16,-4 2 0-1,-1-1-88-15,-10-1-6 0,7-6 71 16,-13-1 12-16,16-3 122 15,0-5-61 1,4 2-24-16,-5-4-12 16,2 1-7-16,-12 1-2 15,1-3-4-15,-2-2 0 16,5 1 0-16,-1-3-1 16,4 2 0-16,12 1 0 15,-8 0 0-15,8-3 0 16,0 6 0-16,3-3 0 15,-5 0 0 1,1 0 0-16,0 0 0 16,5 0 0-16,-2 0 0 15,4 0 0-15,-2 0-13 16,4 0-845-16,0 0-1533 16,4 0-4131-16,8-5-3150 15</inkml:trace>
  <inkml:trace contextRef="#ctx0" brushRef="#br0" timeOffset="-6193.13">14636 4602 8232 0,'0'0'1734'0,"0"0"928"16,0 0-484-1,0 0 226-15,0 4 238 16,4 0-931-16,1 0-454 16,1 5-207-16,-2-3 175 15,1 0-121-15,5 7 107 16,-8-5-266-16,5 7 546 16,-1 2-204-16,2 2-456 15,-4 5-400-15,3 3-225 16,2 3-114-1,-3-3-51-15,-2 9-22 16,-2 0-11-16,-6 4-4 16,4-4-3-16,2 7 0 15,-6-3-1-15,10 5 0 16,-2-5 0-16,-8 0 0 16,6-4 0-16,-2 0 0 15,-4-6 0-15,4-7 0 16,0-9 0-16,2-7 0 15,-2-5 0 1,0-2 0-16,0 0 0 16,2-28 0-16,-6-2 0 15,8-7 0-15,-2-2 0 16,-4-3 0-16,-2-6 0 16,2 3 0-16,0 5 0 15,-4-7 0-15,2 5 0 16,-6-5 0-16,15 5 0 15,0 0 0 1,-5 0 0-16,-5 5 0 16,2-1 0-16,6 11 0 15,2-5 0-15,-5 9 0 16,4 2 0-16,-8 6 0 16,2 6 0-16,-1 3 0 15,3 4 0-15,0 0 0 16,0 2 0-1,0 0 0-15,5 8 0 16,-5 11 0-16,6 4 0 16,2 3 0-16,-4 4 0 15,2-1 0-15,3 5 0 16,8 0 0-16,-4-5 0 16,5 3 0-16,-4-7 0 15,8 3 0 1,-10-8 0-16,6-2 0 15,-7-1 0-15,6-4 0 16,0-2 0-16,-7-7 0 16,6-6 0-16,2-9 0 15,1-6 0-15,5-4 0 16,1-4 0-16,-4 1 0 16,-4-3 0-16,0 2 0 15,-4-7 0-15,1 6 0 16,0 1 0-1,0-5 0-15,-4 5 0 16,4-3 0-16,-2 3 0 16,-4 2 0-16,1 6 0 15,-7 4 0-15,-2 4 0 16,-2 3 0-16,2 2 0 16,0 4 0-16,0-2 0 15,0 2 0-15,0 0 0 16,0 2 0-16,2 11 0 15,-2 2 0 1,6 6 0-16,-4 2 0 16,-4 2 0-16,2-1 0 15,2 14 0-15,-4-4 0 16,-2 10 0-16,0-4 0 16,-5 7 0-16,7 1 0 15,0 3 0-15,0 2 0 16,-4 4 0-1,4 5 0-15,2-5 0 16,0-6 0-16,0-1 0 16,0-11 0-16,0 1 0 15,4-11 0-15,0-5 0 16,-2-3 0-16,0-4 0 16,-2-2 0-16,0-7 0 15,0-1 0-15,-2-6 0 16,2 2 0-16,0-3 0 15,-2-3-2029 1,-10-18-9257-16</inkml:trace>
  <inkml:trace contextRef="#ctx0" brushRef="#br0" timeOffset="-4421.43">13908 5499 20115 0,'0'0'377'15,"0"0"110"-15,0 0 136 16,0 0-519-16,0 0-368 16,3-2-185-16,1 0 132 15,8-2 205 1,1 1 437-16,-3 1 1237 0,5 2 765 15,4-2-176-15,-5 2-476 16,8 2 140 0,4 0-568-16,1 1-647 15,1-3-324-15,2 4-149 16,-14-4-79-16,1 2-23 16,0-2-13-16,10 2-5 15,-5 0-4-15,7 0-1 16,-1 2-2-16,-8-2 1 15,-2 0-1 1,-3-2 0-16,-4 3 0 16,-1-1 0-16,11 0 0 15,3 0 0-15,-1 2 0 16,-6-1 0-16,6-2 0 16,-8-1 0-16,0 3 0 15,-9-2 0 1,6 2 0-16,6-1 0 0,7 0 0 15,3 0 0 1,-4 0 0-16,-2-4 0 16,8 2 0-16,-11-4 0 15,-1 2 0-15,6 2 0 16,0 0 0-16,3 2 0 16,-3-2 0-16,2 0 0 15,2 0 0-15,-5 0 0 16,-1 0 0-16,-6 2 0 15,12 2 0-15,2-2 0 16,7 1 0 0,-9-3 0-16,-4 2 0 15,-5 0 0-15,9 2 0 16,7 0 0-16,3-2 0 16,-10-2 0-16,0 2 0 15,-8 1 0 1,0 1 0-16,1-2 0 0,-5-2 0 15,-4 4 0 1,-6-4 0-16,-4 2-302 16,-2-2-1194-16,0 0-3966 15</inkml:trace>
  <inkml:trace contextRef="#ctx0" brushRef="#br0" timeOffset="33353.13">15995 4599 17264 0,'0'0'761'0,"0"0"-97"16,-2 0-199-1,2 0-202-15,0 0-69 0,0 0-16 16,0 0 81 0,0 0 187-16,2 3 841 15,-2 1 606-15,-2 0-42 16,2-4-469-16,2 4 289 16,-2 0-389-16,-2 1-136 15,0-1-467-15,2 2-230 16,-2 3-186-1,2-1-105-15,0 1-64 0,-2 3-41 16,0-1-23 0,4 2-14-16,-2-3-8 15,-5 3-3-15,12 1-2 16,-7-1-2-16,4 2 0 16,-2 0 0-16,-4-2-1 15,0-3 0-15,-2 9 0 16,6-4 0-16,-9 4 0 15,7-2 0 1,3-2 0-16,-1 4 0 16,-7 0 0-16,3 2 0 15,4-6 0-15,-2 4 0 16,0 0 0-16,-4 6 0 16,2-2 0-16,-2 5 0 15,8 2 0-15,2-3 0 16,-6-1 0-16,0-1 0 15,-2 5 0 1,0-5 0-16,0 2 0 16,2 1 0-16,2-3 0 15,-2 1 0-15,-2 2 0 16,-2-1 0-16,2-1 0 16,2 1 0-16,2-1 0 15,4-5 0-15,-6-5 0 16,0 1 0-16,0-4 0 15,2 2 0 1,-4-7 0-16,2 1 0 16,-4-5 0-16,2-2-526 15,2-4-2089-15,-5-11-6211 16</inkml:trace>
  <inkml:trace contextRef="#ctx0" brushRef="#br0" timeOffset="34962.95">15953 4614 24215 0,'0'0'1187'0,"0"0"85"16,0 0-22-1,0-2 67-15,2-3-583 0,-2 1-270 16,4-4-163 0,-2 2-2-16,0-3 207 15,0 3-1-15,-2-2-205 16,2 1-133-16,3 1-62 16,1-3-40-16,11 3-25 15,-4-1-21-15,1 6-9 16,4-4-5-16,5 5-2 15,11-2-1 1,0 2-1-16,-11 0-1 16,-2 0 0-16,11 2 0 15,-5 0 0-15,13 2 0 16,-16-1 0-16,5 1 0 16,1 0 0-16,-11 3 0 15,7 3 0-15,-4 3 0 16,-2-3 0-16,-10 3 0 15,10 4 0 1,-12-4 0-16,-2 1 0 16,1 2 0-16,-1 2 0 15,-8-3 0-15,0 2 0 16,-7 2 0-16,7 0 0 16,-8 0 0-16,-3 0 0 15,-10 2 0-15,3-6 0 16,2 2 0-16,-8-4 0 15,3 1 0 1,-3 2 0-16,8-8 0 16,-14 5 0-16,5-5 0 15,-5-1 0-15,4-1 0 16,-1 2 0-16,7-3 0 16,-6 1 0-1,1-2 0-15,-5 0 0 0,12-1 0 16,4 1 0-1,4-2 0-15,3-2 0 16,3 2 0-16,4 0 0 16,0-2 0-16,2 0 0 15,-3 0 0-15,3 0 0 16,0 0 0-16,0 0 0 16,0 0 0-16,7 0 0 15,-1 0 0-15,9 0 0 16,15-2 0-16,-3 4 0 15,5 0 0 1,-2 0 0-16,4 1 0 16,-3-2 0-16,5 4 0 15,11 1 0-15,-11 1 0 16,-6-1 0-16,-20-2 0 16,13 4 0-16,21 7 0 0,-10-4 0 15,-2 2 0-15,-2-1 0 16,-7 3 0-1,11 4 0-15,-7 0 0 16,3 2 0-16,-10-6 0 16,4 4 0-16,-6-4 0 15,-8 2 0-15,3 2 0 16,1 0 0-16,-4-2 0 16,-2 4 0-16,-6-2 0 15,2 1 0-15,0-2 0 16,-2 1 0-16,-4 3 0 15,-4-1 0-15,2-4 0 16,-2 2 0 0,-10 0 0-16,2 2 0 15,-3 0 0-15,-9-2 0 16,-2-2 0-16,-5 0 0 16,5-4 0-16,-2-1 0 15,16 1 0-15,-12 0 0 16,-1-3 0-1,-9-1 0-15,10-3 0 16,-14-1 0-16,13-4 0 16,-1 2 0-16,-12-6 0 15,5-1 0-15,1 0 0 16,1 0 0-16,-3-2 0 16,7 1 0-16,-9-1 0 15,8 0 0-15,6 1 0 16,-7-1 0-16,8 2 0 15,4-3 0-15,-1 1 0 16,4 0 0 0,-1-3 0-16,0-2-1963 15,6 7-3246-15</inkml:trace>
  <inkml:trace contextRef="#ctx0" brushRef="#br0" timeOffset="36048.87">17151 4771 14894 0,'0'0'2232'0,"-2"-3"-1130"0,0-3-386 15,0-2-887 1,-2-3-1413-16,8 5 346 0,-4-5 309 15,4 3 483 1,-2-3 516-16,-2 5 1254 16,0 0 642-16,0-3-415 15,-10 1 7-15,-4 1 456 16,6 5-202-16,0 2-244 16,-20 6-9-16,11 3-418 15,-11 3-137-15,1 6-353 16,-1 3-286-16,-2 4 37 15,12-1-264 1,3 9 110-16,0 1-199 16,0 11 111-16,5 1 20 15,2-2 85-15,6 8-161 16,2 1-65-16,6-1-24 16,-4-1-10-16,6 0-3 15,-1 0-1-15,7-9-1 16,12 2 0-16,-6-8 0 15,10-4 0 1,-6-8 0-16,3-7 0 16,1-5 0-16,-7-8 0 15,13-4 0-15,4-6 0 16,-4-9 0-16,0-6 0 16,-7-5 0-16,-3-7 0 15,-6-3 0-15,8-13 0 16,-3 2 0-1,-1-6 0-15,-4-1 0 16,-3-2 0-16,2-3 0 16,-12 9 0-16,-10-3 0 15,-5 4 0-15,-5 4 0 16,-6-1 0-16,-13 4 0 16,4 6 0-16,-7 6 0 15,-8 4 0 1,-4 10-669-16,4 0-1590 15,1 15-2327 1,-15 2-3888-16</inkml:trace>
  <inkml:trace contextRef="#ctx0" brushRef="#br0" timeOffset="37330.76">15775 5670 2915 0,'0'0'7258'0,"0"0"-2710"16,0 0-1454-16,0 0-1064 15,0 0-692-15,0 0-335 16,2 3-44-16,2 1 445 16,3 0 147-1,-3-2-292-15,0-2 255 0,6 4 45 16,4 1-507-16,0-4-413 15,12 4-293 1,5 1-178-16,-5-6-97 16,2 2-38-16,-6 2-19 15,0-1-8-15,-1 3-3 16,13-2-1-16,6 2-1 16,-6-6-1-16,-5-2 0 15,-3 4 0-15,-3 1 0 16,17-1 0-16,1 0 0 15,-9-4 0 1,-10 2 0-16,-2 0 0 16,9 2 0-16,-1 0 0 15,4-2 0-15,0-2 0 16,-3-2 0-16,-5 1 0 16,0 3 0-16,4 0 0 15,13-2 0-15,-7 2 0 16,-1-4 0-16,-12 2 0 15,9 4 0 1,10-4 0-16,7 2 0 16,-12-4 0-16,-3 2 0 15,9 0 0-15,3 2 0 16,3-3 0-16,-11 6 0 16,10-1 0-16,7 0 0 15,8 0 0-15,-25 0 0 16,7 0 0-16,-3 4 0 15,-2-1 0 1,-6-5 0-16,-7 2 0 16,1 2 0-16,-12 1 0 15,2-1 0-15,0-4 0 16,-9 1 0-16,-5-1 0 16,-2 0 0-16,0 0 0 15,0 0 0-15,-7 0 0 16,-3-1 0-1,-3-2 0-15,6 2 0 16,3 1 0-16,-2-3 0 16,-4 3-473-16,-3 0-5164 15</inkml:trace>
  <inkml:trace contextRef="#ctx0" brushRef="#br0" timeOffset="64274.51">15580 5025 12428 0,'0'0'433'16,"0"-2"1174"-16,4-1 187 15,-4-1-441-15,0 2-625 16,-2 0-334-16,2-2-232 16,-4-1-189-16,-2 4 24 15,-15 1 512-15,10 1 37 16,-18 6 343-16,11-3 806 16,8 0 123-16,-7 3-178 15,13-3-422-15,-7 0-116 16,2-2-337-1,5 1-455-15,4-3-144 16,-2 0 139-16,4 5 251 16,11 2-363-16,-8-3-109 15,18 5 48-15,7-5 0 16,1-2-33-16,-8 0-44 16,20-4-102-16,-21 0 48 15,8-2-1-15,0 2 36 16,-9 0 46-1,-5-3 147-15,-14 5 44 16,-2 0 15-16,0 0-98 16,0 0-216-16,-4-6-255 15,-16 1 87-15,1 4 85 16,-2-3 154-16,10 1 75 16,-17 3-109-16,6-2-40 15,-17 2-5 1,9-4-16-1,-1 0 29-15,8 2 114 0,4-1 45 16,3 6-11-16,14-3-134 16,-8 0 0-16,8 0 28 15,0 2-9-15,0-2 28 16,8 6 269-16,11 1-75 16,11-2-100-16,-1 0-76 15,18-5-29-15,-20 0-18 16,7-2-7-1,-10-1-2-15,-4 2-1 16,-12 1-1-16,-6 0 1 16,0 0-1-16,0 0 0 15,0 0 0-15,0 0 0 16,-6-3 0-16,-4 2-97 16,-12 1-37-16,1 1 22 15,-17 3 68-15,-2-1 27 16,4 1 47-1,10 0 155-15,13 1-261 16,-3-1 97-16,14-2-61 16,-2 0 122-16,6 2 5 15,12 4-30-15,8-3-27 16,17 2-13-16,-5-3-11 16,-4-4-3-16,-15 0-2 15,17 0 0 1,-2 0-1-16,-8 0 0 15,-4 0 0-15,-8 0 0 16,3-3 0-16,-9 3 0 16,0 0 0-16,-4 0 0 15,-17 0 0-15,-19-1 0 16,0 2 0-16,7 2 0 16,-3-2 0-16,15-1 0 15,4 0-999-15,7 0-6447 16</inkml:trace>
  <inkml:trace contextRef="#ctx0" brushRef="#br0" timeOffset="67295.34">18618 4777 10506 0,'0'0'2990'16,"0"-2"-991"-16,2-5 302 15,0 1-876-15,0-2-518 16,-2-1-515-16,4-1-328 16,-4-3-132-16,-2 0-222 15,0 3 268-15,2-3 570 16,-2 2 548-16,-7-1 278 15,-3-1 644 1,4 5-476-16,-6-3 198 16,-2 5-391-16,-4-1-561 15,2 3-406-15,-8 2-108 16,-1 2-162-16,-3 0-61 16,-2 2-190-16,3 0 186 15,7 5-79-15,-11 1-114 16,7 3 34-1,-4-1 26-15,12-2 50 16,-6 10 53-16,14-1 303 16,-5-1 73-16,2 8-145 15,-2 1 77-15,11-1-63 16,0-1-140-16,-2 6-63 16,12-4-33-16,6 5-14 15,4 0-7-15,7 2-3 16,0-9-1-1,10 3 0-15,1-5-1 16,7 2 0-16,-9-4 0 16,10 4 0-16,-1-4 0 15,-29-12 0-15,18 7 0 0,-5 1 0 16,13 6 0-16,0 5 0 16,0-5 0-16,-9 0 0 15,10 0 0-15,-11 5 0 16,-3 1 0-1,4 3 0-15,-7-5 0 16,-5 3 0-16,-9-7 0 16,-4 0 0-16,5 9 0 15,-7 0 0-15,-4-3 0 16,-17 0 0-16,-2-1 0 16,-9-5 0-16,-8-2 0 15,8-2 0-15,-7-6 0 16,-4-3 0-1,1-6 0-15,-2-4 0 16,-11-6 0-16,-3-3 0 16,10-4 0-16,-5-2 0 15,6 0 0-15,-3-6 0 16,10 4 0-16,11-7 0 16,-9-1 0-16,12 4 0 15,-3 0 0-15,5-1-1056 16,6-1-2227-1,12-3-5662-15</inkml:trace>
  <inkml:trace contextRef="#ctx0" brushRef="#br0" timeOffset="69764.29">17947 5850 17681 0,'0'0'966'0,"0"0"-465"16,0 0-307-1,0 0-414-15,0 0-801 16,4 0 216-16,-2 0 621 16,4 2 1177-16,0 0 160 15,10 1-43-15,-2-1 302 16,5 0-258-16,21-2-208 16,-4 4 146-16,9-2-12 15,-13 0-106-15,6 3-32 16,9 1 227-1,3-2-71-15,-3-2-253 16,3 0-221-16,12 2-265 16,-13-1-140-16,10-1-112 15,15-2 150-15,-11 2-177 16,14 0-52-16,-8-2-19 16,3 6-6-16,7-6-2 15,-2 0-1-15,0 4 0 16,8-4 0-1,0 3 0-15,-13-1 0 16,6 0 0-16,-6-6 0 16,-17 1 0-16,-4 3 0 15,-10 0 0-15,-13-1 0 16,-10-2 0-16,-8 6 0 16,-5-6-531-16,-3 3-3017 15,-7 3-8637-15</inkml:trace>
  <inkml:trace contextRef="#ctx0" brushRef="#br0" timeOffset="79989.29">19246 4643 19186 0,'0'0'3418'16,"0"-1"-633"-16,-2-4-875 16,4 1-594-16,-2 4-709 15,0-2-465-15,0 2-442 16,0 0-205-16,-2 8 244 16,-11 16 409-16,-12 5 1299 15,4 7-29-15,4 4-531 16,0 5-534-16,2 3-217 15,7 4-86 1,-5-6-31-16,2 1-12 16,9-1-5-16,0 9-1 15,-4-10 0-15,-6 3-1 16,0-1 0-16,10 2 0 16,-4-11 0-1,2 0 0-15,4-2 0 16,2-2 0-16,0-2 0 15,-2-9 0-15,4-13 0 16,0-1 0-16,-6-5 0 16,4 0 0-16,-2-1 0 15,0-2 0-15,0-1 0 16,0 0 0-16,0 0 0 16,-4-12 0-16,4-16 0 15,-2-10 0-15,8-6 0 16,-1-1 0-16,-8-7 0 15,3-6 0 1,5-1 0-16,2-2 0 16,1 1 0-16,-2-3 0 15,4 4 0-15,-1-1 0 16,6 1 0-16,-2 2 0 16,8 6 0-1,0 2 0-15,-4 9 0 0,2 2 0 16,-2 4 0-1,6 9 0-15,-2 3 0 16,19 6 0-16,-14 5 0 16,10 5-93-16,-15 3 141 15,9 10-23-15,-11 1-14 16,5 7-6-16,-6 8-3 16,6 5-1-16,-6 8 0 15,6 6-1-15,-11-6 0 16,-3 9 0-1,7 1 0-15,-14 3 0 16,-6 4 0-16,18 6 0 16,2-8 0-16,-9 6 0 15,-8 6 0-15,7-5 0 16,8 1 0-16,-5 1 0 16,-4-4 0-16,5-5 0 15,2-2 0 1,-3-7 0-16,-6-10 0 15,3-4 0-15,-7-14 0 16,0 1 0-16,0-4 0 16,2-1 0-16,-2-3 0 15,2-3-514-15,-4-2-1343 16,0 0-2030-16,2-2-3557 16,-3-2 3273-16</inkml:trace>
  <inkml:trace contextRef="#ctx0" brushRef="#br0" timeOffset="80331.29">18995 5023 32767 0,'0'0'0'0,"12"-3"0"16,22-5 0-16,-3-2 0 16,14-1 0-16,11-2 0 15,-12 1 0-15,-11 1 0 16,3 2 0-1,18-1 0-15,-8 4 0 16,-17 1-1152-16,10 3-2564 16,-3 0-5955-16</inkml:trace>
  <inkml:trace contextRef="#ctx0" brushRef="#br0" timeOffset="93286.82">9865 12312 1634 0,'0'0'444'0,"-6"-4"259"16,2 2 1390-16,-9-2 1809 16,6 4-2437-1,-5 0 99-15,-3 0 1206 16,2 0-61-1,3 0 482-15,-3 0 39 16,-4 4-359-16,-2-4-522 16,5 2-664-16,7-2-809 15,4 2-405-15,-1-2-179 16,4 0-129-16,0 0-18 16,10 0-55-1,0-2-36-15,6 2-22 0,-3-2-17 16,11-2-1-1,-8-1-12 1,4 4 0-16,2-4-2 16,8 3 1-16,3-2-1 15,-2-1 0-15,-6 1 0 16,-3 0 0-16,3 2 0 16,7 0 0-16,-5 2 0 15,5 0 0-15,-2-2 0 16,-7 0 0-1,-2 0 0-15,2 2 0 16,9 0 0-16,6-2 0 16,-2-1 0-16,-7 3 0 15,-3 0 0-15,6 0 0 16,4 0 0-16,4 3 0 16,-4-3 0-16,-8 0 0 15,4 0 0-15,16 0 0 16,1-3 0-1,-7 1 0-15,-3 2 0 16,11-2 0-16,1 4 0 16,-5-4 0-16,9 2 0 15,13 0 0-15,-15 0 0 16,10-6 0-16,12-1 0 16,-21 3 0-16,15 0 0 15,5 2 0-15,-11 0 0 16,5-3 0-1,-5 5 0-15,2-4 0 16,-47 4 0-16,28-2 0 0,11 4 0 16,12-2 0-16,2-2 0 15,-9 4 0-15,-7 0 0 16,6 0 0-16,5 3 0 16,8-5 0-1,-5 2 0-15,-2 0 0 16,-4-2 0-16,-9 0 0 0,6 2 0 15,5-2 0 1,-8 2 0-16,3 0 0 16,7-2 0-16,-9 2 0 15,-3 1 0-15,6 1 0 16,-1-2 0-16,-9-2 0 16,12 2 0-16,5 2 0 15,-19-2 0-15,3 1 0 16,5-3 0-1,-10 0 0-15,8 4 0 16,6-4 0-16,-10 2 0 16,2-2 0-16,-7 4 0 15,3-2 0-15,2 0 0 16,0 0 0-16,2 5 0 16,-9-3 0-16,-1 0 0 15,5 1 0-15,7 1 0 16,-6-2 0-1,-34-2 0-15,21 2 0 0,4 0 0 16,4 1 0-16,-6-1 0 16,-2 0 0-16,7-1 0 15,3 3 0-15,1-4 0 16,-7 2 0-16,2 0 0 16,-3 3 0-16,5-3 0 15,1 0 0-15,-9 1 0 16,2-1 0-1,11 2 0-15,-3-2 0 16,-14 0 0-16,5-1 0 16,8-1 0-16,-3-2 0 15,-1 4 0-15,-7-4 0 16,8 2 0-16,7-2 0 16,-9 2 0-16,2 0 0 15,3-2 0-15,9 2 0 16,-7 0 0-16,-11 3 0 15,9-5 0 1,5 0 0-16,-1 4 0 16,-13-2 0-16,8 0 0 15,11 1 0-15,-3 1 0 16,-8-2 0-16,13-2 0 16,0 2 0-16,-13 0 0 15,3 0 0-15,13 0 0 16,-11-2 0-1,-5 0 0-15,7 2 0 16,5-4 0-16,-5 0 0 16,-6 2 0-16,17 0 0 15,-8 0 0-15,-13 2 0 16,15-2 0-16,9 2 0 16,-17-2 0-16,-1 0 0 15,7 0 0-15,-1-2 0 16,0 2 0-1,3-2 0-15,1 2 0 16,-7 0 0-16,-3-4 0 16,14 6 0-16,1 0 0 15,-16-2 0-15,13 0 0 16,3 0 0-16,-11-2 0 16,4 4 0-16,3-2 0 15,2 0 0-15,-3 0 0 16,4 2 0-1,-14-6 0-15,9 6 0 16,11-2 0-16,-9 2 0 16,-6 0 0-16,13 0 0 15,-12 0 0-15,-1-2 0 16,13 3 0-16,-14-3 0 16,-1 0 0-16,14 2 0 15,-5-2 0-15,0 0 0 16,3 4 0-1,-3-4 0-15,-8 2 0 16,11 0 0-16,-3-2 0 16,-9 2 0-16,14-2 0 15,-3 0 0-15,-6 0 0 16,1 2 0-16,9-2 0 16,-8-2 0-16,1 4 0 15,7-2 0-15,-10 3 0 16,9 3 0-1,3-4 0-15,1 0 0 16,-5 5 0-16,1-1 0 16,-3-2 0-16,5 0 0 15,2 1 0-15,-2-4 0 16,-3 2 0-16,-4-1 0 16,5-2 0-16,8 0 0 15,-5 2 0-15,6 0 0 16,-8 0 0-1,-6-2 0-15,17 5 0 16,-1-4 0-16,-14 2 0 16,-2-1 0-16,5-2 0 15,8 0 0-15,-3 0 0 16,3 0 0-16,3 2 0 16,-12-2 0-16,11 2 0 15,4-2 0 1,-10 4 0-16,11-2 0 15,-3 3 0-15,-7-1 0 16,8 0 0-16,-18 0 0 16,1 3 0-16,3-3 0 15,-6 2 0-15,3-4 0 16,-6 0 0-16,-5 3 0 16,-13-7 0-16,0-3 0 15,4-1-978-15,-11 2-7339 16</inkml:trace>
  <inkml:trace contextRef="#ctx0" brushRef="#br0" timeOffset="94310.29">16211 11078 26073 0,'2'2'209'15,"9"1"1134"-15,1-1-322 16,-4-2-596-16,8 0-163 16,3-2 164-16,-2-1 152 15,2-3 93-15,13 0 208 16,-3-1-385-16,5 3-270 16,6 0-127-16,-2 0-59 15,-4-1-22-15,11 3-9 16,1-2-5-1,9 2-1-15,0 2 0 16,-13 2-1-16,16 0 0 16,5-2 0-16,-16 2 0 15,6 0 0-15,-9-4 0 16,-2 2 0-16,13-4 0 16,1 2 0-1,5-4 0-15,-6 1 0 0,15-1 0 16,2-2 0-1,-2 1 0-15,-54 5 0 16,34 0 0-16,19-4 0 0,14-1 0 16,-15 1 0-16,-1 2 0 15,3-1 0-15,0-1 0 16,-2 2 0 0,-13 0 0-16,-5-3 0 0,3 3 0 15,7-2 0-15,-20 1 0 16,1 1 0-1,-13 2-1264-15,-2-2-3629 16,-7 0-4773-16</inkml:trace>
  <inkml:trace contextRef="#ctx0" brushRef="#br0" timeOffset="95208.78">13536 11042 11403 0,'0'0'2548'0,"6"2"474"16,2 1-490-16,1-3-1238 16,-3 0-541-16,7 2-227 15,8-2-186-15,0 2-135 16,15-2 436-16,5 4 752 16,1-2 1-16,13 1-291 15,8 2 21 1,18-2 437-16,3 1-455 0,-3 0-152 15,2-2-351 1,8-2-415-16,6 5-133 16,2-8-39-16,12 1-12 15,-27-4-2-15,5 2-2 16,6-4 0-16,4 1 0 16,5-2 0-16,-6 5 0 15,3-2 0 1,1 2 0-16,-9 2 0 15,-9 2 0-15,-5 2 0 16,-5 0 0-16,-13-4-674 16,-20 2-2446-16,-16-2-5478 15</inkml:trace>
  <inkml:trace contextRef="#ctx0" brushRef="#br0" timeOffset="96024.43">9708 11044 22870 0,'0'0'1021'0,"7"0"703"15,6 3 398-15,10-3-365 16,9-3-579-16,14-3-637 16,18 0-65-16,1-5 6 15,6 5-80-15,2-5-269 16,8 1-91-16,5-1-29 16,-1 5-882-16,4-7-2545 15,-4 4-7210-15</inkml:trace>
  <inkml:trace contextRef="#ctx0" brushRef="#br0" timeOffset="98553.98">9958 12232 19699 0,'0'0'1065'0,"0"0"593"0,0-2-226 16,2-2-610-16,0 1-511 16,1-3-364-16,3 4-111 15,3-2 104-15,12 2 85 16,9 2 7-16,10-2 60 16,11-1 246-16,6-1 809 15,11 0 238-15,5-2 413 16,8 1-577-16,-1-1-196 15,7 0-328 1,0-1-487-16,0 1-149 16,-7 1-43-16,-2 0-12 15,3 2-5-15,-3-3 0 16,5 6-1-16,2-4 0 16,-3 2 0-16,0-1 0 15,8 1 0 1,-9 0 0-16,-4 0 0 15,1 0 0-15,5-2 0 16,8 4 0-16,-18-2 0 16,-2-1 0-16,7-1 0 15,1 4 0-15,-8 0 0 16,-1-2 0-16,15 2 0 16,-6-4 0-16,-12 6 0 15,14-4 0-15,-5-2 0 16,6 4 0-1,-12-7 0-15,-2 10 0 16,8-8 0-16,-8 5 0 16,8-4 0-16,2 2 0 15,-4 2 0-15,-3-2 0 16,6 0 0-16,10 2 0 16,-17 2 0-16,9-2 0 15,-10-2 0 1,1 2 0-16,11 2 0 15,0-2 0-15,0 2 0 16,-8-2 0-16,1 2 0 16,-1-2 0-16,-2 0 0 15,17 2 0-15,-9-2 0 16,4 0 0-16,-2 0 0 16,-6 0 0-16,3 0 0 15,-3 4 0-15,2-4 0 16,0 3 0-1,3 3 0-15,-7-2 0 16,-4 3 0-16,7-7 0 16,3 6 0-16,-6 0 0 15,-9-2 0-15,8 3 0 16,6-3 0-16,-19 2 0 16,5-2 0-16,11-1 0 15,-10 3 0 1,-1-2 0-16,-5 0 0 15,8 1 0-15,-5 1 0 16,-9-2 0-16,8 0 0 16,-1 5 0-16,-6-2 0 15,5-1 0-15,16 0 0 16,-5 2 0-16,-7-1 0 16,-2-3 0-16,1 5 0 15,3-5 0-15,3 2 0 16,-9 1 0-1,-2-1 0-15,5-2 0 16,3 2 0-16,10 1 0 16,-12-3 0-16,-1 0 0 15,14 2 0-15,0-1 0 16,-4-1 0-16,-2 0 0 16,4 2 0-16,-6-1 0 15,17 1 0 1,4-1 0-16,-22-1 0 15,18 2 0-15,-1 2 0 16,-9-1 0-16,12-3 0 16,-1 3 0-16,-10-3 0 15,-2-3 0-15,15 4 0 16,-8-3 0-16,-10-2 0 16,6 6 0-16,9-6 0 15,-1 5 0 1,-6-3 0-16,1 0 0 15,-6 0 0-15,8 0 0 16,3 2 0-16,-6-4 0 16,3 2 0-16,74 1 0 15,-85-1 0 1,15-4 0-16,-11 8 0 16,-10-6 0-16,18 4 0 15,-3-4 0-15,1 3 0 16,-4 1 0-1,8-2 0-15,-8 2 0 16,3-4 0-16,1 2 0 16,-4 6 0-16,8-5 0 15,-15 1 0-15,7 2 0 16,-2-4 0-16,0 9 0 16,3-9 0-16,-6 2 0 15,8 3 0 1,-3-3 0-16,-9 0 0 15,3 0 0-15,73 5 0 16,-86-5 0 0,3-2 0-16,9 2 0 15,-11-1 0-15,0-3 0 16,9 1 0-16,-17 2 0 16,-5-1 0-16,7 2 0 15,-6-4 0-15,-7 2 0 16,6 0 0-16,3 0 0 15,-11 1 0 1,-2-1 0-16,-8-2 0 16,-5 0 0-16,3 2 0 15,-1-2 0-15,-10 0 0 16,-2-2 0-16,-5 2 0 16,-2 0 0-16,1 0 0 15,2 0 0-15,-9 0 0 16,0 0 0-1,-3 0 0-15,-3 2-2507 16,-3 0-5255-16</inkml:trace>
  <inkml:trace contextRef="#ctx0" brushRef="#br0" timeOffset="120448.46">9930 12260 22806 0,'0'0'1102'0,"8"2"212"0,0 0 338 15,4 2-6 1,10-4-481-16,67 0-459 15,-34-11-2699 1,2 1-4119-16,17-9-6690 16</inkml:trace>
  <inkml:trace contextRef="#ctx0" brushRef="#br0" timeOffset="121172.46">10348 11042 1537 0,'-8'0'7007'16,"-26"-4"-2487"-16,-7-2-2626 15,3 2-1290-15,2-5-601 16,-9 7-1195-16,-9-3 417 16,1 0 114-16,19 5 347 15,-11 0 195-15,-1 0 210 16,12-3 1764-1,13 1 732-15,11 2-383 16,10 0-995-16,12-4 871 16,29 2 183-16,1-5-484 15,-4 5-461-15,23 2-218 16,6 0-162-16,-5 2-316 16,1 1-364-16,-1-6-67 15,-15 1-227-15,-1 0-435 16,5 0-1398-1,-19-2-4172-15,-17-4-4146 16</inkml:trace>
  <inkml:trace contextRef="#ctx0" brushRef="#br0" timeOffset="122217.61">12964 10964 18834 0,'0'0'1262'0,"0"0"631"15,0 0-323-15,0 0-352 16,0 0-352-16,0 0-104 16,0 0-65-16,8-2-200 15,2 0-150-15,-4 0 170 16,2-2 51-16,11-3 129 16,0 1-209-16,2 1-12 15,1-1-194-15,2 4 114 16,8 0 163-1,13 0-46-15,1 2-313 16,-3 0-124-16,3 0-46 16,11 2-18-16,-12 0-8 15,-9-2-2-15,12 4-1 16,3 0-1-16,-7-1 0 16,-1-1 0-16,3 0 0 15,8 2 0-15,1-2 0 16,-19-2 0-1,8 5 0-15,7-1 0 16,0 0 0-16,4-2 0 16,-1 2 0-16,-6-1 0 15,-7 1 0-15,21-2 0 16,-1-2 0-16,3 0 0 16,3 2 0-16,-9 0 0 15,-1-2 0-15,20 2 0 16,-14 0 0-1,5 2 0-15,3-1 0 16,-14-3 0-16,5 0 0 16,9-7-1627-16,-13 7-3799 15,-1-8-4460-15</inkml:trace>
  <inkml:trace contextRef="#ctx0" brushRef="#br0" timeOffset="123167.69">15521 11000 18578 0,'12'0'1061'0,"29"7"1405"16,-3-2 207-16,8 7-1053 16,9-4-801-16,1-4-426 15,3 2-141 1,11-1-400-16,-7-3 164 15,-12 2 130-15,19 0-174 16,17-1-49-16,-14 1-11 16,6-3 347-16,-5 4-245 15,3-3 233-15,5-2-14 16,-12 0 869-16,8 0 131 16,11 2-320-16,-15-4-263 15,-4 2-360-15,4 0-193 16,7 0-65-1,1 0-22-15,-8 0-7 16,11 0-2-16,-11 0-1 16,-5 0 0-16,0 0 0 15,0 0 0-15,9 0 0 16,-5-2 0-16,-12 2 0 16,9-2 0-16,-3-5 0 15,-1 6 0-15,-5-4 0 16,-4 1 0-1,3 2 0-15,5-5 0 16,10 7 0-16,-3 0 0 16,-7 0 0-16,3 2 0 15,2 1 0-15,-16-3 0 16,-2 2 0-16,-1 0 0 16,-7 0 0-16,-1-2 0 15,-21 0 0 1,-2 0 0-16,-2 0-2052 15,6-2-5324-15</inkml:trace>
  <inkml:trace contextRef="#ctx0" brushRef="#br0" timeOffset="123746.76">18375 10936 29276 0,'0'3'581'0,"18"-1"645"16,14 0-272-1,2-2-529-15,13-2-237 16,-7-4-118-16,9-3-41 16,10-2-17-16,-11-1-729 15,1-1-448-15,4 5-1186 16,-7-3-894-16,6 5-1927 16,5-1-2158-16</inkml:trace>
  <inkml:trace contextRef="#ctx0" brushRef="#br0" timeOffset="124395.77">21514 11051 6150 0,'-9'-2'1860'0,"-8"2"-594"15,0 0-772-15,2 2-189 16,2 0 367-1,-1 0 140-15,6 0 397 16,3-2 1100-16,0 3 13 16,3-3 211-16,0 0-17 15,2 0 87-15,0 0 75 16,11 1-342-16,8 2-952 16,15 1-629-16,11 0-410 15,7 0-207-15,11 0-85 16,16 3-34-1,-7-5-14-15,78 9-2 16,-80-5-3 0,15 0 0-16,-20 1 0 15,-10-1 0-15,13 2 0 16,-17-1 0-16,-13-5 0 16,-10 2 0-16,-7-4-1195 15,-17 0-3271-15,-4 0-4308 16</inkml:trace>
  <inkml:trace contextRef="#ctx0" brushRef="#br0" timeOffset="132097.96">14404 6106 27482 0,'0'0'219'0,"-4"-4"-647"15,4 2-132-15,0-2-549 16,-3 4-639-16,-2 0-152 16,1 4 433-16,-14 11 1062 15,-1 10 2294-15,-13 13 1292 16,0 6-944-16,-6 1 241 16,6 2-701-16,3-1-1058 15,5-2-465 1,7-5-166-16,1-7-53 15,-2-3-21-15,2-4-8 16,2 3-2 0,10-24-4-16,4 0 1 15,-2-4-1-15,2 0 0 16,4-10 0-16,8-17 0 16,0-9 0-16,5 0 0 15,6-4 0-15,-8-3 0 16,-3 9 0-1,6-4 0-15,-2 8 0 16,14-3 0-16,-2-1 0 16,-3 2 0-16,-1-2 0 15,-6 2 0-15,2 5 0 16,1-3 0-16,4 7 0 16,2 0 0-16,12 8 0 15,-16 4 0-15,-2 7 0 16,7 8 0-1,-9 7 0-15,-5 10 0 16,8 11 0-16,-4 4 0 16,-2 2 0-16,-4 2 0 15,7 0 0-15,-6 0 0 16,2 0 0-16,-7-1 0 16,12 5 0-16,-8-3 0 15,-6-8 0-15,5 7 0 16,4-3 0-1,-5-1 0-15,-1-5 0 16,3-5 0-16,-5-10 0 16,-3-9 0-16,-1-3-200 15,-3-4-1325-15,-7-17-8403 16</inkml:trace>
  <inkml:trace contextRef="#ctx0" brushRef="#br0" timeOffset="132521.98">14212 6284 9481 0,'0'0'7470'0,"-2"-2"-2277"16,0 0-1712-16,-4 0-1211 15,6-2-1148-15,6-7-320 16,26-8 136-16,9 0 207 16,1-2-609-16,0 3-333 15,13 2-122-15,-12 3-53 16,5 5-18-1,-12 4-6-15,-15 4-2 16,1 4-2-16,-12-4 1 16,6 4-1-16,-8-2 0 0,0 2 0 15,5-2 0-15,-7 3 0 16,-4-3 0-16,-2 8-733 16,-11 5-3747-16,-11-2-5769 15</inkml:trace>
  <inkml:trace contextRef="#ctx0" brushRef="#br0" timeOffset="133468.76">15028 6024 27674 0,'2'2'-25'0,"2"15"-58"16,0 8 37-16,-2 3-186 16,-2 4-715-16,-2 6 39 15,4 8 489-15,-2 1 361 16,0 1 976-16,-6 12 450 16,0-11 252-16,-4 1 137 15,10-12-737-15,-2-10-394 16,-1-7-365-1,-4-9-148-15,7-7-65 16,0-3-20-16,0-2-7 16,-8-19-371-16,0-11-637 15,-5-1-247-15,5-1 100 16,-5-6 83-16,8 0 642 16,5 4 46-16,-2 0 225 15,2 0 191-15,7 0-31 16,-1 4 584-1,9 1 85-15,0 1 88 16,21-1 69-16,-6 6-166 16,-3 3-171-16,19 3 53 15,3 5-55-15,-11 5-254 16,-8 7-156-16,-17 4-61 16,4 7-18-16,-2 6-10 15,-3 4-4 1,-14 1-4-16,-4 1-1 15,-7 7 0-15,4-7-1 16,-1 0 0-16,-15-8 0 16,-1-7 0-16,-8 1 0 15,5-14 0-15,3-1 0 16,8-7 0-16,-2-4 0 16,10 3 0-16,1-1-125 15,3 2 62-15,2 7 8 16,4-1-28-1,-3 3-121-15,1 4-56 16,4 0 151-16,5 9 125 16,3 8 206-16,13 8 158 15,-5 3-219-15,9 5-88 16,5 3-44-16,4-4-18 16,-10 2-7-1,-8-4-2-15,20 1-1 16,-9-5-1-16,6-3 0 15,-3-6 0-15,-18-4 0 16,6-3 0-16,-8-4-696 16,3-1-1856-16,-2-10-4388 15,6-9-3688-15</inkml:trace>
  <inkml:trace contextRef="#ctx0" brushRef="#br0" timeOffset="133872.77">15792 6092 24663 0,'0'0'764'16,"4"1"240"-16,-2 4-37 15,2 7-165-15,-2 7-223 16,3 7-104-16,-1 8 181 16,-4 2 457-16,-4 10-45 15,1-3-658-15,-1 6-244 16,4-3-104-1,-4-3-39-15,4-8-14 16,-2-5-6-16,4-5-1 16,-2-6-2-16,0-6 1 15,-2-6-1-15,2-3-316 16,-8-2-1870-16,1-11-4310 16,-5-16-5450-16</inkml:trace>
  <inkml:trace contextRef="#ctx0" brushRef="#br0" timeOffset="134272.93">15438 6151 29724 0,'0'0'743'15,"0"0"-227"-15,4-5-160 16,10-3-362-16,2-1-881 16,12-1 180-16,1 1 534 15,16-5 816-15,1-1 318 16,5 9 48-1,17-5-617-15,-9 3-264 16,5 3-83-16,-3 3-30 16,-10 2-10-16,-1 2-3 15,2 3-1-15,-10-1-1 16,-13 0 0-16,-9-2 0 16,-12 0-342-16,-4 0-1774 15,-2 0-3933-15,9 3-3425 16</inkml:trace>
  <inkml:trace contextRef="#ctx0" brushRef="#br0" timeOffset="136216.55">13781 6881 17424 0,'0'0'378'15,"0"0"2"-15,0 0-149 16,3 0-206-16,-3 0-100 16,2 4 47-16,4 3 91 15,6-3 267-15,12 0 48 16,3-2 74-1,5 5 26-15,8-7 143 16,7-5 37-16,18 5 50 16,1-6 776-16,6 0-7 15,2-1-143-15,-4 1-419 16,11 2-455-16,-6-3-232 16,4 1-15-16,-5 2-177 15,11-2 65-15,12 3-69 16,-23-7 129-16,17 10 74 15,-8-13 526 1,20 9 224-16,-8-5-333 16,3 9-26-16,-3-8-108 15,5 3-370-15,1 4 102 16,5-2-156-16,-22 6-70 16,-3-6-17-16,0 3-5 15,-1-4-1-15,-17 2-1 16,-14-2 0-1,-7 2 0-15,-10-3 0 16,-8 1 0-16,-14 2 0 16,-5 0-476-16,-5 0-3483 15,-3-3-6870-15</inkml:trace>
  <inkml:trace contextRef="#ctx0" brushRef="#br0" timeOffset="152615.09">22364 11565 12716 0,'0'0'1594'0,"0"4"87"15,0 3-295 1,11 6-638-16,2-5-777 15,-1-4-244-15,7 0-135 16,-4-1 210-16,2-1 190 16,2 0 407-16,32 4 553 15,-24 1-694 1,-1-3 110-16,8 4 39 16,11 3-47-16,-1-1-143 15,-11-1 127-15,12-1-118 16,5-1-55-1,-2-1-109-15,-4-2 294 16,5 0-133-16,12-2 721 16,-19 3 115-16,-4-5 512 15,19 4-198-15,0 0-552 16,-3 0-394-16,9 0-221 16,-4-4-242-16,-10 0 84 15,10 5-29-15,8-10 138 16,-15 4-169-1,-1-2 149-15,12-1 106 16,-8 4 188-16,5 0-110 16,9-4-225-16,-17 2-188 15,6 2 181-15,14-2-185 16,-19-3 46-16,0-3 175 16,14 4-56-16,-7 0 15 15,-9-3 87 1,14 1 150-16,-9 2-73 15,-6 0 122-15,14 1 111 16,-8 3-258-16,8 3 215 16,-3-2-394-16,-8 4 115 15,11-1-16-15,3-2 165 16,2 3-101-16,-15-5-181 16,17 1-17-16,-6 2 79 15,-7-3-59-15,15 0-18 31,-1 2-8-31,1 2-2 0,-8 0 0 16,-4 5-1-16,15-5 0 16,-12 2 0-16,-1 5 0 15,16-1 0-15,-14 1 0 16,-3 0 0-16,-47-10 0 16,37 4 0-16,-7-5 0 0,5 4 0 15,4-1 0 1,-9-6 0-16,-10 3 0 15,1-4 0-15,-2 2 0 16,-8-1 0-16,-5 2 0 16,-7-4 0-16,-5 5-626 15,-5 0-1025-15,1 0-1991 16,-3-2-2785-16</inkml:trace>
  <inkml:trace contextRef="#ctx0" brushRef="#br0" timeOffset="182517.71">21152 1219 21300 0,'0'0'-230'16,"0"0"144"-16,0 0-34 16,0 0-34-16,2 0-41 15,0 2-49-15,0 4-148 16,2 5 142-16,-4 2 102 16,0 2 626-1,-4 6 1013-15,6 2 542 0,-6 0-83 16,6 3-144-1,-6 5-149-15,6-1-576 16,-4 2-301-16,2 1-396 16,2-1-227-16,2 0-159 15,2 0 37-15,-2 0-20 16,3 42-131 0,-12-36 154-16,10-4 125 15,-3 4-37-15,-2 4 278 16,0 0-51-1,2 3-77-15,2-3-169 16,-4 7-63-16,-4 0-28 16,6-7-10-16,-6 5-3 15,4 1-3-15,0 1 1 16,-2-7-1-16,2-2 0 16,0 3 0-1,-5 1 0-15,8-2 0 0,-6-6 0 16,3 4 0-1,-2 1 0-15,-2-5 0 16,10 6 0-16,-3-4 0 16,-6 3 0-16,1 3 0 15,-2-4 0-15,8-2 0 16,-6 5 0-16,4-5 0 16,-6 4 0-16,8-1 0 15,-4-6 0 1,2 7 0-16,-8-3 0 15,6 1 0-15,-4-2 0 16,6 2 0-16,-4 2 0 16,0-1 0-16,0-3 0 15,2 7 0-15,2-1 0 16,-4-4 0-16,2 0 0 16,-2-2 0-16,0 7 0 15,2-5 0-15,-5 4 0 16,5-3 0-1,3-1 0-15,3 11 0 16,-8-7 0-16,6 3 0 16,-4-1 0-16,0 7 0 15,-2 0 0-15,-4 2 0 16,-1 8 0-16,0-7 0 16,5-1 0-16,-2 15 0 15,2-16 0-15,4 0 0 16,-2 7 0-1,4-6 0-15,-2-4 0 16,3 10 0-16,-8-8 0 16,1-2 0-16,4-6 0 15,3-1 0-15,-16-11 0 16,9-9-137-16,0-9-831 16,2-9-1532-16,0 1-2965 15,-4-10-3928-15</inkml:trace>
  <inkml:trace contextRef="#ctx0" brushRef="#br0" timeOffset="186056.33">21134 1240 26713 0,'0'0'-1132'15,"4"-2"217"-15,5-2 475 16,-4 1-534-16,5-1-70 16,5-2 54-16,-7 2 753 15,9 1 299-15,0-1 1434 16,5 2 807-1,3 0-236-15,-2 4 3 16,2 0-345-16,15 5-486 16,-3-7-761-16,7 2-268 15,-4 0-128-15,9 0-48 16,6-2-21-16,-7 0-9 16,10 3-2-16,-1-2-1 15,2-1-1-15,-1 0 0 16,9 3 0-1,-6-6 0-15,-25 6 0 16,30-3 0-16,-13-3 0 16,-9 3 0-16,17 0 0 15,-7-1 0-15,5 1 0 16,-10 0 0-16,5 4 0 16,-13-3 0-16,3 4 0 15,1 1 0-15,3-2 0 16,3-1 0-1,-13 1 0-15,-6 2 0 16,17-2 0-16,-5-1 0 16,-2-2 0-16,-5 2 0 15,1 1 0-15,17-4 0 16,-17 2 0-16,-8 0 0 16,-20-2 0-16,19 2 0 15,9-2 0-15,5 0 0 0,-13 0 0 16,8 0 0-1,6-2 0-15,-1 0 0 16,-12 2 0-16,3-2 0 16,0 0 0-16,4 2 0 15,11-2 0-15,-17 2 0 16,-5-3 0-16,13 2 0 16,-12-2 0-16,8 3 0 15,25 0 0 1,-33 0 0-1,-3 0 0-15,7 0 0 16,10 3 0-16,-10-6 0 16,1 3 0-16,4-2 0 15,-16 0 0-15,22 0 0 16,-16-4 0-16,2 1 0 16,6 3 0-16,-17 2 0 15,20-2 0 1,-27 2 0-16,19 2 0 15,-16 0 0-15,6 1 0 16,-10-3 0-16,7 2 0 16,-11 0 0-16,12 0 0 15,-12 0 0-15,4 0 0 16,-2 2 0-16,2 0 0 16,-6 5 0-16,-2 6 0 15,2 2 0-15,-6 4 0 16,2 0 0-1,4 5 0-15,-4 3 0 16,-2 5 0-16,2 2 0 16,-2-2 0-16,6 4 0 15,-2 0 0-15,-4-2 0 16,-2 9 0-16,-2-8 0 16,8 8 0-16,-6-2 0 15,4 5 0-15,-7-6 0 16,7 3 0-1,-11-1 0-15,11 5 0 16,0-6 0-16,8 5 0 16,-18 1 0-16,12 4 0 15,-10-9 0-15,10 7 0 16,-10-1 0-16,14-1 0 16,-10 0 0-16,4 2 0 15,-2 0 0-15,8-7 0 16,-14 3 0-1,12-7 0-15,-8 6 0 16,4-5 0-16,-9 1 0 16,13 0 0-16,-4 1 0 15,7-3 0-15,-16 2 0 16,7-2 0-16,-2 0 0 16,12 3 0-16,-8-3 0 15,2 1 0-15,-14 1 0 16,18 2 0-1,-12-1 0-15,10-1 0 16,-15 0 0-16,11 5 0 16,-6-5 0-16,8 3 0 15,-4-3 0-15,6 2 0 16,-8 3 0-16,10-5 0 16,-14-4 0-16,8 5 0 15,-5 1 0-15,5-2 0 16,-2-3 0-1,4 3 0-15,-8 0 0 16,4-1 0-16,-6 1 0 16,8-4 0-16,-12 4 0 15,16-2 0-15,-10-4 0 16,8 3 0-16,-4 3 0 16,4-2 0-16,2 5 0 15,-4-5 0-15,-4-4 0 16,14 4 0-1,-16 0 0-15,14-4 0 16,-8-2 0-16,4 0 0 16,-4 2 0-16,6 0 0 15,-4-6 0-15,2 3 0 16,-6-5 0-16,6 4 0 16,-1-3 0-16,3 3 0 15,-10-7 0-15,8 5 0 16,-8-4 0-1,8 1 0-15,-4-2 0 16,6 0 0-16,-6 1 0 16,0 0 0-16,0-5 0 15,5-2 0-15,-7 4 0 16,4-4 0-16,-4 4 0 16,10 1 0-16,-10-1 0 15,4-4 0-15,-4-4 0 16,4 2 0-1,-2-1 0-15,0 4 0 16,-2-5 0-16,2 2 0 16,-2-1 0-16,4 4 0 15,-4-2 0-15,2-3 0 16,2-2 0-16,2-2 0 16,-4-7 0-16,2 0 0 15,1-2 0-15,-3-2 0 16,0 2 0-1,0-2 0-15,0 0 0 16,0 0 0-16,0 0 0 16,0 0 0-16,0 0 0 15,-5-2 0-15,-10 0 0 16,2 0 0-16,-5 2 0 16,-4 0 0-1,-5 0 0-15,12 2 0 0,-6-4 0 16,-3 0 0-1,8-2 0-15,-14-3 0 16,1-2 0-16,-5 4 0 16,6 0 0-16,1-3 0 15,1-1 0-15,-6 1 0 16,-2-1 0-16,-12 1 0 16,21 2 0-16,-5-3 0 15,-6 3 0 1,5-1 0-16,-16 1 0 15,13 2 0-15,0 0 0 16,-9-1 0-16,-9-1 0 16,5 2 0-16,15 2 0 15,-16 0 0-15,3-1 0 16,-1 1 0-16,12 0 0 16,-9 0 0-16,-1 2 0 15,29 0 0-15,-23-2 0 16,2 0 0-16,-9-1 0 15,1 2 0-15,2-6 0 16,5 5 0-16,11-2 0 16,-21 6 0-16,1-6 0 15,-1-1 0-15,11 5 0 16,8-2 0-16,-14 0 0 16,1-2 0-16,-3 2 0 15,19 2 0-15,-11-5 0 16,-7 1 0-1,-7 3 0-15,9 1 0 16,14-3 0-16,-14 1 0 16,6-2 0-16,-14 2 0 15,15 0 0-15,9-3 0 16,-14-1 0-16,5 0 0 16,-14 1 0-16,19 1 0 15,3 0 0-15,-8-2 0 16,-1-1 0-1,5 3 0-15,0-2 0 16,-11-1 0-16,12 3 0 16,-9-2 0-16,6 1 0 15,-4-1 0-15,13 0 0 16,-5 1 0-16,0 1 0 16,-5-2 0-16,5 4 0 15,-8-2 0-15,5 0 0 16,10-1 0-1,2 3 0-15,-7-2 0 16,-2 4 0-16,5-5 0 16,-9 5 0-16,-2-1 0 15,16 1 0-15,1-3 0 16,0 3 0-16,-4 0 0 16,-7 0 0-16,5-2 0 15,2 4 0 1,-7-4 0-16,11 4 0 15,-6-2 0-15,10 0 0 16,1 3 0-16,-1-2 0 16,-6 2 0-16,12-3 0 15,1 2 0-15,2-2 0 16,-2 0 0-16,0 2 0 16,1-2 0-16,5 0 0 15,-3 0 0-15,-1-7 0 16,2-7 0-1,4-8 0-15,0-5 0 16,3 0 0-16,-2-1 0 16,9-2 0-16,-2 5 0 15,3-7 0-15,-6 3 0 16,-1-3 0-16,-8 8 0 16,6 1 0-16,-4 2 0 15,2 4 0 1,0 7 0-16,0 3 0 15,-2 1 0-15,2 2-357 16,-2 2-3689-16</inkml:trace>
  <inkml:trace contextRef="#ctx0" brushRef="#br0" timeOffset="188854.95">22011 1181 12043 0,'0'0'458'0,"0"0"149"16,0 0 13-16,0 0-452 16,0 0-219-16,0 0 19 15,2 0 8-15,-2 0 482 16,0 0 834-16,0 0 440 16,0 0 222-16,0 0 171 15,0-3 58-15,-2 2-358 16,2-6-349-1,0 1-377-15,4-7-67 16,0-1 89-16,-4-2-494 16,4 4-96-16,10-3-295 15,-12 2-83-15,6 1-101 16,-4-1 4-16,2 0-55 16,-2-2 29-16,-2 3 93 15,3-8-119 1,6 4 209-16,-7 1 109 15,4-4-153-15,-6 6-91 16,5-4-36-16,-5 2-21 16,2 1-10-16,-2-1-5 15,6 0-3-15,-6-2-2 16,7-2 0-16,-4 4 0 16,-1-4-1-16,2 4 0 15,-6 1 0-15,2-2 0 31,4 2 0-31,-6 3 0 0,2-1 0 16,0-3 0-16,5 2 0 16,-2 2 0-16,-1 1 0 15,4-1 0-15,0-1 0 16,-1 5 0-16,-5-1 0 16,4-3 0-16,0 3 0 15,12-5 0-15,-4 3 0 16,-1-1 0-1,4 0 0-15,6-1 0 16,-4 3 0-16,-10 0 0 16,7 1 0-16,2 0 0 15,-4 1 0-15,-1 1 0 16,23-5 0 0,-19 7 0-16,8 0 0 15,1-1 0-15,-7 4 0 16,-2-2 0-1,-2 1 0-15,7 0 0 16,-12 2 0-16,10 0 0 16,2 2 0-16,-7 0 0 15,13 1 0-15,-6-2 0 16,-13-1 0-16,10 3 0 16,2 1 0-16,-2 1 0 15,2 1 0-15,-6 0 0 16,4-2 0-1,-8 3 0-15,8-1 0 16,0 0 0-16,-5 0 0 16,0 3 0-16,4 2 0 15,-5-3 0-15,0 3 0 16,-7-1 0-16,5 1 0 16,-1 4 0-16,0-5 0 15,8 5 0-15,-4-2 0 16,-1-1 0-1,2-3 0-15,0 6 0 16,-3-5 0-16,2 12 0 16,-12-8 0-1,6-1 0-15,0 2 0 16,5 2 0-16,-2 0 0 16,-7-7 0-16,-8 3 0 15,8 2 0-15,0 0 0 16,0-3 0-1,3 3 0-15,-1 0 0 16,-8 0 0-16,2-3 0 16,2 4 0-16,0-4 0 15,-2 3 0-15,-2-1 0 16,2-1 0-16,2-2 0 16,2 1 0-16,0 1 0 15,3-2 0-15,-2 0 0 16,-5-1 0-1,2 3 0-15,0-1 0 16,2-1 0-16,-2 4 0 16,-2 0 0-16,0-1 0 15,0 6 0-15,2-6 0 16,-6 1 0-16,8 0 0 16,0 0 0-1,0-2 0-15,-2-3 0 0,0 1 0 16,0-5 0-1,-4 0 0-15,2 1 0 16,2-3 0-16,0 0 0 16,-2-2 0-16,3 1 0 15,-3-2-1508-15,0-1-2322 16,-5-1-6541-16</inkml:trace>
  <inkml:trace contextRef="#ctx0" brushRef="#br0" timeOffset="198097.19">21132 2216 10826 0,'0'0'1215'0,"0"-4"-131"16,6-1 133-16,1 1-1569 15,10-4-96-15,-2 5 85 16,-13 2 155-1,0-2 208-15,2 1 568 16,-4 2 810-16,0 0 618 16,-2 0-835-16,-6-2 1027 0,-5 2 45 15,3 2-67-15,1-2-206 16,4 2-371-16,-3-2-121 16,-4 0-365-16,-4 0-377 15,4 0-138-15,-3 0-282 16,-6-2-182-16,6 0-23 15,-21-2-19 1,13 2-68-16,-9-2 11 16,4 1-14-16,-1 3-6 15,-7 3-40-15,-6-3 20 16,8 0-28-16,-2 2 25 16,-5 6 10-16,1 3 82 15,-1 1-44-15,11 3-19 16,-2 2-6-1,11-2-4-15,3 2 0 16,-2 4 0-16,-2 0-1 16,3-2 0-16,7 0 0 15,-6 4 0-15,0 1 0 16,7-3 0-16,4 0 0 16,5 2 0-16,0 1 0 15,4 1 0-15,-4-2 0 16,6 3 0-1,8 1 0-15,-2-5 0 16,4 1 0-16,4-2 0 16,3 0 0-16,0-2 0 15,-4-2 0-15,-3-2 0 16,4 4 0-16,-6-2 0 16,3 2 0-16,6-2 0 15,4 0 0-15,1-4 0 16,2-3 0-1,-5-2 0-15,-11 1 0 16,6-1 0-16,0-1 0 16,10-1 0-16,-9 0 0 15,9-3 0-15,-1-1 0 16,-2 0 0-16,5-2 0 16,-9 0 0-16,11 0 0 15,-9 0 0-15,21 0 0 16,-18-2 0-1,-7 0 0-15,5-1 0 16,-8 2 0-16,-5-2 0 16,2 1 0-16,-1-4-257 15,-6-2-3545-15,1-1-6151 16</inkml:trace>
  <inkml:trace contextRef="#ctx0" brushRef="#br0" timeOffset="199813.2">21102 3532 8104 0,'0'0'59'0,"0"-2"594"15,0 0 633-15,0 0-232 16,0 0 537-16,0-2 379 15,0 0-225 1,2-3-295-16,-2 5-340 16,3-2-192-16,-3 1 222 15,2-1-250-15,-2 0-319 16,-7 0 187-16,-5 0 961 16,-1 0-201-16,-8 4 173 15,-8 0-171-15,-1-3-315 16,-6 3-507-1,5-2-58-15,1 4-374 16,-11 1-140-16,-1-1-75 16,4 0-31-16,-9 2-11 15,11 2-6-15,-8 0-2 16,1 3 0 0,16-1-1-16,1 3 0 0,4 2 0 15,-6 6 0 1,-2 0 0-16,-4 2 0 15,5-2 0-15,11 3 0 16,-7 7 0-16,11-6 0 16,-2 5 0-16,4 1 0 15,-2-1 0-15,2-3 0 16,0 5 0-16,8-3 0 16,4 1 0-16,-7-3 0 15,12 1 0-15,-5-1 0 16,0 0 0-1,8 3 0-15,2 0 0 16,2-3 0-16,2-4 0 16,-6 1 0-16,3 1 0 15,6-4 0-15,-2 0 0 16,8 2 0-16,-2-2 0 16,5 0 0-16,7-4 0 15,-7-4 0-15,-7-1 0 16,4 1 0-1,9 1 0-15,13-3 0 16,-1-3 0-16,-11-4 0 16,1 0 0-16,5-2 0 15,11-4 0-15,-9-2 0 16,-9 0 0-16,10-1 0 16,9-3 0-16,-3-5 0 15,-18 6 0-15,-15 1 0 16,-1-3 0-1,2 5 0-15,-4 0-1292 16,-8-7-10495-16</inkml:trace>
  <inkml:trace contextRef="#ctx0" brushRef="#br0" timeOffset="202187.56">24354 2023 15823 0,'0'0'1185'15,"0"0"42"-15,0 0-70 16,0 0-165-16,0 0-348 16,0 0-269-16,2-2-185 0,-2 2 146 15,0-2 538-15,-2 2 405 16,2-2 339-1,-2 2-20-15,2 0-373 16,2-2 226-16,12-3-89 16,10 4-609-16,4-4-383 15,14 1-184-15,-7 0-114 16,4-3-43-16,-7 5-17 16,4 0-7-16,2 0-3 15,-9-2-1-15,-3 2 0 16,-1 2-1-1,3 2 0-15,-5 0 0 16,15 2 0-16,-8 0 0 16,6 1 0-16,-11-1 0 15,-6 0 0-15,6 4 0 16,1 3 0-16,2 4 0 16,-1 2 0-16,3 0 0 15,-7-2 0-15,-4 3 0 16,4 4 0-1,15-1 0-15,-6-4 0 16,-6-2 0-16,-3-2 0 16,-4 1 0-16,-11 1 0 15,11 2 0-15,-7 2 0 16,2 5 0-16,-6-3 0 16,0 2 0-16,-3 0 0 15,-5 0 0-15,0-1 0 16,0 1 0-1,-2-2 0-15,-7 6 0 16,7-5 0-16,-4-1 0 16,-2 0 0-16,-6 4 0 15,10-3 0-15,-4 1 0 16,2-8 0-16,2 1 0 16,-5 6 0-16,-4-1 0 15,3-4 0-15,-1 0 0 16,-11 2 0-1,8-4 0-15,-7 2 0 16,-5-3 0-16,10-3 0 16,-2 0 0-16,-2-1 0 15,-2 3 0-15,-1 2 0 16,2-5 0-16,4-1 0 16,-7-1 0-16,4 1 0 15,7-5 0-15,2 0 0 16,-8 3 0-1,3-3 0-15,-8 2 0 16,-2-2 0-16,-9 0 0 16,13-1 0-16,-1-3 0 15,-2 2 0-15,4-2 0 16,-5 0 0-16,-8 2 0 16,0-4 0-16,-1 0 0 15,1-1 0-15,-3 2 0 16,-3-2 0-1,6-1 0-15,-1-5 0 16,11 3 0-16,10 2 0 16,-8 0 0-16,-5-5 0 15,7 5 0-15,0 0 0 16,0-1 0-16,8 4 0 16,-1-4 0-16,11 5 0 15,2 0 0-15,-2-2 0 16,2 2 0-16,-2-2 0 15,2 2-1040 1,0 0-3199-16,0 4-6554 16</inkml:trace>
  <inkml:trace contextRef="#ctx0" brushRef="#br0" timeOffset="203934.68">24281 3717 7623 0,'0'-5'1161'0,"-4"-9"-163"15,6 1-145-15,-2-2-304 16,-2 4-186-1,4 1-19-15,0 3 318 16,-2 1 697-16,0 2 476 16,-2 2-496-16,2 2-173 15,0 0 643-15,2 0 1416 16,10 4 73-16,11 3-341 16,-4 1-1297-16,6 2-798 15,-10-3-510-15,14 5-156 16,10 1-102-1,1-2-57-15,-6-5-22 16,-5 3-10-16,15 4-2 16,3 1-2-16,-7-3 0 15,7-1-1-15,-7 1 0 16,24 0 0-16,-21-7 0 16,-7 0 0-16,12 4 0 15,15-1 0-15,-31-1 0 16,0 2 0-1,4 3 0-15,0 6 0 16,4 0 0-16,-6-2 0 16,-7 1 0-16,-3 4 0 15,-10 3 0-15,8 2 0 16,-10 1 0-16,1 4 0 16,-2-1 0-16,0 9 0 15,-14-6 0-15,6 2 0 16,-6 0 0-1,-5-1 0-15,-7 3 0 16,-4-4 0-16,-1 0 0 16,-2-2 0-16,0 0 0 15,-3 1 0-15,-7-5 0 16,2-7 0-16,3-1 0 16,-3-3 0-16,6-2 0 15,-17 0 0-15,-9-5 0 16,2-1 0-16,17-3 0 15,-20 0 0 1,-9-4 0-16,6 0 0 16,-5 2 0-16,8-6 0 15,9 2 0-15,8 0 0 16,8-3 0-16,3 4 0 16,-1-6 0-16,-1 1 0 15,6-3 0-15,4 3 0 16,5 0 0-1,-6-3-856-15,10 5-1502 16,0-1-3501-16</inkml:trace>
  <inkml:trace contextRef="#ctx0" brushRef="#br0" timeOffset="205329.31">22368 5359 10730 0,'0'0'2005'0,"0"0"161"16,-4-2-449-1,2 2-876-15,-2 0-298 16,0 2-483-16,-4 0-59 16,-6 5 119-16,2 3 276 15,3 1 389-15,1 3 995 16,-1 4 379-16,-4 3-189 16,5 2-347-16,2 0-132 15,-4 3-274-15,0-1-431 16,4 0-124-1,2-1-71-15,0 3-155 16,2-3-70-16,-2 1-192 16,0-2-95-16,4 0-43 15,0 1-18-15,8 1-10 16,-4-4-4-16,6 3-3 16,-3-3 0-16,2 2 0 15,-3-2-1 1,11 2 0-16,2-1 0 15,-2 1 0-15,-7-8 0 16,8 4 0-16,6 0 0 16,-2-2 0-16,1-2 0 15,1-5 0-15,3 3 0 16,-6-7 0-16,0 3 0 16,-6-5 0-16,2 0 0 15,11 0 0-15,1-4 0 16,-1-2 0-1,2-4 0-15,3-1 0 16,-14 3 0-16,-2-2 0 16,3-5 0-16,6-1 0 15,9-1 0-15,-1-4 0 16,-14 0 0-16,2-2 0 16,-3-2 0-16,-7 2 0 15,14-7 0-15,0 3 0 16,-4-4 0-1,-2 1 0-15,7-8 0 16,-3 2 0-16,-8 3 0 16,-1-5 0-16,6-2 0 15,-14 5 0-15,-1-1 0 16,-6 2 0-16,6 0 0 16,-6 3 0-16,9 0 0 15,-11 1 0-15,4 1 0 16,-9 1 0-1,3 5 0-15,0 2 0 16,2 11 0-16,0 2 0 16,2 1 0-16,0 2-4697 15</inkml:trace>
  <inkml:trace contextRef="#ctx0" brushRef="#br0" timeOffset="211643.81">21227 5683 5894 0,'0'-2'2970'15,"0"-6"338"-15,2-1-110 16,2 1-1295-16,-4 1-973 15,3 1-433-15,0-1-221 16,-1 3-46-16,-2 2-94 16,0 0 50-16,0 2 204 15,0 0 928-15,-2 2 991 16,-4 9 258-16,-4 4-274 16,4 2-634-16,-6-1-346 15,-4 8-548-15,6-5-438 16,-3-1-172-1,1 2-79-15,1-1-41 16,-4 6-17-16,-1-1-10 16,6-1-5-16,-2 0-1 15,6 0-2-15,-5 3 1 16,3 1-1-16,-8 5 0 16,6 0 0-16,-14-3 0 15,10 3 0 1,-1 2 0-16,-4-7 0 15,-6 12 0-15,7-6 0 16,8-3 0-16,-4 4 0 16,-12 0 0-16,-1 0 0 15,5 0 0-15,-1-5 0 16,4 3 0-16,-2 2 0 16,6-4 0-16,-4 7 0 15,-3 2 0-15,2-6 0 16,-6 3 0-1,-5-4 0-15,5 6 0 16,5-2 0-16,4-6 0 16,2 6 0-16,3-4 0 15,5-11 0-15,-2-4 0 16,7-9 0-16,0-3 0 16,2-5-694-16,0-3-3034 15,4-24-7428 1</inkml:trace>
  <inkml:trace contextRef="#ctx0" brushRef="#br0" timeOffset="213359.88">21239 5556 11147 0,'0'0'3124'0,"0"0"-1143"16,2 2-717-16,-2-2-353 16,0 0-130-16,-2 4 57 15,-4-2 956-15,-4 2 364 16,2-1-325-1,-14 1-87-15,-1 0-249 16,5 1-540-16,-6-1-201 16,-4 2-129-16,1 3-444 15,-3-1 79-15,-10 1-24 16,11-3-43-16,-5 2-98 16,4-1 79-16,13-1-155 15,-6-2 76-15,4 1-54 16,-7-1-21-1,10-2-13-15,5 2-4 16,6-4-3-16,-1 2-1 16,2-2 0-16,2 2-1 15,2-2 0-15,-2 3 1 16,4 3-1-16,8 4 0 16,16-1 0-16,0-1 0 15,3 3 0-15,-6-3 0 16,-4 3 0-1,19 3 0-15,-6 2 0 16,9 0 0-16,-10-1 0 16,-3 6 0-16,8 3 0 15,-4 3 0-15,9-1 0 16,-9-1 0-16,-6-6 0 16,-1 5 0-16,7-1 0 15,2 0 0-15,-2-2 0 16,-9-6 0-1,3 2 0-15,-20-9 0 16,2 1 0-16,-2-3 0 16,0 1 0-16,-1-6-12 15,-5-1 16-15,0 0-1 16,2 3-2-16,-2-3 1 16,5-7-1-16,-8-1 0 15,-1-7-127-15,-1-4 12 16,1-2-177-1,0-2 63-15,2-1 89 16,-4-1 175-16,12-1-3 16,-6-1-35-16,4-5 110 15,-10-2-4-15,4 3-62 16,2-1 32-16,8-2 12 16,-8 6 74-16,0-1-17 15,-4-3-78-15,8 9-39 16,-2 0-14-1,0 1-6-15,3 5-4 16,4 3 0-16,-7 7-55 16,2-1 21-16,-6 1-39 15,2 3 119-15,0 2-10 16,0 0-14-16,0 0-8 16,0 2-6-16,0 0-72 15,2 0 47-15,-2 0-34 16,0 0 85-1,0 0-1-15,0 0-11 16,0 0-6-16,0 0-7 16,0 0-4-16,0 0-2 15,-2-2-1-15,2 0-1 16,0-3-2-16,2 1 0 16,-2 0 0-16,0 0-1 15,0 2 1-15,2-2-1 16,-2 1 0-1,0 3 0-15,0-2 0 16,-2 2 0-16,2-2-24 16,0 0-110-16,-4-1-246 15,2 2-12-15,-5-2-24 16,0 3 187-16,-5 3 96 16,-7 1 42-16,-2 5 9 15,-11-1 168-15,1 0-141 16,3 3 104-1,0-9-97-15,-12 6 62 16,-7-4 51-16,1 5-119 16,21-9 140-16,-3 7-168 15,-2-1-1710-15,-7 2-2784 16,9-3-3923-16</inkml:trace>
  <inkml:trace contextRef="#ctx0" brushRef="#br0" timeOffset="-214688.7">20498 6496 28091 0,'0'0'-402'0,"0"0"510"15,0 0-15-15,0 0-212 16,0 0-87-16,6 2 58 16,0 2 256-16,4 3 863 15,6 5 487-15,4 5 68 16,0 0-824-1,7 4-362-15,9 2-192 16,-6-1-92-16,-1-3-32 16,7 6-14-16,-8 0-6 15,10 1-2-15,0-3-1 16,-10 1-1-16,-3-5 0 16,-10-2 0-16,-1-3 0 15,-2 1 0 1,2-3 0-16,-6 0 0 15,1-4 0-15,-7-4 0 16,-2-2 0-16,0 0 0 16,0 2 0-16,-2 3 0 15,-2-3 0-15,-3 2 0 16,3-3 0-16,-12 1 0 16,2-2 0-16,2 2 0 15,-10-4 0 1,4 2 0-16,-8 0 0 15,5 1 0-15,-7-3 0 16,14 0 0-16,-9 2 0 16,1 0 0-16,-14 0 0 15,2 0 0-15,-1-4-151 16,1 2 146-16,0 0-89 16,19 0 44-16,-9 0-12 15,-7 0 139-15,1-2-150 16,-2 2-68-1,10 0 117-15,-4 0 187 16,-4 2-247-16,13 0 2 16,1 2-6-16,4-2 306 15,2-2-100-15,10 2-23 16,-4-2-30-16,2 0-22 16,0 0-18-16,6-6-2 15,2-9-10-15,4 0-6 16,-2-4-3-1,2-6-3-15,-4 0 0 16,4-1 0-16,1-5-1 16,0-1 0-16,-5 2 0 15,-1 0 0-15,-5 3 0 16,-3 1 0-16,6-3 0 16,-3-1 0-16,-5 5 0 15,1 2 0-15,-2 1 0 16,1 5 0-1,3 3 0-15,2 1 0 16,-4 2 0-16,2 1 0 16,-3-3 0-16,3 5 0 15,0-1 0-15,2 3 0 16,-2-1 0 0,0 3 0-16,2 2 0 0,0 2 0 15,-2-2 0-15,2 2 0 16,0 0 0-1,0 0 0-15,0 0 0 16,2 4 0-16,0 0 0 16,0 1 0-16,0-1 0 15,0 2 0-15,3 7 0 16,1-2 0-16,5 3 0 16,10 4 0-16,11 0 0 15,8 4 0-15,-13-8 0 16,9 8 0-1,-12-4 0-15,-16 4-1494 16,-4-8-10408-16</inkml:trace>
  <inkml:trace contextRef="#ctx0" brushRef="#br0" timeOffset="-205588.67">21140 1261 3716 0,'0'0'2124'0,"-4"-2"104"15,4 0-293-15,-2 0-264 16,2 2-406-16,0-2-444 16,-2 0-227-16,2 0-274 15,-2 2-187 1,0-3 247-16,2 3 690 0,0 0 104 15,0 0-152 1,0-2-214-16,0 2-80 16,0 0-187-16,0 0 18 15,0 5 988 1,2-3-1093-16,0 0-96 16,-2 0-77-16,0-2 214 15,0 0 82-15,0 0 23 16,0 0 41-1,0 0 125-15,0 0-140 16,0 0 110-16,0 0-138 16,0 0 59-16,0 0-241 15,0 0-164-15,2 0-85 16,-2 0 17-16,0 0-156 16,0 0-21-16,2-2 41 15,-2 2 159 1,0 0-73-16,0 0 75 15,0 0-75-15,0 0 105 16,0 0-188-16,0 0-12 16,0 0-3-16,0 4 101 15,-2 2-84-15,2 5-105 16,-2 2 94-16,0-1-49 16,2 3 204-16,2 0 129 15,-4 0-89-15,2 2-108 16,0 2-64-1,0 0-33-15,2-2-16 16,-4 2-8-16,6 2-4 16,-4 0-2-16,2 0-1 15,0-4 0-15,7 0-1 16,-4 4 0-16,1-1 0 16,-4-2 0-16,-2 1 0 15,2 3 0-15,-4 1 0 16,6 2 0-1,-2-2 0-15,2-14 0 16,-4 12 0-16,5 2 0 0,-3 1 0 16,2 4 0-16,2 1 0 15,3-2 0-15,-5 1 0 16,-4 4 0-16,-2-7 0 16,2 7 0-16,0 2 0 15,-5-5 0-15,14 5 0 16,0 0 0-1,-3 2 0-15,-2 0 0 16,-2-4 0-16,4 6 0 16,-6-4 0-16,4 2 0 15,-4 4-96-15,-10 0 19 16,4 2-91-16,4-1 104 16,4-5 95-16,-4 4-18 15,-4 0 107-15,-1 2 6 16,5-6-58-1,0 7-40-15,-3-1-55 16,-3 1 55-16,6-6-93 16,-2 4 115-16,-3 3-30 15,1-4-12-15,6 1-5 16,-2-1-78-16,-4 2 44 16,4-2-38-16,6 1 79 15,-8 1 52-15,2 0-155 16,6 5 117-1,-2-7 60-15,-4-2-125 16,0 2 119-16,-5 5-45 16,5-5-40-16,-7 3 23 15,7 1-108-15,-8 9-5 16,8-9 3-16,2 1 58 16,-2 4-17-16,-4-3-28 15,6-2 32-15,2 1 147 16,-4-1-60-1,-2 5-63-15,1-4 172 16,3-1-246-16,-2 0 315 16,2 3-131-16,0-11-54 15,5 4-18-15,-17 0-7 16,2 7-4-16,10-9-2 16,0 2 1-16,0 1-1 15,-6-1 0 1,1 2 0-16,12-6 0 15,-11 4 0-15,4-8 0 16,4 42 0 0,-2-42-73-16,-6-3 78 15,2 5 34-15,-1-4-23 16,3 2-9-16,3-5-3 16,1-3-3-16,-8-3-1 15,1 0 1-15,3-4-1 16,-4 2 0-1,0-4-63-15,2 4-129 16,0-2 64-16,2 1-102 16,4 2 105-16,-4-5-118 15,2-3-67-15,-4 1 52 16,2-7 13-16,2 0 89 16,-2-3-5-16,-2-1 103 15,2 0-15-15,2 0 94 16,-2-2-71-16,0 2 49 15,2-2-11 1,-2 2 50-16,9 2-144 16,-1-4-141-16,2-1-204 15,8-6 221-15,2-2-103 16,6 1 137-16,4 0 104 16,1-1 236-16,3 3-47 15,-12 1-176-15,7 1 74 16,50 2 128-1,-47 4-195 1,-3 1 23-16,11-2 237 16,8-1-209-16,-3 0 33 15,-13 3-26-15,6-6 424 16,2-1-68-16,9 2-77 16,-5 2 27-16,-14 0-8 15,19 2-86-15,-11-2-14 16,7 3-105-1,-10 3 154-15,-1-4-265 16,6 2 95-16,3 1-154 16,-1-5 325-16,-12 4-93 15,-9-6-167-15,19 4-65 16,4-2 327-16,-7 4-167 16,-13 0-112-16,4 0 42 15,8 0 18-15,39 3 127 31,-46-5-253-31,-1-2 184 16,-6 0-196-16,13 2 190 16,-1-2-113-16,-4 5 243 15,-6-5-254-15,4 1 116 16,1 4-69-16,1-5 146 16,2 2-274-16,-4 0 132 15,5 2-16-15,-9-4 114 16,3 2 4-1,-1 1-37-15,4 3-86 16,3-2 69-16,-5 0-79 16,4-1 128-16,-5-2-213 15,5 4 101-15,-4-3 187 16,6 2-107-16,-7-2-141 31,11 2 59-31,-6 1 13 0,-9-1-12 0,7 2 10 16,2 1 5-1,-8-3-100-15,8-2 235 16,13 5-30-16,-15-6-172 16,1 2-51-16,3-1 106 15,-4 2 82-15,-5 2-89 16,7 1 12-16,4-3-106 16,6 2 48-16,-10 1-177 15,-7 1 96-15,-17-6 95 16,12 4-191-16,5-6-126 15,11 7 188-15,0 1 295 16,3-2-197-16,-11-1 144 16,0 1 20-16,2 1 83 15,4 1-48-15,-3-4-49 16,-1 1-107-16,-9-1 175 16,3 0-461-16,-6-2 11 15,-2 2-6-15,-6-1 119 16,-1-2-19-1,-7 2 41-15,4-3-101 16,-4 2-30-16,0-2 150 16,0 0-21-16,1 0 2 15,-3-2 48-15,-7-7 8 16,1-3 38-16,-3-5 88 16,1-1 2-16,4-3-51 15,0-6-96-15,4 2-44 16,-4-3 105-16,4 3 238 15,-7-5-62 1,9 4 242-16,-4-1 184 16,2-11 264-16,-5 4-215 15,1-4-190-15,4 2 128 16,2-4-152-16,-6-2-12 16,6-1 123-16,-4 5-342 15,4 0 25-15,-2-7-84 16,2 3-37-1,0-6-12-15,3 9-10 16,-8-11-2-16,11-1 1 16,-2 2-1-16,-4 0 0 15,-2-6 0-15,10 5 0 16,-3 1 0-16,5 0 0 16,-14-2 0-16,6-2 0 15,-4 1 0-15,5-1 0 16,-5 2 0-1,-5 0 0-15,1-2 0 16,4 6 0-16,-6-1 0 16,4 3 0-16,2-3 0 15,4 3 0-15,-4-3 0 16,2-3 0-16,-2 2 0 31,2 3 0-31,-8-3 0 0,6 2 0 0,0-3 0 16,0 7 0-1,-9-1 0-15,7 2 0 16,-2-3 0-16,6 1 0 16,-10 1 0-16,10-3 0 15,-2 1 0-15,-4 1 0 16,2 1 0-16,2 6 0 16,-2-6 0-16,8 3 0 15,-6-2 0-15,2 6 0 16,2-7 0-1,2-1 0-15,-1 3 0 16,1 3 0-16,-6 0 0 16,8-6 0-16,-3 5 0 15,5-1 0-15,1 0 0 16,-3-4 0-16,0 3 0 16,4 1 0-1,-4 0 0-15,0 2 0 0,-2-9 0 16,3 11 0-1,-5-4 0-15,-2 4 0 16,7-2 0-16,-7-2 0 16,2 6 0-16,1-4 0 15,1 6 0-15,-4-2 0 16,2-2 0-16,-8 9 0 16,2-3 0-1,4 1 0-15,4 1 0 0,-8 5 0 16,4-7 0-1,-4 7 0-15,4-2 0 16,2 5 0-16,-2 1 0 16,-6 0 0-16,4 5 0 15,0 1 0-15,2 6 0 16,-6 1 0-16,6 2 0 16,-4 0-12-16,2 1 16 15,0 3-12-15,2-2-10 16,-2 2-19-1,0 0 61 1,0-2-9-16,0 0-4 16,0 0-3-16,0 0-4 15,-2 0 0-15,-2-2-67 16,2 1-400-16,-11-1 59 16,-6 2 146-16,-6 2 192 15,-15 0-23-15,10-2 90 16,5 0 122-1,3 0-136-15,-18-4 6 16,-9-1 24-16,5 5 48 16,12-2-42-16,-23 2-32 15,2-1 87-15,7-1-110 16,3 4-57-16,-9 0 113 16,-10 0 69-1,15 0-63-15,1 0-77 0,-7 3 191 16,2-6 169-1,11 3 67-15,-13 0-219 16,3-2-102-16,11 0-39 16,1 0-12-16,-10-2-4 15,-5 1-3-15,13-1 0 16,-7 2-1-16,7 2 0 16,-13-2 0-16,15-2 0 15,-5 2 0 1,9 2 0-16,-22-2 0 15,0 2 0-15,11-2 0 16,3 4 0-16,-3-2 0 16,4-2 0-16,-1-1 0 15,-8 1 0-15,13 0 0 16,-10-4 0-16,3 1 0 16,14 1 0-16,-6 3 0 15,-15-2 0 1,19-1 0-16,-10 2 0 15,8 2 0-15,-4-3 0 16,-4 2 0-16,12-4 0 16,2 1 0-16,1 2 0 15,-3 2 0-15,-6-6 0 16,-2 1 0-16,13 1 0 16,-3 0 0-16,3 2 0 15,-7 2 0 1,4-3 0-16,0 2 0 15,-2-2 0-15,-3 1 0 16,23 2 0-16,0 0 0 16,-16 2 0-16,3 1 0 15,2-2 0-15,-6 2 0 16,1-3 0-16,0 0 0 16,7 2 0-1,-15 6 0 1,14-3 0-16,-4 1 0 15,-12-2 0-15,7-2 0 16,13 0 0-16,-9 2 0 16,6-1 0-16,-4 1 0 15,-5 1 0-15,7-4 0 16,-2 3 0-16,0-1 0 16,-1 1 0-16,1-2 0 15,6 2 0-15,-4 1-1251 16,19-5-2918-1</inkml:trace>
  <inkml:trace contextRef="#ctx0" brushRef="#br0" timeOffset="-201749.15">23671 914 13453 0,'0'0'4051'16,"0"0"-2005"-16,0 0-701 16,0 0-1338-16,0 0-612 15,0 0 131 1,6-4-14-16,2-3 248 15,7-1 747-15,2-3 489 16,0 3 780-16,-1-2 649 16,-2 1-531-16,4-2 134 15,-12 5-864-15,8-4-209 16,-4-3-284-16,3 0-351 16,1 0-20-16,16-6-247 15,-13 0-136 1,6-2-121-16,-10 4 58 15,11-6 13-15,-12 8 147 16,0-4-109-16,2 2 134 16,-10 2-4-16,0-2 136 15,4 3-95-15,-4-5-22 16,-4 6 243-16,0 0-321 16,5-2-202-16,-3 0 229 15,2-2-176 1,0-2-66-16,1 0 125 15,-7 2 12-15,2-4 49 16,0 4 283-16,2-2-178 16,-2 2 114-16,0 5-27 15,0 3-152-15,0-2-303 16,-2 5-284-16,4 0 264 16,-4 0 107-16,2 4 226 15,0-1 176 1,0 3 85-16,0-2 80 15,0 2 10-15,0 0-38 16,0 0-59-16,0 0-20 16,0-2-42-16,0 2-93 15,0 0-27-15,0 0-22 16,0 0-179-16,0 0-27 16,0 0-26-16,0 0-19 15,0 0 53 1,0 0-6-16,0 0-68 15,0 0-307-15,0 0-212 16,0 0-21-16,0 0 126 16,0 0 49-16,0 0 103 15,0 0-450-15,0 0-676 16,0 0-1040-16,0 0-1162 16,0 0-691-16</inkml:trace>
  <inkml:trace contextRef="#ctx0" brushRef="#br0" timeOffset="-200436.87">23950 226 27514 0,'0'0'-1344'16,"0"0"381"-16,0 0-406 15,0 0-50-15,2 2 154 16,0 7 56-16,-4-1 703 16,-9 5 665-1,-12 2 994-15,2 2 211 16,-1-7 845-16,4 3-232 15,-8 2-659-15,11-2-266 16,-11 4-282-16,14-1-277 16,-14 1-129-16,10-4-212 15,-12 2 54-15,9-7-76 16,3 1-68-16,12-5 3 16,-2-2 8-16,2 2 48 15,2-4 50 1,2 0-14-16,-2 2 109 15,2-2-216-15,14 3 237 16,14-3-78-16,13-3-109 16,1 1-331-16,-16-2 185 15,27 2-40-15,8-2 117 16,-13 2-62-16,-12-1 58 16,17 3 46-1,-6-1-145-15,-9 2 101 16,-6 2-35-16,8-1-54 15,1 0 16-15,-19 2-73 16,4-4-25-16,-3 2-42 16,-8-2 107-16,-8-2-83 15,-5 2-67-15,0 0 129 16,-2 0 218-16,2 0-39 16,-2 0-48-16,0 0 40 15,0-2-119 1,-4-7-74-16,-7 1-159 15,-2 0-381-15,5-1-14 16,-7-3 74-16,7-1 400 16,-14-2 68-16,18 2 397 15,-19-4 161-15,16 3-147 16,-7-3 81-16,7 2-108 16,-5-4-250-16,10 6-485 15,-7-6-116-15,7 2 187 31,-9 0-209-31,7 0 324 0,2 5 60 16,-6-4 96-16,4 6 71 16,6 1 61-16,-6-1 77 15,-1 3-8-15,3 1 96 16,-3 0-95-16,-1 2 21 16,2-1-41-1,2 5-19-15,0-2 30 16,2 2-14-16,-4 0 44 0,4 0-50 15,0 0 60-15,0 0 0 16,0 0 165-16,0 0 202 16,0 0-126-16,0 0-4 15,0 0-84-15,0 0-128 16,0 0-38-16,0 0-64 16,0 0-37-16,2-2-130 15,-2 2 72 1,0 0-8-16,0-2-96 15,-9 0 2-15,1 0-12 16,-9 2 10-16,0 4-139 16,-2 5 208-16,-6 3-54 15,-5 7-91-15,9-2 118 16,-9 6-172-16,-6-1 183 16,-49 22 157-1,58-25 185 1,-9 4-19-16,4-10-434 15,15-2-2234-15,5-1-4419 16</inkml:trace>
  <inkml:trace contextRef="#ctx0" brushRef="#br0" timeOffset="-184604.51">21536 1898 31037 0,'0'0'-509'0,"0"0"-95"16,0 3-204-16,4 5 164 0,4 17-175 16,-18 11 337-1,6 11 338-15,2 6 330 0,0-4 1851 16,-2 3-13-1,2-1-1087-15,6-4-593 16,-4-5-214-16,10 0-80 16,-6-8-32-16,-6-6-10 15,2-11-5-15,2-4-2 16,-2-5 0-16,0-4-1 16,0-2-915-16,-4-4-2123 15,-2-19-7367 1</inkml:trace>
  <inkml:trace contextRef="#ctx0" brushRef="#br0" timeOffset="-183887.45">21484 1947 27450 0,'6'-6'-833'0,"4"-7"688"16,8-6 392-16,4-2-195 16,0-3-474-1,-7 4-150-15,-7 2 806 16,-1 0 600-16,3-2 752 15,1 1-159-15,3 0-222 16,4 4-320-16,13 3-486 16,11 1-162-16,5 9-282 15,-24 6-72-15,0 7-78 16,-3 3-26-16,-6 6-145 16,-5 1 130-16,-11 7 316 15,-5 3-43-15,-9 1 73 16,-10 4 96-1,-3 2-86-15,-5-4 5 16,0-3-157-16,2-5 154 16,11-9 30-16,11-4-14 15,4-5-145-15,0-4 77 16,4-2-29-16,2-2 28 16,0 0-27-16,0 0-31 15,14-6-4-15,17 4 34 16,1 0-168-1,8-2-218-15,-8 6-9 16,-5 6 156-16,-3 7-84 16,4 10-45-16,-1 3 270 15,-8 6 109-15,-2 6 145 16,-11 0-43-16,-10 0 154 16,-2 1-9-16,-9 1-432 15,-7-8 198-15,-10-7-155 16,-8-6 112-1,-6-6 166-15,-5-11 25 16,6-8-19-16,9-8-597 16,1-3-42-16,-9-2-564 15,8 0-1007-15,14 6-1321 16,9-1-3032-16</inkml:trace>
  <inkml:trace contextRef="#ctx0" brushRef="#br0" timeOffset="-183400.28">22296 1896 11659 0,'-6'-2'9293'15,"-13"-7"-4023"-15,-9 4-2421 16,3 6-3173-16,2 10-2689 16,-22 21-2356-16,-20 14 144 15,3 7 3475 1,29-6 3908-16,-1 2 2019 15,10-7 1206-15,20 0-1805 16,12-1-1128-16,10-12-1503 16,-2 1-556-16,12-9-220 15,3-2-100-15,23-9-39 16,-25-10-21-16,-1-8-7 16,0-16-1-16,-14-22-3 15,5-15 1-15,3-9-1 16,-4 8 0-1,-2 12 0-15,-6 7 0 16,-6 11 0-16,-10 5-354 16,-20 6-2435-16,1 6-2560 15,6 11-4331-15</inkml:trace>
  <inkml:trace contextRef="#ctx0" brushRef="#br0" timeOffset="-182914.14">22510 1913 32351 0,'0'13'204'0,"-6"42"-68"0,0 0-88 16,-3-9-1702-1,1 3-2598-15,-3-4 290 16,-4-12 1829-16,-3-7 2070 16,4-7 1612-16,0-4 1000 15,5-9-758-15,3-1-11 16,4-5-764-16,-5-20-12 16,16-26-145-16,6-12 147 15,10-7-644 1,9-7-240-16,-4 9-86 15,-1 12-24-15,-8 8-148 16,15 7-238-16,-4 13 263 16,-7 12 103-16,-5 10 104 15,0 7 188-15,6 19-136 16,-9 15-83-16,-7 19-37 16,-3 14-19-16,-2-5-6 15,-3-3-2 1,8 0 0-16,-2-18-1 15,1-11 0-15,-1-6 0 16,-3-14-670-16,-5-9-1277 16,2-5-1976-16,0-6-4282 15</inkml:trace>
  <inkml:trace contextRef="#ctx0" brushRef="#br0" timeOffset="-182671.14">22381 2057 32767 0,'0'0'0'0,"-2"0"0"16,8 9 0-16,22 5 0 16,12-5 0-16,13-11 0 15,-7-7 0 1,20-6 0-16,-7-4-760 15,-18 2-1127-15,1 0-1170 16,-14 5-3121-16,-3-1-1804 16</inkml:trace>
  <inkml:trace contextRef="#ctx0" brushRef="#br0" timeOffset="-182149.06">22904 1885 32767 0,'0'3'0'16,"2"20"0"-16,9 13 0 15,-7 19-1458-15,5 9-1274 16,-3 5 1631-16,-6 5 909 16,-2-12 364-16,4-16 1849 15,-6-3-964 1,-1-16-340-16,5-16-369 15,0-5-342-15,0-6-281 16,5-31 32-16,-7-33 189 16,4-6 122-16,0-10 21 15,10 6-194-15,0 2-776 16,18 12-499-16,2 12 400 16,-9 3 513-16,9 7 612 15,-12 17 1292 1,-4 6 48-16,-7 9-448 15,1 2-455-15,-10 4-333 16,0 12-28-16,-12 26-82 16,-14 5-79-16,-3 8-37 15,-3-5-15-15,11-3-6 16,10-6-1-16,13-3 0 16,15 0-1-16,18 0 0 15,-7-6 0-15,15-7 0 16,-1-4 0-1,-12-4 0-15,-3-7 0 16,-11-2 0-16,-4 0-675 16,-8-1-897-16,0 1-2467 15,-2-4-1100-15,8-4-4052 16</inkml:trace>
  <inkml:trace contextRef="#ctx0" brushRef="#br0" timeOffset="-181604.46">23465 1852 32767 0,'-2'15'0'0,"6"29"0"15,-6 11 0 1,-4 13-494-16,6 12-672 15,4 5 670-15,2-13 763 16,-8-4 592-16,2-9-190 16,10-11-443-16,-3-12-147 15,-3-16-50-15,1-12-17 16,-3-4-6-16,-2-4-15 16,-4-25 19-16,-3-34-422 15,0-14-431 1,1-7-215-16,8-87-1529 15,0 106 1982 1,0 8 202-16,5 4 237 16,2 9 48-16,9-3 188 15,17 5 203-15,7 7-195 16,-6 12 103-16,5 10 87 16,-2 13 596-16,7 16 911 15,-10 17-78-15,-20 6-1082 16,-12 18-369-1,-13 3-158-15,-14-3-58 16,-17 1-20-16,-3-1-7 16,11-14-2-16,-16-3 0 15,-1-10-1-15,0-9 0 16,20-10 0-16,2-7-393 16,-5-4-2249-16,2-4-2719 15,-1-10-5026 1</inkml:trace>
  <inkml:trace contextRef="#ctx0" brushRef="#br0" timeOffset="-178198.81">21486 2916 4356 0,'0'0'5058'0,"2"3"-2082"0,-2-3-499 16,0 4-559-16,-6 8-264 15,-3 10-30 1,-3 1 619-16,-2 11 393 15,6 0-959-15,2 8 152 16,0-4-296-16,4 4-422 16,-2 5-217-16,6 2-406 15,-9-1-305-15,14 3-114 16,-7 0-43-16,10 0-17 16,0-2-5-16,-6 3-3 15,5 8 0 1,-9-1-1-16,2 9 0 15,3 4 0-15,7-9 0 16,-5 3 0-16,-7-1 0 16,6-12 0-16,-2-6 0 15,-8-2 0-15,6-10 0 16,-4-7 0-16,2-11 0 16,0-4 0-16,2-7 0 15,-2-2-574-15,0-4-927 16,0 0-2113-1,0-21-3531 1,4-15-2830-16</inkml:trace>
  <inkml:trace contextRef="#ctx0" brushRef="#br0" timeOffset="-176429.08">21490 2893 23382 0,'0'0'-726'0,"0"0"-397"16,0 0 796-16,6 2 23 15,9 1-185-15,6-2 39 16,-5-1 256-16,8-1 516 16,0-2 835-16,-1 1 976 15,5 2 10 1,-1-2-597-16,17 4 18 15,1-2-351-15,-7 2-699 16,2 1-265-16,5 3 14 16,5-4-321-16,4 0 37 15,-5 0 73-15,10 2 238 16,-11 1-191-16,-10-1 30 16,3 0 96-16,13 0 203 15,-3 0-97 1,-6-1-74-1,21-1-150-15,-20 0-73 0,11-2-20 16,7 2-10-16,-3-4-2 16,-21 2-1-16,-1 2-1 15,15 0 0-15,-1 0 0 16,-13 0 0-16,5 0 0 16,10 3 0-1,-7-5 0-15,-7 0 0 0,14 0 0 16,-2 0 0-1,-2-5 0-15,-5 3 0 16,3 0 0-16,-1 0 0 16,-9-2 0-16,-21 2 0 15,8 2 0-15,-14 0 0 16,2 0 0-16,-2 0 0 16,-8 0 0-16,-4 0 0 15,2 0 0-15,-2 2 0 16,-2 6 0-1,-6 5 0-15,0 2 0 16,-3 2 0-16,2 6 0 16,-1 5 0-16,0 7 0 15,1 1 0-15,-2 0 0 16,-4 9 0-16,7-9 0 16,0 11 0-16,5 1 0 15,3-10 0-15,-4 7 0 16,2 2 0-1,-7 1 0-15,9-3 0 16,-6 1 0-16,2 3 0 16,2-3 0-16,-8 1 0 15,2-7 0-15,2 4 0 16,6-1 0-16,-2-3 0 16,6-4 0-16,-4 2 0 15,-2-2 0-15,0 0 0 16,-2-6 0-1,6 0 0-15,4-1 0 16,-4-1 0-16,0-5 0 16,1-4 0-16,-3-2 0 15,3-11 0-15,-6 7 0 0,3-2 0 16,0-3 0-16,3 3 0 16,-1-3 0-16,0 1 0 15,2-3 0-15,-4-2 0 16,0 0 0-1,0 0 0-15,0-4 0 0,0 0 0 16,0 0 0-16,-2 3 0 16,2-3 0-16,0 2 0 15,0-2 0-15,-2 0 0 16,-2-5 0-16,-10 1 0 16,6 0 0-16,-7 0 0 15,-2-2 0-15,-8 1 0 16,3 1 0-1,0 0 0-15,-10 0 0 16,-7 1 0-16,8-3 0 16,-3 4 0-16,-12 2 0 15,-1 0 0-15,1-4 0 16,12 1 0-16,-15 6 0 16,-4-10 0-16,13 5 0 15,8-4 0 1,-17 6 0-16,-11-6 0 15,16 1 0-15,-7 1 0 16,5 0 0-16,-9-1 0 16,13 5 0-16,5-1 0 15,-19-4 0-15,-3 5 0 16,14-2 0-16,19 2 0 16,-12-4 0-1,-6-1 0-15,-1 5 0 0,5-1 0 16,-4 1 0-1,-15 0 0-15,20 4 0 16,-3 0 0-16,-2-4 0 16,-1 4 0-16,-3 2 0 15,9-3 0-15,1 1 0 16,-6 0 0-16,-3-2 0 16,19-2 0-16,8 5 0 15,-4 1-17 1,1-2-537-16,1 3-285 15,10-6-327-15,10-1 134 16,-2 0-2845-16,4-1-3088 16</inkml:trace>
  <inkml:trace contextRef="#ctx0" brushRef="#br0" timeOffset="-175829.79">22296 2965 32767 0,'3'2'0'0,"1"32"0"16,-4 6 0-16,-13 13 0 16,7 17 0-1,-9 7 0-15,9 1 0 16,-5-2 0-16,8 13 0 15,-5-5 0-15,14 7 0 16,-8-10 0-16,6 3 0 16,-1-5 0-16,4-14 0 15,-5-8 0-15,8-4 0 16,-4-14 0-16,-2-10 0 16,-6-5 0-1,7-7 0-15,1-5-119 16,-6-5-1282-16,-2-3-2332 15,2-4-3016-15</inkml:trace>
  <inkml:trace contextRef="#ctx0" brushRef="#br0" timeOffset="-175161.55">21607 3107 27034 0,'2'0'1295'15,"0"4"-1075"-15,2 11 3 16,-2 2-434-16,2 6-518 15,-4-4-1067-15,4-2 26 16,4-2 701-16,8-4 1209 16,-4-9 1510-16,8-4 50 15,5-13-182-15,3-9-351 16,-10 4-383-16,-5 0-183 16,2 5-158-16,-9 5-154 15,-1 3-25-15,-5 7-117 16,0 0-147-1,4 7-43-15,2 12 66 16,-4 8-63-16,16 1 204 16,-8-7-150-16,11-2 368 15,-6-6-198-15,10-5-83 16,-3-5-59-16,-2-8-21 16,4-10-11-1,-1-4-5-15,5-2-3 0,2 4-1 16,7 5 0-1,-9 3-1-15,0 5-475 16,-12 4-1472-16,-10 4-2702 16,-4 9-5830-16</inkml:trace>
  <inkml:trace contextRef="#ctx0" brushRef="#br0" timeOffset="-174742.48">21629 3450 32767 0,'-4'2'-226'0,"0"10"-393"15,4 1 145-15,0-4-2010 16,0-1-1727-16,6-2-284 16,-2-1 2221-16,10-7 2101 15,2-7 2059-15,14-8 465 16,-9 3 373-16,1-1-343 16,-8 6-388-16,-1 3-606 15,-2 2-624-15,-1 2-244 16,3 4-79-1,-11 2-228-15,17 11-51 16,-10 1-92-16,11 4-30 16,-4-8-23-16,2-1-8 15,-3-5-5-15,5 1-726 16,-16-7-1262-16,4-7-3146 16,0-3-3588-16</inkml:trace>
  <inkml:trace contextRef="#ctx0" brushRef="#br0" timeOffset="-174378.46">21643 3787 30877 0,'0'0'698'0,"6"8"-483"16,2 3 36-16,0-1-1907 15,18-2-569-15,-1-3-3154 16,5-5-338-16,-9-6 2501 16,3-3 1779-16,-4 1 1751 15,-4-1 1631-15,-2 0 1056 16,-8 5 637-1,6 2-389-15,-6 2-1291 16,2 0-211-16,-4 5-700 16,5 5-234-16,-5 3-640 15,4 1-1703-15,3 1-5300 16,14-6-3302-16</inkml:trace>
  <inkml:trace contextRef="#ctx0" brushRef="#br0" timeOffset="-169655.74">22538 3312 13709 0,'0'0'510'0,"0"-2"1014"16,2-2-224-1,4 2-433-15,-6 2-711 16,2 2 138-16,-6 11-191 15,-6 3-94-15,-3 4 385 16,-4-1 643 0,21-13 1133-16,4-2 489 15,12-8 143-15,-10-5-1254 16,8-10-507-16,4 1-352 16,-11 1-115-16,-3 4-177 15,-8 4-105-15,-4 3-339 16,-4 2-94-1,-1 8-392-15,-21 9-931 16,14 2-358-16,3-1-1282 16,0-3-255-16,1-1-1256 15,10-7-186-15</inkml:trace>
  <inkml:trace contextRef="#ctx0" brushRef="#br0" timeOffset="-169172.73">22514 3712 22838 0,'0'0'1597'0,"0"0"-716"16,2 2-367-16,1 2-823 16,1 1-1940-16,-2-1-1046 15,5-1 433-15,-1-8 1718 16,6-6 2543-16,4-5 410 16,-4 3 1540-16,-2 2 128 15,-10 7-1090-15,-2-4-779 16,-2 3-870-1,-20 10-578-15,14-3-100 16,-2 8-812-16,-8 9-3026 0,8 0-3578 16,10-4-124-16</inkml:trace>
  <inkml:trace contextRef="#ctx0" brushRef="#br0" timeOffset="-168780.65">22538 3988 2659 0,'-4'0'11928'0,"-3"-3"-6993"15,7 3-2550-15,0 0-1198 16,7 4-2268-16,-3 3-463 16,0-3 581-1,4 1 731-15,3-1 879 16,-4-4 1389-16,-3 0 231 15,10-4 254-15,-7-1-1038 16,-1 1-530-16,-4 2-601 16,0 0-1064-16,-2-1-2285 15,-4 2-4633-15</inkml:trace>
  <inkml:trace contextRef="#ctx0" brushRef="#br0" timeOffset="-164646.67">22322 2899 929 0,'-4'-1'1324'0,"-13"1"-516"0,0 0-285 0,2 1 504 16,-13-1-148-1,10 0-72-15,13 0 188 16,1 3 32-16,0-3 354 15,-3 0 196 1,7 0-46-16,-2 0 653 0,0 0-423 16,2 0-526-16,0 0-332 15,0 0-266-15,0-3-212 16,0 2-60-16,2-4-143 16,13 1 53-16,2 0-81 15,5 1-61-15,4-1 7 16,2 0-59-1,-7 0 19-15,9-3-30 16,-2 3 771-16,1 2 75 16,9-2-48-16,-6-3-134 15,-5-1-34-15,-5 4-114 16,6 4-100-16,11-2-303 16,5 2-167-16,-3-7 29 15,-13 5-12 1,-1 4-70-16,9-4 131 15,8 0-72-15,-2-4 63 16,-12 1-53-16,-6 0 50 16,13 0 54-16,4 1-79 15,-1-3 81-15,-10 3-86 16,0 2 59-16,-3 0-79 16,7 0 1-1,8 0 98-15,-19 0 135 0,11 0 256 16,-14-1 31-1,-4 2-51-15,1-2-136 16,-8 3-218-16,-1 0-107 16,-8 0-418-16,0 0-870 15,0 3-2191-15,-4 3-4250 16</inkml:trace>
  <inkml:trace contextRef="#ctx0" brushRef="#br0" timeOffset="-163913.84">22344 2908 12812 0,'0'0'86'15,"0"0"112"-15,2-4-196 16,-2-1-364-16,-6-1-594 16,-8-5-20-16,-7 3 325 15,-9-3 670-15,-2 1 970 16,5-3 16-16,8 3 51 16,0 3 1122-16,-21 1 284 15,0 2-989 1,-7-3-536-16,15 3-479 15,11 4-265-15,-17 0-26 16,-13-4-96-16,21 0-83 16,3-3 219-16,2 1 956 15,-5 2 77-15,3-3 590 16,5 1-696-16,-8-1-404 16,12 3-390-16,9 3-99 15,1-4 115-15,1 3-206 16,7 2-223-1,-4-2-274-15,-3 2-1156 16,7 0-512-16,5 2-1348 16,10 6-2094-16,0-1-1340 15</inkml:trace>
  <inkml:trace contextRef="#ctx0" brushRef="#br0" timeOffset="-163261.64">22195 2845 8616 0,'0'0'1562'16,"0"0"-432"-16,-2 0-231 15,4-5-226-15,-2 5-518 16,2-6-155-16,8 2 16 16,14-1 59-16,8-3 39 15,10 0 210-15,1-5 1422 16,5 2 931-16,19-8-385 16,-11 2 633-1,1 2-341-15,6-3-1195 16,-1-2-48-16,-7 5-149 15,4 3-387-15,-15-1-427 16,-10 9-591-16,-19 4-778 16,0 4-962-16,0 3-1667 15,-5 1-1914-15,0 1-2015 16</inkml:trace>
  <inkml:trace contextRef="#ctx0" brushRef="#br1" timeOffset="-143763.69">12721 7167 3748 0,'0'0'2829'0,"0"0"-499"0,0 0 437 15,0 0-275 1,0 0-190-16,0-4-527 15,2 1-208-15,-2 2-281 16,2-2-64-16,2 1-496 16,-2 2 98-16,-2 0-159 15,0 11 166-15,0 6 107 16,-4 6 139-16,6 4 334 16,-2 3-81-16,0 6-88 15,-2-4-454-15,4-3-440 16,-4 3-197-1,0-23-99-15,-2 12-18 0,4 0-17 16,0 0-9-16,0-6-5 16,2-4-15-16,0-7-411 15,-2-2-1132-15,0-2-2780 16,6-19-5841-16</inkml:trace>
  <inkml:trace contextRef="#ctx0" brushRef="#br1" timeOffset="-143344.6">12675 7184 26041 0,'0'0'40'16,"0"0"-184"-1,6-5-73-15,-4 1 33 0,4-4-435 16,6-3 41-16,1 2 279 16,4 1 159-16,10 0 137 15,-1 1 55-15,4 5-47 16,-18 4 189-1,-1 3 179-15,-5 3 182 16,-10 9-85-16,-11 8 164 16,-10 1-138-16,-2 1-55 15,5-1-416-15,8 1-50 16,3-8-52-16,3-4-654 16,3-4-997-16,5-7-1506 15,0-2-964-15,5-4-1876 16</inkml:trace>
  <inkml:trace contextRef="#ctx0" brushRef="#br1" timeOffset="-143029.59">12913 7186 25176 0,'0'0'763'0,"-2"13"-180"15,2 6-106-15,-8-1-442 16,-10 8-1143-16,4 0-1008 16,2 1-212-16,-4-6 872 15,4 0 1073-15,1 0 921 16,11-4 1346-1,2-2 718-15,13-2-563 16,-2-7-268-16,14-4-841 16,-1-4-1104-16,-1-2-2014 15,5-7-5230-15</inkml:trace>
  <inkml:trace contextRef="#ctx0" brushRef="#br1" timeOffset="-142278.41">15151 7220 21204 0,'0'0'945'0,"0"0"-767"16,0 2-117-16,-2 2-10 15,0 5-1079-15,-7 1-867 16,-2 11-416-16,5 5 1449 16,2-3 1542-16,-2 7 1022 15,-3 2-97-15,6-5 563 16,3-2-664-1,-2-6-907-15,0-2-613 16,2-6-657-16,2-7-658 16,0 0-568-16,1-4-1388 15,4-4-2839-15</inkml:trace>
  <inkml:trace contextRef="#ctx0" brushRef="#br1" timeOffset="-141946.35">15085 7228 545 0,'0'0'8868'16,"2"0"-1045"-16,-2-2-2976 15,2-4-981-15,0-1-1762 16,14-3-2150-16,8-1-2083 16,8 3-1623-16,2-1-991 15,-7-1 1885-15,-3 5 816 16,-18 8 1663-1,3 1 816-15,-1 2 595 16,-8 9 1718-16,0 4 371 16,-8 2-178-16,-7 0-875 15,-7-2-896-15,10-4-735 16,-5 0-768-16,2-2-951 16,3-7-468-16,1 1-672 15,3-3-414 1,4 0 660-16,-3-2-705 15,2 0-308-15,-3 2 193 16</inkml:trace>
  <inkml:trace contextRef="#ctx0" brushRef="#br1" timeOffset="-141555.34">15335 7228 7655 0,'-2'0'4737'0,"0"0"-2266"16,-4 7-557-16,-12 1-385 16,4 5-731-16,3 2-413 15,0 3 122-15,5 4 318 16,-1-3 1151-16,1-2 347 16,2 0-648-16,8 2-234 15,5-5 16-15,-1-5-484 16,9 3-946-1,16-5-1291-15,-5-5-1884 16,0-2-5121-16</inkml:trace>
  <inkml:trace contextRef="#ctx0" brushRef="#br1" timeOffset="-140889.22">17479 7243 3651 0,'2'0'3979'0,"0"0"-671"16,-2 0-240-16,5 0-375 15,-1 13-425-15,-13 12-468 16,-4 5-997-16,7 4-353 16,0 4-497-16,2 0-106 15,-2 6 71-15,1-14 34 16,5-3 501-1,-5-6 513-15,3-1-236 16,-2-12-195-16,2-2-895 16,0-4-852-16,2-2-1219 15,4-14-1790-15,0-12-2794 16</inkml:trace>
  <inkml:trace contextRef="#ctx0" brushRef="#br1" timeOffset="-140640.22">17436 7304 11403 0,'0'-2'3782'16,"0"-6"186"-16,12-7-245 16,2 2-1357-16,0 0-1167 15,8 5-799-15,-1 2-783 16,27 6-3463 0,-32 4 2192-1,-8 2 287-15,-4 3 397 0,-2 5 723 16,0-7 135-1,-4 6 514-15,-16 1 594 0,-6 4-150 16,-10-4 121-16,9-5-585 16,5-5-773-16,8-2-1131 15,2 0-1486-15,1-2-393 16,7-2-375-16</inkml:trace>
  <inkml:trace contextRef="#ctx0" brushRef="#br1" timeOffset="-140398.22">17634 7347 30269 0,'-5'4'-41'0,"-3"10"-212"15,-3 12 152 1,3-3 210-16,5 1-641 15,-3 8-93-15,6-7 221 16,2-4 283-16,7 2 25 16,10-2-196-16,8-2-1629 15,7-3-2194-15,0-10-3185 16</inkml:trace>
  <inkml:trace contextRef="#ctx0" brushRef="#br1" timeOffset="-139490.41">19981 7457 3299 0,'-2'-3'3023'0,"0"-7"-673"16,2-3-853-16,2-1-467 16,0 1-554-16,-2 2-210 15,4 3 182-15,-2 1 315 16,-2 3 362-16,0 4-855 16,0 9-494-16,-2 14-87 15,-4 13-203 1,8 4 411-16,-8-6 565 15,-3 8 1352-15,7-8 1050 16,2 0-585-16,2-6 31 16,0-7-1002-16,0-11-739 15,3 1-675-15,-1-9-1198 16,2-4-55-16,2-9-2596 16,6-16-444-16,-4-5 1120 15,2-2 1511 1,-10 5 1702-16,0 5 1232 15,-2 1 734-15,-2 4 878 16,2 2-41-16,2 2-845 16,-2 4-99-16,3 3-390 15,5-2-853-15,7 1-1467 16,10 3-1250-16,1 2-672 16,-3 5 1330-16,0 8 1279 15,-12-3 2152-15,-1 7 512 16,-7 4-360-1,-6 0 691-15,-5-2-1055 16,-11 0-532-16,-4-3-730 16,-11-1-551-16,4-5-954 15,9-6-1510-15,4 0-342 16,7-2-281-16,6 2 605 16,-2-6-1031-1,-2-1-376-15</inkml:trace>
  <inkml:trace contextRef="#ctx0" brushRef="#br1" timeOffset="-139215.75">20318 7444 11979 0,'0'0'5254'0,"-4"4"-1547"15,-8 9-1097-15,-4 4-1202 16,-8 2-1536-16,-3 4-138 16,3-1 105-16,10 5 365 15,10 3 1359-15,6 2 736 16,10 1-174-16,14-1-823 16,8-3-770-16,-3-9-332 15,-3-1-431 1,4-9-2405-16,-11-6-4470 15</inkml:trace>
  <inkml:trace contextRef="#ctx0" brushRef="#br1" timeOffset="-114503.66">13233 4201 21364 0,'0'0'-55'0,"-2"0"87"0,2 0-65 16,0-2-495-1,0 2-863-15,0-2-504 16,-2-2 358-16,2 2 606 16,-3 0 670-16,3 0 1766 15,0-1 304-15,0 3 723 16,0-2 222-16,0-2-158 16,0 2-421-16,-4-3-393 15,2 1-683-15,-8-2-316 16,1 0-348-1,4 1-216-15,-9-3-69 16,4 2-74-16,-8-5-16 16,6 4-108-16,-5-1-77 15,-2 0 48-15,0 1 153 16,4 3-104-16,-4-2 128 16,2-1-116-16,-11 1 95 15,-2-4-42 1,4 3-21-16,6 3-9 15,-3-2-4-15,1 2-1 16,-2-3-2-16,-4 3 1 16,-6-1-1-16,9 4 0 15,-9-4 0-15,9 5 0 16,-5 0 0-16,-17 2 0 16,9-2 0-16,6 0 0 15,3 0 0-15,-1 0 0 16,-4 3 0-1,-6-3 0-15,11-3 0 16,-5 1 0-16,4 2 0 16,-2 0 0-16,-3 0 0 15,3 0 0-15,2 0 0 16,3 0 0-16,5 2 0 16,-22 1 0-16,5-2 0 15,-1-1 0 1,2 7 0-16,19-3 0 15,-11 2 0-15,-12-1 0 16,4 1 0-16,7 1 0 16,9-1 0-16,-16 0 0 15,5 3 0-15,-10-3 0 16,9-2 0-16,12 0 0 16,-2 5 0-16,-11 0 0 15,1 1 0-15,7-3 0 16,0 1 0-1,2 0 0-15,-5 1 0 16,10 2 0-16,-11 3 0 16,-3-1 0-16,0 1 0 15,11 3 0-15,-9 1 0 16,13-1 0-16,-4 2 0 16,-5 2 0-16,1 0 0 15,-3 0 0 1,14 2 0-16,-8 2 0 15,5 3 0-15,-5 0 0 16,6-1 0-16,-12 1 0 16,11-3 0-16,-9 3 0 15,10-1 0-15,-2-1 0 16,8-3 0-16,-6 7 0 16,6-5 0-16,-3 0 0 15,3 1 0-15,-4-1 0 16,8-4 0-1,0 5 0-15,2-1 0 16,-1 3 0-16,5-5 0 16,-1 7 0-16,1-1 0 15,2-1 0-15,9 4 0 16,-2-5 0-16,3 3 0 16,0-3 0-16,4 5 0 15,-4-7 0 1,7 3 0-16,2-5 0 15,0 4 0-15,-7-3 0 16,18 1 0-16,0-6 0 16,-9-2 0-16,1 0 0 15,-4-6 0-15,-5 1 0 16,8 3 0 0,-2 2 0-16,5 0 0 0,0 0 0 15,0 0 0 1,-3 0 0-16,1-2 0 15,0-1 0-15,-10-1 0 16,8 0 0-16,10-5 0 16,-3 3 0-16,9-4 0 15,-6-3 0-15,0 0 0 16,-9 0 0-16,9 2 0 16,-5-1 0-16,9 1 0 15,-8-2 0 1,-1 0 0-16,5 3 0 15,8-1 0-15,-7-2 0 16,7 1 0-16,-10-3 0 16,14-2 0-16,-1 2 0 15,-3-2 0-15,6 2 0 16,-11 0 0-16,-9 0 0 16,19 0 0-16,-1 3 0 15,-2 1 0-15,-9-4 0 16,-3 2 0-1,14 1 0-15,-3-1 0 16,-1-2 0-16,0-2 0 16,3-2 0-16,3-1 0 15,7-3 0 1,-3 0 0-16,-14 0 0 0,13 1 0 16,-7-1 0-1,-3 0 0-15,-3 1 0 16,1 1 0-16,-1 0 0 15,-1-1 0-15,3-1 0 16,-2-6 0-16,-8 3 0 16,3-1 0-16,7-1 0 15,4-8 0 1,-4 2 0-16,-13-2 0 0,11-4 0 16,0 2 0-16,-4-1 0 15,5 1 0-15,-5-4 0 16,-4 6 0-1,-7-5 0-15,11-3 0 16,-9 0 0-16,-4-1 0 16,8-4 0-16,-1 0 0 15,-10-1 0-15,1-2 0 16,-2 4 0-16,2-3 0 16,-11 23 0-16,4-10 0 15,3-11 0-15,-7 1 0 16,7-3 0-16,-15 2 0 15,6 0 0-15,0 1 0 16,0-3 0-16,-4 0 0 16,2 6 0-16,-6-5 0 15,-1 5 0-15,-2 1 0 16,5-5 0-16,-2 7 0 16,-7-3 0-16,5 4 0 15,2 1 0-15,-8 0 0 16,-4 0 0-1,-6-3 0-15,8 1 0 16,-8-1 0-16,7 7 0 16,3-2 0-16,-14-4 0 15,13 8 0-15,-6-2 0 16,-8-5 0-16,-7 1 0 16,4 2 0-1,6 4 0-15,3 1 0 16,-9-2 0-16,0 6 0 15,-9-3 0-15,11 2 0 16,0 3 0-16,-9 5 0 16,-5-1 0-16,2 2 0 15,8 4-1052-15,4 2-3147 16,-10 0-6254-16</inkml:trace>
  <inkml:trace contextRef="#ctx0" brushRef="#br1" timeOffset="-78366.78">9152 14112 14350 0,'0'0'2185'16,"-4"0"386"-16,2 0-721 15,-2 2-562 1,-3 0-386-16,0 0-167 0,-1 0-211 16,6-2 202-16,2 0 88 15,0 0-185 1,0 0-121-16,0 0-26 15,2 0 472-15,6-4 241 16,6 0-260-16,2-3-228 16,-3 3-232-16,0 0-52 15,0 1-183-15,-3 2-115 16,2-3-57-16,0-1-31 16,-2 3-17-16,-4 0-10 15,5-2-4-15,6-1-2 16,2 7-2-1,5-4-1-15,-4 0 0 16,4-2-1-16,1 6 0 16,-1-4 0-1,-10 2 0-15,3 0 0 0,4 2 0 16,15-4 0-16,0 4 0 16,-4-2 0-16,-7 0 0 15,-4 0 0 1,5-2 0-16,8 2 0 15,13-2 0-15,-12 2 0 16,-5 0 0-16,8 4 0 16,15-2 0-16,-7-2 0 15,-8 2 0-15,5 4 0 16,12 6 0-16,-5-2 0 16,-14-2 0-1,13 3 0-15,9-3 0 16,-8-1 0-16,9-3 0 15,0 2 0-15,-1-2 0 16,-1-1 0-16,2 1 0 16,7 2 0-16,-1-1 0 15,1 1 0-15,-1-2 0 16,-5-2 0-16,-1 3 0 16,-2-1 0-16,11-2 0 15,2-2 0 1,-8 0 0-16,1 2 0 15,5-2 0-15,1 0 0 16,10 0 0-16,-7 0 0 16,-5 0 0-16,8 0 0 15,5 2 0-15,1-2 0 16,-12 2 0-16,-3 0 0 16,19 0 0-16,4 0 0 15,-4-2 0 1,-10 2 0-16,105 1 0 15,-104-1 0 1,11 0 0-16,8-2 0 16,-14 2 0-16,-5-2 0 15,11 2 0-15,-8-2 0 16,-2-2 0-16,2 4 0 16,18 0 0-1,-4-2 0-15,-12 0 0 16,3-2 0-16,5 0 0 15,-8 0 0-15,4-2 0 16,12 1 0-16,-6 1 0 16,0 0 0-16,4 0 0 15,-6 0 0-15,-4 2 0 16,3 0 0-16,7 0 0 16,6-2 0-1,-10 2 0-15,-2 0 0 16,4-2 0-1,-5-2 0-15,8 0 0 0,-12-3 0 16,3 3 0-16,21-1 0 16,-2 1 0-16,-11-4 0 15,-16 4 0-15,5 1 0 16,3 1 0-16,-11 2 0 16,11-2 0-16,-3 2 0 15,-1 0 0-15,6-2 0 16,-4 2 0-1,-7-2 0-15,3 0 0 16,0 0 0-16,2 2 0 16,4 0 0-16,-2-2 0 15,-5 4 0-15,3 0 0 16,2 0 0-16,-3 0 0 16,-8 2 0-16,-4-2 0 15,11 3 0 1,14 1 0-16,-12-2 0 15,-7 0 0-15,-3 3 0 16,10-1 0-16,-11 3 0 16,-9-3 0-16,18-2 0 15,-4 5 0-15,0-5 0 16,-3 4 0-16,-5-3 0 16,15 1 0-16,-4 0 0 15,-3-1 0 1,-1-1 0-16,3 0 0 15,-2 5 0-15,-7-1 0 16,11-2 0-16,-5-1 0 16,4-1 0-16,3 0 0 15,-15 0 0-15,10-2 0 16,0 2 0-16,5 3 0 16,-3-5 0-16,-9 2 0 15,4-1 0 1,4 1 0-16,5-2 0 15,-3 2 0-15,-7 2 0 16,8-1 0-16,-5-3 0 16,-1 4 0-16,9 1 0 15,-3-3 0-15,-6 2 0 16,5-2 0-16,-9 0 0 16,4-1 0-1,0 1 0-15,-2-2 0 0,3 0 0 16,-10 0 0-1,9 0 0-15,7 1 0 16,4-3 0-16,-18 1 0 16,-1 2 0-16,15-3 0 15,-10 2 0-15,6 0 0 16,-7 0 0-16,-7-2 0 16,16 0 0-16,-5 0 0 15,-4 0 0 1,-6 2 0-16,6-2 0 15,13 2 0-15,-14 1 0 16,-2-3 0-16,4 4 0 16,8-7 0-16,-11 8 0 15,-3-7 0-15,20 2 0 16,-9-3 0-16,1 2 0 16,0 1 0-16,-2 0 0 15,8 0 0-15,-11-3 0 16,9 1 0-1,-9 2 0-15,2-2 0 16,11 0 0-16,-3 0 0 16,-5 6 0-16,-7-6 0 15,19 4 0-15,-17-2 0 16,-4 0 0-16,8-2 0 16,4 0 0-1,1 0 0-15,-7-2 0 16,9 1 0-16,0 1 0 15,4-2 0-15,-11 2 0 16,7 2 0-16,-3-2 0 16,-2 0 0-16,9-1 0 15,4 3 0-15,-2-1 0 16,-4-2 0-16,15-5 0 16,-11 8 0-16,-6-2 0 15,2-2 0-15,12-3 0 16,4 1 0-1,2 2 0-15,0 1 0 16,-4-1 0-16,4 4 0 16,-6-2 0-16,4 2 0 15,4 2 0-15,7 0 0 16,-4 0 0-16,-11 1 0 16,3 1 0-1,6-2 0-15,-2 2 0 16,-7-2 0-16,9 0 0 15,-17 5 0-15,8-3 0 16,-3 2 0-16,-8-2 0 16,11 3 0-16,-6-3 0 15,0 4 0-15,6-1 0 16,0-3 0-16,-10 1 0 16,11 3 0-16,-3-8 0 15,11 6 0 1,-15-2 0-16,0 1 0 15,1-1 0-15,-3-2 0 16,-2-2 0-16,-2 0 0 16,-6 0 0-16,-6 4 0 15,-11-8 0-15,13 4 0 16,-23 0 0-16,-3 0 0 16,10 2 0-1,-21-6 0-15,-16 4 0 16,-4 0 0-16,-5 0 0 15,-4 0 0-15,-5 0 0 16,-3 0 0-16,-3 0 0 16,0 0 0-16,-5 6 0 15,-6 3 0-15,-1-1 0 16,1 3 0-16,-3-1-2834 16,-6 3-7447-16</inkml:trace>
  <inkml:trace contextRef="#ctx0" brushRef="#br1" timeOffset="-76189.59">15167 12774 12940 0,'0'0'5236'0,"0"0"-1314"0,0 0-1121 15,0 0-1056 1,0 0-651-16,0 0-768 15,0 0-199-15,0 0-47 16,0 0 461-16,0 0 81 16,0-5 87-16,9 1 37 15,10-4-113-15,0 2-66 16,-2-1-233-16,4 1-157 16,5 0-86-1,1 1-49-15,3 3-23 16,4-2-10-16,3-1-6 15,15 4-1-15,-3-2-1 16,1-1-1-16,1 2 0 16,6 0 0-16,1 2 0 15,-8 2 0-15,3 0 0 16,-2 6 0-16,-7 1 0 16,-18 2 0-16,-12-3 0 15,3 5 0 1,-6-1 0-16,-5 1 0 15,-4 0 0-15,-2 10 0 16,-2-4 0-16,-6 2 0 16,-7 1 0-16,-2 3 0 15,-11 0 0-15,-1-1 0 16,-5-5 0-16,6-5 0 16,-6 6 0-16,-3-4 0 15,-3 1 0-15,3-2-76 16,5-2-83-1,-6 2 108-15,2-2 219 16,9-1-102-16,-1-4-37 16,1 1-16-16,8-5-8 15,10 1-3-15,1-1-1 16,6-4 0-16,-2 2-1 16,-1-2 1-16,5 0-1 15,0 0 0-15,7 2 0 16,16 2 0-1,9 3 0-15,-2 1 0 16,-1 0 0-16,5 3 0 16,0 6 0-16,8 0 0 15,-1 0 0-15,3 0 0 16,-2 2 0-16,-6 2 0 16,0-2 0-16,2 2 0 15,-2 1 0-15,-4-1 0 16,-3 4 0-1,3-2 0-15,0 3 0 16,-3-3 0-16,-3 0 0 16,-5-3 0-16,-2-4 0 15,-6 1 0-15,-3-4 0 16,-5-2-146-16,-3-5-67 16,4 4-164-1,-6-1 192-15,-4 3 32 0,-15-1 60 16,-6 0-108-1,-3-5 108-15,-6 2 161 16,-6 1 18-16,3-2 5 16,0-1 435-16,-3-2-112 15,-16-2-238-15,5-4-113 16,7 0-40-16,-17-6-14 16,-7-1-6-16,-1-2-2 15,-8-1 0-15,10-1-1 16,-1 0 0-1,5 1 0-15,3-1 0 16,3 0 0-16,2 0 0 16,13 3 0-16,-1 1 0 15,-7-1 0-15,9 6 0 16,7-3 0-16,8 5 0 16,16 0 0-1,0 2 0-15,-1 0 0 16,5 0 0-16,3 0 0 15,3 0-1397-15,0 0-2730 16,0 0-5093-16</inkml:trace>
  <inkml:trace contextRef="#ctx0" brushRef="#br1" timeOffset="-72499.72">9231 14507 13325 0,'-2'2'2569'0,"-6"1"209"15,2-1-419-15,4-2-856 16,0 2-487-16,2-2-159 16,-2 0-127-16,0 2-39 15,-2-2-110-15,2 0-218 16,2 0-191-16,0 0-96 16,0 0-131-16,0 2 46 15,0-2-40-15,2 0-7 16,4 5 92-1,4-4 43-15,0 2-22 16,2 1 39-16,3 0 45 16,-1-2 26-16,2 2-64 15,0-2 2-15,12 3 40 16,1 1-27-16,-1-4-47 16,-4 0-108-1,-6 3 86-15,1 1-59 16,11 0 5-16,4-4 77 15,4 5 17-15,2-1 422 16,-9 0-201-16,6-6-25 16,9 3 19-16,1 1 9 15,-15-4-312-15,0 2 72 16,16 0 43-16,9 0-175 16,-17-2-57-1,-5 4 164-15,7-4 127 16,6-2-122-16,-1 4 26 15,-13 2 77-15,8 1-163 16,11-1 66-16,-6-2-39 16,-11 2 81-16,10 3 61 15,11-3-13-15,-8-4 82 16,-5 6-8-16,14-3 175 16,-5 1-257-16,-5 0-70 15,-1-2 253 1,8 2-11-16,-3-2-183 15,-9 0-84-15,5 3-27 16,4-3-12-16,-1-2-5 16,-1 4-1-16,3-2 0 15,-9 2-1-15,3-2 0 16,4 2 0-16,-11 1 0 16,11-5 0-1,-1 2 0-15,-2 0 0 16,-2-2 0-16,-1 0 0 15,1 0 0-15,5 3 0 16,-3-2 0-16,-3-1 0 16,10 3 0-16,-9 1 0 15,7-4 0-15,-15 2 0 16,-6-2 0-16,9 0 0 16,-5 0 0-16,-7 0 0 15,-6 0 0 1,-2 0 0-16,-3-2 0 15,-6 4 0-15,-2-2 0 16,-3 0 0-16,-7 0 0 16,5 0 0-16,-3 2 0 15,0-2-376-15,-2 0-724 16,0 0-1527-16,2 0-2064 16,-2 0-1490-16</inkml:trace>
  <inkml:trace contextRef="#ctx0" brushRef="#br1" timeOffset="-71810.75">12321 14503 10538 0,'0'0'1975'0,"0"0"464"15,0 0-34-15,0 0 295 16,-3 0-375-16,3 0-731 16,-2 2 634-16,2 5-345 15,0-1-268 1,2 2-595-16,-2-1-406 15,0-1-97-15,0 0-143 16,3 1-160-16,-1-1-76 16,2 2-58-16,-4 1-33 15,2 2-20-15,-2-1-12 16,0 5-6-16,2 4-4 16,-4 0-2-16,-2 0-2 15,0 2-1 1,-1 1 1-16,5 3-1 15,-2 0 0-15,-4-2 0 16,2 3 0-16,-1 1 0 16,3-5 0-16,0 1 0 15,0 0 0-15,0 1 0 16,2-3 0-16,0-2 0 16,0-2 0-16,2 4 0 15,-2-6 0-15,-2-5-392 16,0 3-1253-1,0-4-552-15,6-1-1812 16,-4-2-2087-16</inkml:trace>
  <inkml:trace contextRef="#ctx0" brushRef="#br1" timeOffset="-70898.57">9253 14251 9033 0,'0'0'4520'0,"-2"0"657"16,-2 2-1513-16,-4 3-1034 16,-8-1-1172-16,0 2-775 15,1 7-321 1,0 0-128-16,-2 4-126 15,5 8 155-15,-3 3 656 16,8 5 168-16,-1-1-71 16,4 4-170-16,2 4-391 15,-2 5-264-15,0-7-119 16,6 0-43-16,2 2-17 16,-6 2-7-16,-2-2-3 15,6-8-2 1,-2 0 1-16,-2-2-1 15,-3-3 0-15,3 1 0 16,2-3 0-16,-3-8-80 16,3-6-1593-16,0-7-2362 15,0-2-2124-15</inkml:trace>
  <inkml:trace contextRef="#ctx0" brushRef="#br1" timeOffset="-70035.58">12701 14436 14510 0,'0'0'3517'16,"0"0"161"-16,0 0-521 16,0 0-415-16,-2 4-977 15,-2 4-419-15,0 5-388 16,2 2-431-1,-2 2-246-15,2 8-126 16,0 11-79-16,-2 2-43 16,-4 6-20-16,14 3-7 15,-4 10-4-15,-7-10-1 16,0-1-1-16,5 1 0 16,0-2 0-16,-2 20 0 31,2-40 0-31,-4-2 0 15,4-6 0-15,0-6-14 16,-2-7-1497-16,2 1-1303 16,0-5-2071-16,-2-3-2513 15</inkml:trace>
  <inkml:trace contextRef="#ctx0" brushRef="#br1" timeOffset="-68939.6">12675 14654 18578 0,'0'0'3010'16,"0"0"-303"-16,0 1-691 15,0-1-503-15,0 3-455 16,0 1-751-16,2 0-545 16,0 0-193-16,-2 1 215 15,2 1-16-15,6 0 28 16,13 2 102-16,5-1 175 16,-1-2-197-16,6 1 83 15,6-2 78 1,3 2 18-16,-4-2 192 15,8 3 35-15,1-3 83 16,-3 1-167-16,7-1-257 16,6-4 98-16,1 1-87 15,-9-2 51 1,11-2 122-16,-1 3 127 0,-11 0 170 16,-33 0-300-16,35-4 340 15,16 4 0-15,-19 3-60 16,1-3 69-16,17 0-127 15,-1 4-41-15,-5 0-178 16,0-4 21-16,1 4 30 16,-14-2-76-16,64 2-53 15,-53-4-38 1,-4 0-5-16,4-4-3 16,-4 2 0-16,56-9-1 31,-51 10 0-31,-7-2 0 15,1 1 0-15,1 2 0 16,0 0 0-16,5-4 0 16,-2 2 0-16,3 0 0 15,-2-1 0-15,-5-1 0 16,6 2 0-16,3-2 0 16,-6 4 0-1,-5 0 0-15,-1-2 0 16,4 2 0-16,0-2 0 15,-6 4 0-15,9-4 0 16,-7 0 0-16,-1-1 0 16,1-1 0-16,-7 0 0 15,5-1 0-15,-1 4 0 16,7-2 0-16,-1 1 0 16,-5 0 0-16,3 2 0 15,1 0 0-15,-5 2 0 16,-7 0 0-1,-3 1 0-15,2-2 0 16,2 4 0-16,-13-1 0 16,-5 0 0-16,-8-1 0 15,-4-1 0-15,-1 0 0 16,-5-2 0-16,-2 0 0 16,0 0 0-16,-2 2 0 15,-1 2 0 1,-7 2 0-16,0-1-294 15,2-3-1476-15,-2-2-2392 16,6 0-2090-16</inkml:trace>
  <inkml:trace contextRef="#ctx0" brushRef="#br1" timeOffset="-68340.52">16211 14448 6822 0,'-2'4'10056'0,"-5"7"-387"0,5-7-7460 16,2 0-863-16,-2 2-259 15,4 3-422-15,-2 2-259 16,2 1-175-16,-4-1-104 16,-2 8-52-16,4 2-37 15,0 5-19-15,4-3-10 16,-2 9-4-16,3-3-3 16,-5 3-2-16,2 9 1 15,5-4-1-15,-10 2 0 16,6-1 0-1,-1 0 0-15,-7 0 0 16,5-2 0-16,0-3 0 16,0-1 0-16,3-4 0 15,1 0 0-15,-4-5 0 16,-4-9 0-16,1-3 0 16,3-5-1743-16,0-1-2171 15,0-5-2296-15,5-6-2450 16</inkml:trace>
  <inkml:trace contextRef="#ctx0" brushRef="#br1" timeOffset="-67657.46">16535 14493 8840 0,'0'2'7872'0,"4"2"-1659"16,-4 0-2510-16,6 0-1205 15,-4 1-1043-15,0 1-560 16,0 6-300-1,-4 8-240-15,2 3-176 16,-2 2-91-16,4 5-47 16,-2 2-22-16,-2 6-11 15,0 0-4-15,6-6-3 16,-2 1 0-16,1 2-1 16,-1-4 0-16,5 1 0 15,-3 0 0 1,-4-22 0-16,4 7 0 0,-2 7 0 15,-2-5-65-15,0-7-549 16,4-3-1314-16,-2-3-614 16,-2-4-785-16,-2 0-1481 15,2-2-169-15</inkml:trace>
  <inkml:trace contextRef="#ctx0" brushRef="#br1" timeOffset="-66631.21">16640 14590 13581 0,'0'0'5427'0,"0"0"-1023"16,0 0-1324-16,0 2-875 15,8 0-506-15,8 0-564 16,-1-2-547-1,-5 0-571-15,5 0-177 16,10-2 86-16,3 4 21 16,2-2 119-16,8 5 135 15,-3-4 178-15,-5-1-229 16,5 3-79-16,5-3-41 16,4 2-17-16,-11-2-8 15,1 2-3-15,3-2-2 16,7 0 1-1,3-4-1-15,-11 8 0 16,2-2 0-16,9-4 0 16,-1 4 0-1,-6-2 0-15,-3 2 0 0,13-6 0 16,1 6 0-16,-7-2 0 16,-3-4 0-16,9-2 0 15,1 1 0-15,-7 5 0 16,3 0 0-1,1-4 0-15,14 6 0 16,-19-2 0-16,1-2 0 16,17 2 0-16,-16 0 0 15,-5 0 0-15,2-4 0 16,7 2 0-16,4-1 0 16,-17-1 0-16,8 2 0 15,3-2 0-15,-3 6 0 16,-3-2 0-1,3-2 0-15,5 2 0 16,-5 4 0-16,-4-4 0 16,9 2 0-16,8 5 0 15,-13-3 0-15,-8-2 0 16,17 2 0-16,5 1 0 16,-10-8 0-16,-7 3 0 15,7 4 0 1,3-5 0-16,-11-2 0 15,-6 6 0-15,7-3 0 16,54 0 0 0,-26-7 0-1,-20 5 0-15,-9-2 0 16,-6 4 0-16,-6-2 0 16,-1-2 0-1,7 1 0-15,-2-1 0 0,2 0 0 16,-9-1 0-1,7 4 0-15,6-6 0 16,-19 5 0 0,-2 2-514-16,0 0-596 15,-7 0-583-15,-4 0-910 16,-1 2-868-16,0-2-1525 16</inkml:trace>
  <inkml:trace contextRef="#ctx0" brushRef="#br1" timeOffset="-66002.2">19993 14327 2530 0,'0'0'8108'0,"0"7"-1350"0,2-3-2023 15,2 5-1523-15,-1-1-1377 16,-6 5-616-1,3-5-205-15,0 5-87 16,0-1-138-16,-2-1-85 16,2 6-242-16,0 2-220 15,-6 4-120-15,2-1-64 16,4 7-29-16,0 5-16 16,0-2-7-16,0-7-4 15,2 11-1 1,2 0 0-16,-2 9-1 15,0-5 0-15,0 0 0 16,-2-4 0-16,3 2 0 16,0-4 0-16,-1-9 0 15,0-7-860-15,0 0-1952 16,2-7-2038-16,-4-7-2087 16</inkml:trace>
  <inkml:trace contextRef="#ctx0" brushRef="#br1" timeOffset="-65134.11">20379 14522 23895 0,'0'0'1646'0,"0"0"649"16,0 0-746 0,0 0-373-16,0 0-371 0,-4 4-288 15,8 0-160-15,-2 7-122 16,2 19-21 0,4-7-172-16,1 7-22 15,2 4-11 1,-1 6-5-16,3 9-2 15,2 5-1-15,-3-5-1 16,-1 17 0-16,-5-13 0 16,-2-7 0-16,3-3 0 15,0-11-1046-15,-1-14-3062 16,-4-11-3691-16</inkml:trace>
  <inkml:trace contextRef="#ctx0" brushRef="#br1" timeOffset="-64273.75">20559 14761 10474 0,'4'0'4030'0,"11"0"303"15,6-2-674-15,7-2-1403 16,1-3-1072-16,7 2-639 16,-6-4-323-16,4 2-88 15,1 3 1 1,17 2-96-16,-4 0 15 15,7 2 8-15,8 2 215 16,-5 0 43-16,15 2 38 16,-2-4 426-16,-14 3-70 15,7-1 20-15,13 4-127 16,-13-1-255-16,11-1-33 16,-4 6-239-16,1-6 11 15,4 5-61-15,-12-1-1 16,10 3 201-1,-11-11-435-15,-6 4 261 16,20 7-386-16,-11-9-48 16,-5-2 253-16,4-2 231 15,1-1 184-15,-5-3-45 16,-1 4 86-16,-11 2-18 16,7-4-89-16,1 2-123 15,1-2-45-15,-7-5-36 16,10 3-13-1,-1 4-4-15,-1-5-2 16,0 1-1-16,-9 1 0 16,-10 1 0-16,3 0 0 15,10-2 0-15,2 4 0 16,-8-3 0-16,-1 3 0 16,-1-2 0-16,-1 2 0 15,-19 0 0 1,3 0 0-16,2 0 0 15,-20 2 0-15,1-2 0 16,-7 2-49-16,-2 0-535 16,0 0-1064-16,4 0-1930 15,-6 0-1043-15,0 0-1232 16</inkml:trace>
  <inkml:trace contextRef="#ctx0" brushRef="#br1" timeOffset="-63836.65">23626 14427 15022 0,'-2'6'7587'0,"-1"9"-2759"0,6 2-2209 15,1 7-1161-15,-2-14-914 16,-2 17-151-16,2 18-200 15,0 6-115-15,-2 2-50 16,5 16-16-16,-1-3-9 16,2 8-2-16,-2 4 0 15,-2-8-1-15,0 2 0 16,4-8-42-16,-4-16-514 16,4-7-420-16,-2-16-965 15,-2-8-2872 1,2-13-1811-16</inkml:trace>
  <inkml:trace contextRef="#ctx0" brushRef="#br1" timeOffset="-63373.65">23960 14520 12139 0,'0'25'9216'15,"-2"18"-2312"-15,2 3-4129 16,6 9-1666-1,-2 11-695-15,10-2-275 16,-10 1-92-16,4 3-31 16,0-7-11-16,1-2-3 15,-3-12-1-15,3-5-390 16,1-14-2358-16,-1-11-2480 16,-5-11-2903-16</inkml:trace>
  <inkml:trace contextRef="#ctx0" brushRef="#br1" timeOffset="-62752.65">24100 14702 18129 0,'13'13'6919'16,"6"4"-2754"-16,-3 2-2246 16,10-2-1000-16,4-2-507 15,3-11-237 1,3 2-99-16,7 1-44 15,-11-7-20-15,8 0-7 16,13-3-2-16,1 3-2 16,2 0-1-16,7 0 0 15,-2-4 0-15,-1 6 0 16,9-6 0-16,2 0 0 16,-14-3 0-16,21 3 0 15,-3-2 0 1,-10-5 0-16,5 13 0 15,-11-2 0-15,7 0 0 16,1 7 0-16,-12-5 0 16,7 0 0-16,-3 9 0 15,-11-5 0-15,9-4 0 16,3 0 0-16,-7 0 0 16,4 3 0-16,7 1 0 15,-7 0 0 1,-3 1 0-16,6 1 0 15,-5 1 0-15,2-5 0 16,2 2-562-16,1-2-470 16,-12 3-1169-16,-3-3 522 15,6 2-2155-15,-15-1 9 16,-2-1-1121-16,-7-2-1206 16</inkml:trace>
  <inkml:trace contextRef="#ctx0" brushRef="#br1" timeOffset="-62249.64">26646 14315 10025 0,'4'19'11860'0,"3"15"-5602"0,1 2-3541 0,1 0-1589 15,4 8-649-15,-1 13-285 16,-4-6-127-1,4 4-42-15,6 6-16 16,-1 5-6-16,4 4-2 16,4 2 0-16,-5-2-1 15,-10-1-410-15,1 1-2056 16,-9-4-1146-16,3-5-2645 16,-5-1-1475-1</inkml:trace>
  <inkml:trace contextRef="#ctx0" brushRef="#br1" timeOffset="-61536.47">26939 14410 17553 0,'0'0'3286'0,"0"4"-183"15,4 0-227 1,-2-2-983-16,2 5-564 15,-2-1-462-15,6 3-393 16,1-1-203-16,-1 3-289 16,-1 1 206-16,3 12-25 15,-3 12 276-15,1 10-226 16,-8 16-128-16,4 4-55 16,0 10-20-16,3 0-6 15,6 4-3-15,-1-12-1 16,-3 6 0-1,4-17 0-15,-3-8 0 16,3-13-210-16,-7-7-2326 16,-2-5-2632-16,7-12-2672 15</inkml:trace>
  <inkml:trace contextRef="#ctx0" brushRef="#br1" timeOffset="-60816.42">27091 14744 4132 0,'4'4'5536'0,"0"3"331"16,0-1-1034-1,2 1-1751-15,4-3-1167 16,2 0-198-16,9 0-478 16,4-1-127-16,5-2-473 15,1 2-381-15,-5 3-50 16,8 2-103-16,17 1 83 16,-4 1-80-16,1 1 152 15,11 2 13-15,1-5-285 16,-14 3 187-1,11-2-168-15,7-3 166 16,2 2-413-16,0 1-12 16,3-1-154-16,-8-4 254 15,15 2 53-15,-3 3 69 16,-8-6 148-16,20-2 215 16,-7 4-36-16,-1-5-9 15,-8 2-47 1,7-6-205-16,13-5 45 15,-16 2 115-15,0-1-68 16,10 0-197-16,6-1 183 16,-9-1 119-16,-12-1-142 15,12 3-60-15,-1-1-22 16,-1 5-6-16,-15 2-2 16,-11 0-42-16,1 4-866 15,-13-4-1288-15,-7 4-1933 16,-3-2-871-1,-16 0-40-15,4 2-830 16</inkml:trace>
  <inkml:trace contextRef="#ctx0" brushRef="#br1" timeOffset="-60412.33">29591 14486 11595 0,'2'4'9253'15,"4"11"-3529"1,4 0-2609-16,5 6-1456 0,-4 4-868 16,8 5-428-1,5 13-196-15,-8 5-104 16,-1 12-60-16,10 71-1231 15,-16-66-22 1,3 1-662-16,0 2-1244 16,-4-7-1761-16,-2-6-2635 15</inkml:trace>
  <inkml:trace contextRef="#ctx0" brushRef="#br1" timeOffset="-53973.69">9120 12852 26393 0,'0'0'499'0,"-6"2"-19"15,6-2-356-15,0 3-184 16,-2-2-143-16,-2 4-262 16,-2 3-15-1,3-1 667-15,1-1 61 16,-5 4 354-1,3-1-158-15,-2 2 156 16,4 1 333-16,-4 3-62 16,3 0-159-16,1-2-253 15,2-1-166-15,0 5 146 16,5 0-95-16,-3 0-172 16,-4 2-83-1,2 5-44-15,2 1-23 16,0-2-12-16,2-2-5 15,2 3-3-15,0 1-1 16,-1 0 0-16,-3 3-1 16,-4 1 0-16,-3 1 0 15,3-7 0-15,4 1 0 16,3 1 0-16,0-2 0 16,-5 3 0-16,0 3 0 15,-3 1 0-15,3-4 0 16,0 1 0-1,-5 26 0 1,3-28 0-16,0 3 0 16,0-5 0-16,0-4 0 15,4-2 0-15,2-4 0 16,1 0 0-16,0-5 0 16,-3-2 0-16,0 1-641 15,0-5-1303-15,-2 0-2253 16,0-2-2624-16</inkml:trace>
  <inkml:trace contextRef="#ctx0" brushRef="#br1" timeOffset="-52888.57">9023 12933 6854 0,'0'0'5900'0,"0"0"-2319"16,0 0-860-16,4-3-1579 16,0-3-1217-16,2-7-1571 15,-1 3-581-15,1-1 891 16,-4 1 841-1,1-1 1453-15,1 3 1145 16,2-3-181-16,5 2 267 16,-3 1-65-1,-2 4-566-15,3-3-362 0,2 1-266 16,3-1 2-16,-3 2-45 16,2-2 40-16,1 5-250 15,7-2-8-15,1 2-317 16,-2-5-41-1,-2 5-90-15,-3 2-110 16,-3 0 20-16,6 2-57 16,4 0-34-16,4 5-20 15,-5-1-12-15,0-2-4 16,0 3-2-16,-7-1-1 16,-4 7 0-16,6-1-1 15,0-3 0 1,-8 1 0-16,3 3 0 15,3 0 0-15,4 4 0 16,0 2 0-16,-5-5 0 16,0 6 0-16,-3-1 0 15,3 4 0-15,-2-4 0 16,-5-2 0-16,3 0 0 16,-3 2 0-16,-6 4 0 15,2-2 0 1,0-4 0-16,-4-2 0 15,-4 0 0-15,2 4 0 16,-5-2 0-16,-2-7 0 16,1 6 0-16,1-4 0 15,-1 1 0-15,-6-1 0 16,0 1 0-16,-6 2 0 16,4 0 0-16,5-7 0 15,3 1 0 1,-6-3 0-16,8 0 0 15,-2-6 0-15,-4 4 0 16,-4-4 0-16,-3-1 0 16,-3 2 0-16,4 4 0 15,0-5 0-15,1-5 0 16,2 4 0-16,0-2 0 16,-11-1 0-16,6 4 0 15,-6-6 0 1,-2 6 0-16,9 0 0 15,7 0 0-15,7 0 0 16,0-2-88-16,3 0-431 16,0 0-788-16,-2-3-1355 15,2-3-2963-15,-1-5-2055 16</inkml:trace>
  <inkml:trace contextRef="#ctx0" brushRef="#br1" timeOffset="-51967.56">9922 12852 13741 0,'0'0'3850'0,"0"0"-695"16,0 0-795-16,0 2-795 16,-2 1-504-16,2 1-326 15,-4 2-252-15,6 0-105 16,0 3 90 0,-2-1 332-16,-2 5 338 0,-2 2 57 15,4 0-328-15,0 3-374 16,0 0-257-1,2 17-55 1,0 4-135 0,0-25-39-16,-2 4-3 15,-2 0-2-15,6-1-1 16,-2 1 0-16,0-6-1 16,0 3 0-1,0-1 0-15,-2 6 0 16,0-8 0-16,3 3 0 15,0-2 0 1,-1 4 0-16,4 0 0 0,-2 14 0 31,0-1 0-31,-4-13 0 16,2 2 0-16,2-6 0 16,-4 1 0-16,0 1 0 15,0 2 0 1,7 7 0-16,-3-3 0 15,-4-2 0-15,0-2 0 16,-2 6 0-16,2-4 0 16,0-2 0-16,-2 2 0 15,-3 0 0-15,3-6 0 16,4-2 0-16,0-3 0 16,-2-4-191-16,0-2-1412 15,0-10-9155 1</inkml:trace>
  <inkml:trace contextRef="#ctx0" brushRef="#br1" timeOffset="-51412.47">9980 12435 30781 0,'0'0'45'0,"-5"-2"-211"16,-10 10-1111-1,-5 3 105-15,-4 4 683 16,12-7 450-16,7 1 221 16,3-3-143-16,4 2 269 15,5-3 899 1,9-3 49-16,10-10-308 0,-3-5-467 16,-8 2-373-16,-6-1 155 15,-3 5-135 1,-4 5-68-16,-2 0-23 15,-4-4-239-15,-3 1-756 16,-3 1-15-16,-14 8 258 16,4 3 715-16,8-5-131 15,4-2 199-15,2 6 92 16,6-4 844-16,6 9-145 16,12-5-383-16,-4-1-248 15,-2-3-111-15,3-2-53 16,-8 2-35-1,-3-2-14-15,-2 0-6 16,-2 2-607-16,0-2-3713 16,-10 2-6668-16</inkml:trace>
  <inkml:trace contextRef="#ctx0" brushRef="#br1" timeOffset="-44837.31">9609 14804 14061 0,'0'0'3030'0,"-2"2"-93"16,0 0-150-16,-2 0-941 16,-2 2-1170-16,-3-2-882 15,0 2-52-15,1-1 169 16,-3-3 135-16,1 2 197 16,2-2 86-16,-2 2-181 15,-4 4-81-15,0 5 252 16,2-3-55-1,4 1 180-15,2-1-153 16,2 3-93-16,-1-5-62 16,1 7 77-16,4 0-35 15,6 1-61-15,5-1 114 16,4 0-108-16,6 0 162 16,7-1-125-1,-1-1-306-15,-3-1 15 16,-4-3 106-16,4 3-125 15,5-3 23-15,3 1-58 16,-6 0 232-16,-14-1-44 16,1 3 78-16,0 1 7 15,-5 2-59-15,3 2 99 16,-3 6 138-16,-6-2 287 16,-4-2 221-1,-13 23 861 1,-1-21-1126-16,-8-4-69 15,-4 0-212-15,1-3-130 16,-7-3-54-16,8-1-27 16,-7-4-27-16,-5-1-126 15,6-3-135-15,6-3-204 16,-3-1-518-16,8 0-383 16,2 0 47-16,-1-5-2227 31,8 1-1775-31,0-3-892 0</inkml:trace>
  <inkml:trace contextRef="#ctx0" brushRef="#br1" timeOffset="-44061.17">9928 14977 13517 0,'5'5'4739'16,"-2"11"-10"-16,1 5-1940 16,0 5-1171-16,2 4-956 15,0 6-547 1,-2-9-105-16,-8 5-60 15,2 0-8-15,2-7-1 16,0 5-1445-16,-2-5 1546 16,2-8 53-16,-2-7 167 15,0-1-56-15,2-5-105 16,0-1-140-16,0 1-3 16,0-4-47-16,0-7-179 15,-2-20-881-15,-6-9-1330 16,-2-3 531-1,4-1-1992-15,4-4 1062 16,0 2 1450-16,2 10 963 16,-2 2 341-16,4-1 159 15,6 5 368-15,14-20 2058 16,-10 26-554 0,3 6-160-16,2-1-514 15,4 7-369 1,9 1-380-16,-7 5 286 15,1 4 359-15,-6 5 432 16,0 3-282-16,-8 5-479 16,-8 4-405-16,-2 6 79 15,-6-1-326-15,-2-1-8 16,-8-2-145-16,6-6 85 16,-5-1-335-16,3-5 72 15,-1-1-466-15,-4-5-910 16,11-3-492-1,-8-4-1935-15,-4-9-1304 16,5 0-218-16</inkml:trace>
  <inkml:trace contextRef="#ctx0" brushRef="#br1" timeOffset="-43279.43">10257 14925 3748 0,'4'10'10623'0,"2"11"-3224"15,-1 9-2776-15,-3-5-2881 16,2 2-1446 0,-4 7-307-16,-4 2-32 0,-5-6-281 15,1-2 184-15,0-5 235 16,-4-6-118-16,6-4 74 16,4-5-148-16,2-6-1 15,2 2-22 1,-2-4-39-16,0 0 107 15,0-4 26 1,0-15-185-16,-2-8-1044 0,10-12-1254 16,2-1 548-16,2 0-912 15,5 2-98-15,2 2 1626 16,-13 25 928-16,5-12 133 0,11-7 332 16,-4 3 338-16,-1 8 1860 15,0 6 324-15,2 3 248 16,-9 3-19-1,-1 3-1118-15,-2 4-661 16,-7 0-647-16,-7 15 3 16,-10 4-246-16,0-2-17 15,-6 4-366-15,4-4-1644 16,9-2-372-16,-6-4 880 16,6-6 775-16,4-2 442 15,4-1 306 1,2-2 594-16,0 0 631 15,0 0 105-15,0-2-632 16,0 2-310-16,0-4-515 16,2 1-371-16,6 6-611 15,0 3 577-15,-2 5 1234 16,10 8 437-16,0 6 907 16,6 0-173-16,7 7-1069 15,7 0-566 1,-4 0-232-16,-15-9-91 15,-2-2-28-15,2-4-11 16,-7-5-256-16,-4-3-1503 16,-1-5-2029-16,0-1-1987 15,-3-3-999 1</inkml:trace>
  <inkml:trace contextRef="#ctx0" brushRef="#br1" timeOffset="-43073.43">10663 15005 21524 0,'2'6'4231'15,"-2"15"-612"-15,0 13-1662 16,-2 13-1068-16,-4 3-546 16,-2-1-315-16,-4 2-527 15,2-11-1099 1,-2-4-322-16,8-13-1723 15,1-8-1280-15,3-10-61 16</inkml:trace>
  <inkml:trace contextRef="#ctx0" brushRef="#br1" timeOffset="-42875.42">10657 14774 20948 0,'0'2'4724'16,"2"5"-2028"-16,-4 5-622 16,2 3-965-16,-4 19-1316 15,-2-24-4966 1,4 1-4801-16</inkml:trace>
  <inkml:trace contextRef="#ctx0" brushRef="#br1" timeOffset="-42281.35">10853 14956 28635 0,'5'9'1707'0,"2"3"-549"16,-3 12-708-1,-4-3-728-15,-4 8-1536 16,-10 10 167-16,0-4 1060 16,4-5 344-16,-2-6-326 15,0-1-122-15,1-11 445 16,7-3 444-16,2-9-85 16,2 2-212-16,0-2-77 15,2-17-469 1,9-17-1862-16,3-6-546 15,4-7-788-15,0 1 364 16,2-1 994-16,-12 11 972 16,-8 7 1528-16,2 12 916 15,7 2 1839 1,-1 17-1473-16,0 17 349 16,-1 8 1630-16,8 16 365 15,11 1 416-15,3-1-328 16,7-1-1803-1,-10-6-1285-15,-14-6-402 16,7-5-138-16,-4-6-62 16,-9-9-24-16,0-3-8 15,-1-5-5-15,-1-2-1 16,2-14-704-16,-4-14-1465 16,-6-13 446-16,0-14 129 15,4 1-1330-15,-2-2-296 16,2 6-1448-1,-2 7 1011-15,0 14 1354 16,-1 5 449-16,-1 9-15 16,-2 7 827-16,4 4 93 15</inkml:trace>
  <inkml:trace contextRef="#ctx0" brushRef="#br1" timeOffset="-41961.82">11413 14925 9161 0,'4'16'11443'15,"-2"8"-4988"-15,0 43-1796 16,-4-24-4024 0,0-1-383-16,4-4-157 15,-6-2-56-15,-3-7-23 16,7-7-127-16,0-5-546 16,0-9-888-16,0-6-722 15,0 1-347-15,0-8-2334 16,-2-18-2515-1</inkml:trace>
  <inkml:trace contextRef="#ctx0" brushRef="#br1" timeOffset="-41697.76">11247 14800 27386 0,'0'0'1883'15,"0"0"-783"-15,0 0-326 16,8 6 256 0,4 2-754-16,6 5-110 15,8 2-81-15,1 0-47 16,5 0-21-16,2-1-10 16,0-1-4-16,-9-3-2 15,7-3 0 1,2-3-1189-16,-5-6-3311 15,-1-7-4791-15</inkml:trace>
  <inkml:trace contextRef="#ctx0" brushRef="#br1" timeOffset="-28350.75">9169 13923 3555 0,'0'0'1212'16,"-2"4"600"-16,-2 3 713 15,-1-3-473 1,1 5-217-16,0 14 2506 16,0-6-2557-1,-7 8-320-15,-2 9-408 16,3-3 275-16,4 10-375 15,-6 7 370-15,0 1 163 16,2 8-517-16,3-8-110 16,5 4 12-16,2-7-48 15,-4 1-313-15,4 4-174 16,2 0-151-16,-2-2-120 16,-2-1 38-1,-2 5-25-15,-1 0-153 16,-3 2-1108-16,-3-2 150 15,-1 4 338-15,4-8 259 16,-4-7 253-16,8-2 75 16,-2-6 287-16,2-2 38 15,0-7-132-15,4-10-97 16,-2-9-358 0,2-2-1110-16,0-4-76 15,4-1 426-15,10-25 465 0,2-23 253 16,2-8 292-1,1-10 140-15,-4-16-105 16,0 5 158-16,-3-13-64 16,8 6 59-16,-4-8-210 15,4 10-707-15,-3 9 333 16,-5 0 135-16,-5 6 174 16,-5 7 180-1,-2 6 37-15,2 10 10 16,-2 8 63-16,2 3 40 15,0 17 44-15,-4 4-89 16,2 9-17-16,2-1-158 16,-2 5 105-16,3 3 51 15,3 11 141-15,-2 18 200 16,-2 4 641-16,-2 7 594 16,-2 10 165-1,2 1-615-15,-2 8 247 16,-6 58 1357-1,3-56-2083-15,5-3-466 16,-4-1-160-16,2-1-55 16,2-2-17-16,-5-2-8 15,-7 0-2-15,10-40 0 16,-11 27-1-16,-11 14-1024 0,6-8-1920 16,0-8-2247-1,6-12-556-15,10-18-691 0</inkml:trace>
  <inkml:trace contextRef="#ctx0" brushRef="#br1" timeOffset="-23445.97">9003 16095 17104 0,'0'0'841'0,"0"0"-212"0,-2 0-1484 16,-6 13-869 0,-4 4 779-16,3 8 648 15,-2 0 129-15,1 9 477 16,3-2 1531-16,7 10 809 15,2 2-585-15,5 9 317 16,6 3-1-16,2-1-1210 16,-3 10-527-16,-4-1-151 15,4 6-150-15,-4 3-99 16,-8 4-341-16,-8 7 112 16,6-3-10-1,-6 4 377-15,-6 37-36 16,8-83 119-1,-3-10-91-15,5-14-60 16,2-9-128-16,-2 1-101 16,1-5-143-16,-1-2 71 15,0-5-155-15,4-7 98 16,0-7-13-16,4 2 30 16,-4-2-35-1,0 0-474-15,4 2-626 16,-4 2-1407-16,-2-6-3396 15,2-2-3347-15</inkml:trace>
  <inkml:trace contextRef="#ctx0" brushRef="#br1" timeOffset="-22701.37">8985 16222 2851 0,'0'0'9402'15,"0"0"-3604"-15,0 2-2339 16,0-2-1725-16,0 0-1195 15,-2-9-1910 1,4 3 940-16,10-6 134 16,2-4 427-16,-2 0 1521 15,15-5 854 1,-3-3-886-16,-1 8-227 16,6-2-405-16,3 4-684 15,21-3-75 1,-29 14-333-16,-8 3 58 15,6 4 7-15,-1 3 155 16,5-1-199-16,-2 5 99 16,-4-3 8-16,-3 8 105 15,-5 0-67-15,-4 5-49 16,-8 0 147-16,-4 9 9 16,-8 2 93-1,1 0-40-15,-10 2 28 16,-4-7-15-16,-1 3 201 15,5 6-155-15,-7-7-171 16,-4 1-64-16,-3-3-27 16,-3-3-11-16,0-5-5 15,6-7-1-15,13-1 0 16,-5-5-1-16,0 1 0 16,0-3 0-1,1-2 0-15,3 0-774 16,16 0-1054-16,0-4-4018 15,2 0-3134-15</inkml:trace>
  <inkml:trace contextRef="#ctx0" brushRef="#br1" timeOffset="-22052.31">9613 15949 21781 0,'0'0'1813'0,"0"0"-462"15,-2 2-222-15,-8 4-1101 16,1 9-443-16,3 6 382 16,-3 11 1175-16,1-2 40 15,-1 8 869-15,9 0-584 16,-2 2-706-16,0 11-441 16,2 0-200-1,2 2-76-15,-2 16-26 16,2-3-13-16,-6 4-3 15,0-3-1-15,2 8-1 16,2 5 0-16,-6-8 0 16,2-2 0-16,2-7 0 15,8 3 0-15,-6 0 0 16,0-9 0-16,-2-2 0 16,0-10 0-1,2-12 0-15,0-9-374 16,0-14-1002-16,2-4-968 15,-2-2-1292-15,0-4-553 16,0-16-1036-16,6-20-1828 16</inkml:trace>
  <inkml:trace contextRef="#ctx0" brushRef="#br1" timeOffset="-21210.31">9893 16670 7687 0,'0'0'4854'16,"0"0"242"-16,-2-1-672 15,-11-10-2752-15,-2-2-2850 16,-1 5-81-16,2-1 228 16,2 5 812-16,4 2 1998 15,-10 4 787-15,-7 7-613 16,4 12 147-16,0 12 132 16,-3 20-876-1,3 6-870-15,13 1-325 16,-5 4-102-16,7-10-41 15,3-1-11-15,-1 3-4 16,0-12-3-16,2-19 1 16,4 1-1-16,2-8-16 15,0-5-7-15,3-2 41 16,8-5-8-16,12-4-356 16,-5-6 28-1,0-8-256-15,0-14-997 16,-1-12-101-16,5-11-823 15,-10 1 243-15,2 1 870 16,2-6 774-16,4 11 318 16,-9 6-150-16,-1 2-252 15,-10 8-193-15,-4 1 176 16,-2 10 1014-16,2 5 324 16,-8 2 323-16,6 3-27 15,0 5-25 1,2 0-654-16,-4 6-175 15,0 11-7-15,4-10-38 16,0 12-7-16,2 13 807 0,0 6 821 16,8 13 12-16,0 2-174 15,2 8 501-15,-8 4-363 16,0 45-1126 0,10-61-1569-1,-5-11-705-15,-5-17-1720 16,-2-8-1852-16,1-11 760 15</inkml:trace>
  <inkml:trace contextRef="#ctx0" brushRef="#br1" timeOffset="-20760.24">10126 16787 31742 0,'4'21'551'16,"-2"13"-277"-16,2 8-1105 15,-8 15-1898-15,2 3-437 16,-2-3 1883-16,0-9 1048 16,2-11 690-1,2-12 1078-15,-2-12-470 16,2-3-481-1,4-7 564-15,6-8 23 0,2-16-350 16,2-25-431-16,-2-20-831 16,3-9-1177-16,8-2 322 15,-2 7 410-15,3 12 424 16,-3 12-12-16,0 10 173 16,-6 19 230-16,-5 9 456 15,-2 14 923 1,2 32-269-16,-8 32 921 15,-4 8-503-15,4 9-953 16,-4-11-466-16,0-4-695 16,4-17-387-16,-2-12-898 15,-2-18-2123 1,6-15-1813-16,0-8-187 0</inkml:trace>
  <inkml:trace contextRef="#ctx0" brushRef="#br1" timeOffset="-20322.58">10419 16634 27546 0,'0'9'1784'0,"5"14"-188"16,2 9-786-16,-5 21-1313 15,-6 7-1085-15,4-6 757 16,-2 10 523-1,2-9 61-15,2-6 142 16,-2-5 145-16,2-8 421 16,-4-13-268-16,2-14-134 15,2-5-380-15,0-6 118 16,8-17 585 0,0-22-131-16,4-22-334 15,-6-9-944-15,0-6-947 16,9 12 870-16,-4 7 892 15,-2 23 954-15,-1 10 471 16,-2 14-474-16,-1 10 3 16,-2 8 473-16,3 34 108 15,0 22-107-15,0 9-567 16,-12 12-431-16,11-13-155 16,-5-11-126-1,0 3-1929-15,0-26-1191 16,2-15-3105-16,3-10-1382 15</inkml:trace>
  <inkml:trace contextRef="#ctx0" brushRef="#br1" timeOffset="-20106.58">10734 16768 23638 0,'0'0'3053'0,"0"4"-714"15,4 3-741-15,0 16-465 16,-2 13-546-16,-4 14-323 16,0 6-165-16,6 11-83 15,2-9-219-15,-2-4-953 16,7-7-1287-16,-2-11-1930 16,3-11-1514-1,-8-9 326-15</inkml:trace>
  <inkml:trace contextRef="#ctx0" brushRef="#br1" timeOffset="-19931.61">10771 16487 28091 0,'0'0'1552'15,"0"0"-562"-15,0 0-266 16,5 6-120-16,-14 19-2032 15,-2 7-2756-15,3-5-2746 16,4-10-1567-16</inkml:trace>
  <inkml:trace contextRef="#ctx0" brushRef="#br1" timeOffset="-19532.54">10904 16823 32639 0,'5'25'72'0,"8"22"-37"16,-9 4-22-16,0 8-1282 15,-6-6-1396-15,-2 2 832 16,4-15 725-16,0-10 214 16,2-14-269-1,0-7 609-15,-2-6 489 16,10-15 2484-16,16-29-105 15,-9-21-428-15,4-8-1087 16,4-15-373-16,3 22-115 16,-14 19-354-16,-5-1 66 15,4 11-89-15,-7 11-247 16,-4 10-602-16,5 7 107 16,-3 6 304-16,6 17 221 15,1 16 351 1,-4 12 807-16,3 4 189 15,9-1-124-15,-4 3-968 16,-7 0-1679-16,1 0-1678 16,3 0-1932-16,-3-11-1862 15</inkml:trace>
  <inkml:trace contextRef="#ctx0" brushRef="#br1" timeOffset="-18864.94">11544 16823 20852 0,'0'0'5578'16,"-2"2"-2928"-16,-22 2-1722 15,-7 7-1752-15,5 6-47 16,-12 13-240-16,15 3 818 16,-7 1 154-16,6 2 553 15,8-2-14-15,8-13 278 16,1 4 758-16,5-5-287 16,4-5-417-16,5-3-157 15,15-6-253 1,4-1-164-16,2-14-84 15,-13 3-171-15,-1-11-107 16,12-4-141-16,-8 0 118 16,-8 0 26-16,0 1-58 15,5 6-199-15,-1-1-334 16,4 2-79-16,-6 7 264 16,12 2 211-1,-1 6 244-15,-6 8 667 16,-4-2 700-16,1 12 343 15,6 8-767-15,-8 3-451 16,-6 9-190-16,-2 3-90 16,0 3-36-16,-6 5-15 15,-2 2-5-15,-4 0-3 16,-4 0 0-16,-2 8-1 16,-6-4 0-1,-4 0 0-15,1-1 0 16,-5-10 0-16,-8 1 0 15,3-16 0-15,-1-5 0 16,0-5 0-16,-15 0 0 16,-2-6 0-16,13-7 0 15,2-4 0-15,-6-5 0 16,-7-4-258-16,23-8-2849 16,-1-12-7101-1</inkml:trace>
  <inkml:trace contextRef="#ctx0" brushRef="#br1" timeOffset="-12299.05">23088 7546 12428 0,'0'0'3899'0,"0"0"-703"16,0 0-770-16,0 0-699 15,0 0-578-15,0 0-380 16,0 0-242-16,0 0-366 16,0 0-477-16,0 0 47 15,0 0 159-15,4 0 305 16,9 0 457-16,2 2 111 16,2 0 254-1,6 2 555-15,15 2-526 16,-6-3-476-16,-5-3-211 15,-1-3-56-15,1 3-90 16,15-2 61-16,-6 0-166 16,26-4-150-1,-35 6 90-15,18 0-123 16,3 2 185-16,-11-2-71 16,-3 4-23-1,2 3-9-15,10-3-4 16,-3-4-2-16,-5 0 0 15,-1 2-1-15,3-4 0 16,5-5 0-16,-1 1 0 16,-12 0 0-16,0 1 0 15,15 1 0-15,-3 0 0 16,-10-2 0-16,7 6 0 16,5-2 0-1,-3 2 0-15,-8-3 0 16,-3-1 0-16,12 6 0 15,5-6 0-15,-7 2 0 16,-14 0 0-16,-5 2 0 16,13-2 0-16,11 2 0 15,-3 2 0-15,-10 0 0 16,-2 2 0-16,4 3 0 16,-3-3 0-16,4 4 0 15,-7-5 0 1,-12 1 0-16,-2-2 0 15,4 2 0-15,8 0 0 16,1 0 0-16,14-4 0 16,-18 0 0-16,0 0 0 15,1 3 0-15,-2-3 0 16,-6 2 0-16,8 2 0 16,1-4 0-1,-9 4 0-15,-8 0 0 16,5 5 0-16,-3-3 0 15,1 3 0-15,2 1 0 16,-5 1 0-16,6 2 0 16,0-1 0-16,-10-3 0 15,5-1 0-15,0 0 0 16,-1 3 0-16,-1-2 0 16,-5 1 0-16,0-1 0 15,-2-1 0 1,4 7 0-16,1-2 0 15,2 1 0-15,-3 3 0 16,0 0 0-16,0 7 0 16,-2-1 0-16,-4 0 0 15,5 5 0-15,-7-1 0 16,-3 3 0-16,3-1 0 16,-4 7 0-16,2 0 0 15,2 1 0 1,0 0 0-16,-2-1 0 15,-5 3 0-15,7 5 0 16,-5-2 0-16,3-2 0 16,-2 5 0-16,6-1 0 15,0-5 0-15,0 5 0 16,-2 5 0-16,0-5 0 16,0 1 0-1,-2-5 0-15,1 10 0 16,1-1 0-16,0-6 0 15,2-1 0-15,2 2 0 16,0 1 0-16,3-5 0 16,-3 3 0-16,-2 1 0 15,-4 1 0-15,-3-5 0 16,-6 0 0-16,3-2 0 16,5 4 0-16,3-4 0 15,0-4 0 1,6 9 0-16,3 3 0 15,-3-2 0-15,-4-1 0 16,2-9 0-16,3 0 0 16,-8 2 0-16,1-5 0 15,-2-1 0-15,2-2 0 16,-3 3 0-16,3 1 0 16,-2 2 0-16,-2 0 0 15,4-2 0 1,2-5 0-16,-2 1 0 15,-2-5 0-15,0-2 0 16,-2 2 0-16,-2-1 0 16,4-4 0-16,2-9 0 15,0 2 0-15,2-3 0 16,0-1 0-16,-2-2 0 16,2 0 0-16,-2-3 0 15,-6 3 0 1,-1-5 0-16,2-5-53 15,-5 1 48-15,-13-7-242 16,-1 3-199-16,-4-3 39 16,3 1-232-16,5 6 389 15,2-1 34-15,-10 1 227 16,-8 2-5-16,1-2 165 16,6 2 6-16,8-1 185 15,2-3 150 1,-11 2-127-16,-8-5-4 15,3 3-230-15,-3-1-87 16,7 1-39-16,-7 2-14 16,-5-2-7-16,5 3-2 15,2 2-1-15,-3-2-1 16,5 1 0-16,0 0 0 16,1 0 0-1,3 0 0-15,2 0 0 16,-6-1 0-16,-7 2 0 15,8-2 0-15,1 1 0 16,0 0 0-16,4 2 0 16,-12-2 0-16,7 0 0 15,7 2 0-15,-4 0 0 16,-9 0 0-16,-1-2 0 16,7 2 0-16,-1-2 0 15,-1 0 0 1,1-3 0-16,0 5 0 15,0-4 0-15,-1 2 0 16,9-2 0-16,-2 1 0 16,-3 2 0-16,-3-2 0 15,-5 2 0-15,13 1 0 16,4 0 0-16,-4-3 0 16,-4 3 0-1,3 0 0-15,-5-4 0 16,6 2 0-16,13 0 0 15,1 2 0-15,-8 0 0 16,-1-5 0-16,-1 5 0 16,-1 3 0-16,-2-6 0 15,3 3 0-15,1 0 0 16,8 3 0-16,-2-1-110 16,-9 0-20-16,10 0 90 31,1 0 20-31,2 0 156 0,-2-2-56 15,7 0-46-15,8 0-17 16,-2 3-6-16,2-3-4 16,0-3-1-16,-4-7-2 15,2-12-2-15,0 1 0 16,4-8-2-16,-2-3 1 16,-2-2-1-1,-4-2 0-15,4-2 0 16,6 0 0-16,-8-5 0 15,-2 6 0-15,2-6 0 16,-2-3 0-16,4 3 0 16,-4 5 0-16,-5-6 0 15,5 5 0-15,-3 1 0 16,3-4 0-16,4 0 0 16,0 0 0-1,-3-5 0-15,3 2 0 16,-4 3 0-16,0 2 0 15,0-9 0-15,-6 3 0 16,8 1 0-16,0 5 0 16,4-2 0-16,-2-3 0 15,0 5 0-15,6-4 0 16,-2-12 0-16,2 14 0 16,6-2 0-1,-4-1 0-15,-4 5 0 16,0-2 0-16,-2 1 0 15,4 1 0-15,2 4 0 16,-4-2 0-16,0 0 0 16,1 2 0-16,1 4 0 15,2 2 0-15,3-3 0 16,-3 1 0-16,1 4 0 16,-7 5 0-1,-2-2 0-15,-3 1 0 16,5-1 0-16,5 2 0 15,1-5 0-15,-6 5 0 16,4 0 0-16,-6 4 0 16,6 2 0-16,-4 2 0 15,2 0 0-15,0 7 0 16,2-3 0-16,-2 0 0 16,-2 1 0-1,2-3 0-15,2 1 0 16,2-1 0-16,-4 4 0 15,0 3 0-15,-2 2 0 16,0 2 0-16,2-3 0 16,8 1 0-1,16 2 0-15,-3 0 0 16,11 2 0-16,-9 0 0 16,11 0 0-1,8 6 0-15,-8 1 0 16,7 1 0-16,-7 3 0 15,6 2-624-15,5-7-2351 16,-13 0-1755-16,-1-8-1768 16,5 0-1764-16</inkml:trace>
  <inkml:trace contextRef="#ctx0" brushRef="#br1" timeOffset="-11215.27">24148 7579 20051 0,'0'0'3339'0,"-8"3"-1210"16,4 1-1087-16,2 2-595 15,-3 3-657-15,3 3-720 16,2 3 328-16,2 6 345 16,3 2 124-16,1 1 741 15,-2 5 604-15,0 6-265 16,-2 2 520-16,5 6-4 16,-2-1-391-16,-5 1-475 15,0-1-278 1,4 6-191-16,-2-3-80 15,-4 3-29-15,2 5-12 16,4 3-4-16,-4-8-3 16,-4 5 1-16,6 2-1 15,-2-2 0-15,2 2 0 16,-2-2 0-16,-4 0 0 16,2-4 0-16,0 0 0 15,2 8 0 1,-3-11 0-16,8 5 0 15,-3 0 0-15,4 2 0 16,-2-13 0-16,4 6 0 16,3 3 0-16,-8-6 0 15,-3 3 0-15,-3-3 0 16,-4 1 0-16,3 0 0 16,4-3 0-16,-8 7 0 15,6 1 0 1,4 0 0-16,0-3 0 15,-2-33 0-15,0 23 0 0,0 10 0 16,-2-1 0-16,4-12 0 16,0 2 0-16,-2 1 0 15,0 0 0-15,2-5 0 16,-2-22 0-16,0 4 0 16,2-8 0-16,-4 4-134 0,2-5-1209 15,0-1-1360 1,0-1-2155-16,0-2-1496 15</inkml:trace>
  <inkml:trace contextRef="#ctx0" brushRef="#br1" timeOffset="-10106.6">22893 8703 4644 0,'0'0'7534'0,"0"0"-1972"16,0 0-2267-1,0 0-941-15,0 0-1194 16,0 0-965-16,0 0-160 15,0 0 1-15,0 0 95 16,9-4 684-16,3 4 46 16,-1 0-99-16,8-2 361 15,3 2 221-15,3 0-163 16,9 0-273-16,-14 0-479 16,12 0-205-16,11 0-119 15,-1 0-63 1,7 0-25-16,-11 0-11 15,-6 0-4-15,8 4-1 16,7 1 0-16,-1-3-1 16,-1 0 0-16,-5 2 0 15,19 0 0-15,-15 0 0 16,-10-1 0-16,15 1 0 16,2 0 0-16,-3 2 0 15,-9 1 0 1,1-3 0-16,6 4 0 15,1-1 0-15,-13 2 0 16,-7-5 0-16,20 0 0 16,4 0 0-16,-18-2 0 15,-7-2 0-15,6 0 0 16,10 6 0-16,5 1 0 16,-20-5 0-16,-1 0 0 15,8 4 0 1,6 1 0-16,7-3 0 15,-12 0 0-15,-3-2 0 16,8 2 0-16,7-1 0 16,1-1 0-16,-12 0 0 15,-4 2 0-15,13-2 0 16,3 0 0-16,-9 2 0 16,-13-4 0-16,13-1 0 15,13-2 0 1,-7 3 0-16,-7 0 0 15,-4 0 0-15,6 0 0 16,9 0 0-16,-13 0 0 16,-15 0 0-16,9 3 0 15,-4-2 0-15,-4-1 0 16,-2 3 0-16,-1-3 0 16,-9 0 0-16,-6 2-1644 15,-4-2-3020-15</inkml:trace>
  <inkml:trace contextRef="#ctx0" brushRef="#br1" timeOffset="-9078.94">24198 7408 11819 0,'0'0'5553'0,"0"0"-1932"15,0 0-526-15,0 0-967 16,-3-11-600 0,-2-9-1464-16,1-8-1864 0,0-6 485 15,-2-4 1072 1,2 0 1011-16,6-2 740 15,-10-43 918 1,6 43-1179-16,0-2-294 16,-7-1-174-16,-4-3-463 15,-4 3-257-15,5 3-153 16,-8 4 38-16,-5-8-349 16,6 8 31-16,-2 10 100 15,4-1-204 1,-6 1-143-16,5 7 604 15,-4 2 294-15,-2 7-88 16,-9 3 12-16,11 3-324 16,-6 8-510-16,18 4 469 15,-11 16-44-15,1 4 152 16,2 3 220-16,5 7 531 16,4 1 220-1,11 3-210-15,5 0-332 16,14 5-218-16,-4-3-99 15,2 3-35-15,0-7-13 16,15 9-5-16,2-5-2 16,-2-4 0-16,-7 3-1 15,-1-5 0-15,1 6 0 16,3-6 0-16,2-4 0 16,-7-2 0-1,-4-9 0-15,-6-8-333 16,-7-6-1770-16,1-5-2242 15,-9-4-1248-15</inkml:trace>
  <inkml:trace contextRef="#ctx0" brushRef="#br1" timeOffset="-8385.98">24159 7118 27066 0,'0'0'1821'0,"0"0"-488"16,5-6-511-16,-1-7-627 15,-4-10-602-15,10-7-633 16,-2 2 88-16,4-3 527 16,-2-3 238-16,11-2 474 15,7 0 593-15,-2 4 99 16,7 3 19-16,-12-1-177 16,2 3-487-1,21-20-137 1,-7 24-170-16,-12 6-17 15,9 0-5-15,-13 4-3 16,2 2-2-16,7 7 1 16,6 4-1-16,6 3 0 15,-13 3 0-15,1 2 0 16,-10 7 0-16,1 4 0 16,2 6 0-1,-8 1 0-15,-5 5-36 16,-4 1-91-16,-3 0 219 15,-6 2-235-15,-9 2 232 16,-2 4-91-16,-4-6-168 16,10 0 101-16,-7 0-74 15,-4-3-65-15,-10 4-100 16,-5-8 289-16,-5 3 70 16,3-9 46-1,-6 2 201-15,-3-2 34 16,-3-4-163-16,-3 0-108 15,19-4-40-15,-6 1-12 16,-1 1-5-16,-9-2-3 16,25-5 0-16,9-1-1 15,2-1-684-15,10-4-2326 16,-2 3-3612-16</inkml:trace>
  <inkml:trace contextRef="#ctx0" brushRef="#br1" timeOffset="-6754.76">22734 10433 3299 0,'0'0'3288'0,"0"0"1351"16,0 0-685-16,2-4-560 15,-4 1-382 1,0-1-892-16,-2 2-588 15,2 2-464-15,-2 0-519 16,-2 4-259-16,-3 7-493 16,1 19-694-16,3 8 781 15,5 12 546-15,0-1 293 16,3 0 345-16,-3 1 392 16,0 6-246-1,2-12-554-15,-2 1-463 16,-7-1-42-16,5 1-35 15,6-1 178-15,-4-8 0 16,0-9-179-16,3 1-67 16,-6-7-29-16,3-11-13 15,3-1-6-15,-3-7-25 16,0-2-149-16,0-6 232 16,-5-24 15-1,5-18-299-15,-2-5-514 16,4-11-859-16,0 9 43 15,3-4 350-15,-1-5-843 16,2 3-375-16,-6 4 1343 16,2 6 442-16,-2 6 388 15,5 12 175-15,-1 9 464 16,-4 8 1452-16,0 5-119 16,2 5-687-1,-2 3-332-15,0 3-173 16,0 0-78-16,4 11-123 15,-2 14 374-15,4-1 137 16,6 14-319-16,2 9 883 16,3-12-597-16,0-1-487 15,6-2-189-15,5-3-81 16,-5-7-32-16,-10-9-13 16,1-5-4-1,8-6-2-15,5-12-1 16,9-9 0-16,-2-5-1 15,-7-4 0-15,1-1-419 16,-2 1-110-16,9-8-320 16,3 7-787-16,-4 4 467 15,-6 6 417-15,-11 6 297 16,-9 2-54-16,-4 5 120 16,0 2 161-1,-2 1 256-15,-2 3-177 16,0-2 20-16,3 2 219 15,-3 0 62-15,0 0-92 16,3 0-198-16,-3 15-459 16,0 9 1033-16,-3 7 59 15,3 10-19-15,-3-1 116 16,-5 6 193-16,8 9 642 16,0 0 132-1,-2-2-406-15,4-2-715 16,2 10-270-16,-2-12-112 15,6 6-35-15,-2-2-13 16,-2-19-6-16,0-3-1 16,0-7 0-16,-2-12-371 15,0-1-1174-15,-2-7-910 16,2-2-1691-16,5-10-3079 16</inkml:trace>
  <inkml:trace contextRef="#ctx0" brushRef="#br1" timeOffset="-6412.76">23634 10632 4196 0,'0'2'11508'0,"0"4"-4674"16,-2 3-2380-16,0 6-1756 15,0 4-1139-15,0 6-742 16,6 7-417-16,-6-3-232 16,2 7-91-1,4 2-44-15,0 2-19 16,3 5-8-16,-1-9-248 15,-2-2-169-15,0-11-898 16,-2-6-1413-16,0-6-1548 16,0-5-1616-16,0-4 244 15</inkml:trace>
  <inkml:trace contextRef="#ctx0" brushRef="#br1" timeOffset="-6145.76">23628 10168 32767 0,'0'0'0'15,"0"0"0"-15,0 0 0 16,0 0 0-16,0 0 0 15,-2 13 0-15,0 12 0 16,-13 11-604-16,-8-2-1063 16,-1 0-2392-16,1-7-3460 15,6-6-2419-15</inkml:trace>
  <inkml:trace contextRef="#ctx0" brushRef="#br1" timeOffset="-5509.55">24053 10344 32767 0,'0'0'0'0,"-4"2"0"15,-4 5 0-15,-11 3 0 16,-1 3-718-16,-10-3-1622 16,-14 1-1063-16,-3 6 64 15,14-11 1694-15,8 9 1436 16,-5 0 645 0,7-3 2070-16,8-5-405 15,6-1-485-15,7 13 1230 16,13-2-1762-1,8 2-495-15,-3 4-326 16,0 3-145-16,7-3-266 16,7 11 23-16,4-5 213 15,1 7-13-15,-1 3 54 16,-16-5-84-16,-4 2-27 16,-4 1-10-1,1-1-5-15,-4 5-2 16,-5-10 0-16,-4 1-1 15,-11 5-208-15,-4-8-400 16,-9 5-346-16,-14-4-164 16,-5-5 12-16,14-13 205 15,10-5-834-15,-2-9-1306 16,-3-9-3115 0</inkml:trace>
  <inkml:trace contextRef="#ctx0" brushRef="#br1" timeOffset="-4891.66">24542 10371 3427 0,'2'0'10799'16,"5"5"-3151"-16,-1-5-3272 15,5 0-1427-15,-3 2-1633 16,-8-2-675-16,0 0-252 16,-8 4-22-16,-14 4-134 15,-5 1-66 1,-9 6-201-16,-2 0-96 15,6 2 136-15,9-1-111 16,-1 1 95-16,8 4 57 16,3-2 147-16,0 7-382 15,7 0 277-15,10 3-209 16,2 0 49-16,-1 1 58 16,5-4 42-1,7 6-127-15,-4-1 352 16,4-8-256-16,17 7 119 15,4-5-33-15,-7-1 139 16,-3-1-116-16,-9 5-64 16,-2-1-24-16,0-1-11 15,-3 3-5-15,-6-4-36 16,-16 5 35-16,2-4-279 16,-10 1-151-1,-14-1 128-15,-11-7 74 16,-3-7 256-16,8-6 185 15,7 1 15-15,-7-9 25 16,4-3-297-16,5-1-1176 16,3-13-1524-16,14-9-3798 15,20-18-4411-15</inkml:trace>
  <inkml:trace contextRef="#ctx0" brushRef="#br1" timeOffset="-4553.5">25071 10664 32767 0,'0'6'0'15,"0"2"0"-15,0 9 0 16,-2 6 0-16,0 9 0 16,0-4 0-16,0 1 0 15,2 7 0-15,6 9 0 16,0 3 0-16,-1-7 0 16,4-6 0-1,-1 0 0-15,-4-8 0 16,0-6-82-16,-2-10-1380 15,0-7-2413-15,-2-4-1437 16,-2-27-3782-16</inkml:trace>
  <inkml:trace contextRef="#ctx0" brushRef="#br1" timeOffset="-4376.51">24934 10130 32767 0,'0'0'0'0,"2"0"0"15,-2 0 0-15,2 0 0 16,-2 0-577-16,0 0-5808 16</inkml:trace>
  <inkml:trace contextRef="#ctx0" brushRef="#br1" timeOffset="-3776.46">25511 10543 2787 0,'0'0'8557'16,"0"-2"-526"-16,-2-4-2633 16,-2-3-1924-1,-2-2-1376-15,-4 1-932 16,-1 1-575-16,-2 7-276 15,-8 4-135-15,-11 13-156 16,-6 13-741-16,9 8-100 16,-3 4 685-16,8 6 509 15,12 11 551-15,12-1-603 16,2-1-209 0,4-5-74-16,6-10-28 15,8-5-8-15,3-8-4 16,7-8-1-16,2-12 0 15,-5-6-1-15,-8-5 0 16,2-11 0-16,-1-12 0 16,4-16 0-16,6-3 0 15,-9-13-148-15,-7 2-609 16,-10 1 353-16,-6 6 200 16,-5 10 54-1,-10-3 109-15,-8 10 376 16,-5 9-93-16,0 7 110 15,-1 11-275-15,-11 10 74 16,-3 4-779-16,7 3-1458 16,10 4-1888-16,5 0-1885 15,12 4-403-15</inkml:trace>
  <inkml:trace contextRef="#ctx0" brushRef="#br1" timeOffset="-3083.49">25842 10532 20051 0,'0'0'4716'16,"2"4"-1547"-16,0 7-993 15,-6 13-781-15,-6 3-694 16,-2 4-376-16,-2 8-492 16,8 10 158-16,4-3 5 15,-5 7 267-15,5-7-170 16,7 1-57-16,-3-9-23 16,-2-17-8-16,2-8-3 15,-2-5-1 1,2-3-1-16,-2-5 0 15,0 0 1-15,6-19-1 16,0-26 0-16,-4-3 0 16,0-10 0-16,2-65-1706 15,5 66-295 1,-2 15 1066-16,-3 2 495 16,0 13 241-16,-2 7 395 15,-2 5 459 1,2 9 546-16,0 4-179 15,0-2-333-15,11 10 45 16,4 11-398-16,6 19-65 16,5 13-157-16,2 4-73 15,-3 6-26-15,-5 2-10 16,0-6-4-16,8 0 0 16,9-2-1-16,-8-17 0 15,-4-6 0-15,-6-7 0 16,9-10 0-1,4-7 0-15,4-10 0 16,-1-13 0-16,-8-13 0 16,3-23 0-16,-9 0 0 15,0-6 0-15,1-2 0 16,-5 8 0-16,-3-2 0 16,-7 6-399-1,-11 11-842-15,-5 5-904 16,-3 1-2705-16,-11-2-4368 15</inkml:trace>
  <inkml:trace contextRef="#ctx0" brushRef="#br1" timeOffset="4970.57">6813 8060 19891 0,'-4'0'13'0,"-11"0"566"16,0-2 54-16,1 0-428 15,5 2-158-15,-2-2-162 16,7 2-37-16,2 0 199 16,2 0 564-1,-4 0 443-15,4 0 83 16,0 0 440-16,12-3 985 15,10 1-449-15,5-2-737 16,7-4-691-16,-8 3-410 16,-6 4-158-16,-4-2-62 15,7 3-25-15,4 3-15 16,10-3-8 0,-8 1-4-16,-4 2-2 15,9-1 0-15,0-2-1 16,4 2 0-16,6-4 0 15,-10 4 0-15,-11-2 0 16,3 4 0-16,10 4 0 16,2 1 0-16,-4 3 0 15,-5 1 0-15,1 0 0 16,4 4 0-16,9-7 0 16,-1 1 0-1,5-7 0-15,-3 3 0 16,1-7 0-16,11 0 0 15,-13-2 0-15,-5 2 0 16,9 0 0-16,-1 0 0 16,-1 0 0-16,5 0 0 15,-7 0 0 1,-1-2 0-16,-6 2 0 0,2-3 0 16,5 3 0-1,1 0 0-15,-11-2 0 16,-7-2 0-16,-7 4 0 15,-6 0 0-15,-3-2 0 16,-7 2 0-16,-1 0 0 16,0 0 0-16,-2 0 0 15,0 0 0-15,0 0 0 16,0 0 0-16,0 0 0 16,0 0 0-16,0 0 0 15,0 0 0 1,0 0 0-16,0 0 0 15,0 0 0-15,2 0 0 16,0 0 0-16,-2 0 0 16,0 2 0-16,2 11 0 15,2 1 0-15,-4 3 0 16,0 7 0 0,2-3 0-16,-4 5 0 15,2 1 0-15,2 0 0 16,-6 5 0-16,-2 2 0 15,2-2 0-15,2-5 0 16,4 3 0-16,2 2 0 16,-4-2 0-16,0 6 0 15,-6-5 0-15,8-4 0 16,-2 5 0-16,-2 2 0 16,-5 2 0-16,5 4 0 15,0-10 0 1,0 8 0-16,2-6 0 15,2 4 0-15,-8 4 0 16,6-8 0-16,0 1 0 16,0 2 0-16,0 2 0 15,2 2 0-15,-4-3 0 16,4-2 0 0,-2 3 0-16,2 6 0 15,-9-3 0-15,3-8 0 16,0 8 0-16,-3 0 0 15,3 3 0-15,-2-7 0 16,2-7 0-16,2 3 0 16,-2-7 0-16,-2 5 0 15,-2 2 0-15,10 2 0 16,-2-5 0 0,-6 1 0-16,4 0 0 0,0-14 0 15,-2 0 0 1,0-10 0-16,0-2 0 15,4-4 0-15,0 2 0 16,-2-2 0-16,0-4 0 16,-5-9 0-16,1 1 0 15,-1-3 0-15,-1 0 0 16,3 6 0 0,3-1 0-16,0 1 0 15,0 3 0-15,-2-2 0 16,-2 1 0-16,-10-2 0 15,2 5 0-15,2-2 0 16,-4 4 0-16,0 0 0 16,-1-2 0-16,-3 2 0 15,-2-1 0-15,-10 3 0 16,6 0 0-16,5-2 0 16,-7 0 0-1,-3 0 0-15,-7-2 0 16,-2 0 0-16,5 0 0 15,10-1 0-15,-2-1 0 16,-11 2 0-16,-5-3 0 16,7 1 0-16,2 4 0 15,-3-3 0-15,-13 4 0 16,6 1 0 0,11-5 0-16,-10 3 0 15,9 0 0-15,-10 0 0 16,5 0 0-16,11-1 0 15,2-1 0-15,-9 2 0 16,-3 0 0-16,-2 2 0 16,4-4 0-16,7 4 0 15,-7 0 0-15,4-2 0 16,-5 4 0-16,11-4 0 16,2 4 0-1,5-2 0-15,9 2 0 16,1-2 0-16,2 2 0 15,-1-2 0-15,2 2 0 16,0-2 0-16,-1 0 0 16,-2 0 0-16,5 0 0 15,-2 0 0-15,0 0 0 16,-1 0 0 0,-1 0 0-16,6-2 0 15,0-4 0-15,-2-11 0 16,-1-2 0-16,-1-9 0 15,6 5 0-15,-3-9 0 16,-5-1 0-16,0-3 0 16,2 0 0-16,2-3 0 15,-6-3 0-15,0-2 0 16,6 3 0-16,0-7 0 16,-3-3 0-1,-1 0 0-15,0 8 0 16,-12-62 0-1,18 56 0-15,0-2 0 16,0-2 0-16,0-6 0 16,0 2 0-16,2-9 0 15,2 7 0-15,-2-2 0 16,10-5 0-16,-3 7 0 16,-5 6 0-16,9-4 0 15,-5 10 0 1,-2 3 0-16,0 1 0 15,9 7 0-15,-3 5 0 16,4 9 0-16,-8 6-617 16,4 5-1615-16,5 9-2358 15,-2 6-2160-15</inkml:trace>
  <inkml:trace contextRef="#ctx0" brushRef="#br1" timeOffset="6870.36">6842 10086 29308 0,'0'0'447'16,"-6"1"0"-16,4-1-588 16,0 0-464-16,0 3 73 15,2-3 125-15,0 0 155 16,0 0-2-16,0 0 97 16,10-4 60-16,6 1 213 15,-2 2-13 1,3-6 113-16,8 3 25 15,16-3 33-15,3 1 55 16,-3 0-107-16,3 1 158 16,9 1 103-16,4 2 44 15,-2-2-94-15,4-4 189 16,-4-3-204-16,11-2-11 16,10 2-243-16,-14 3-115 15,-3-3-32 1,21 3-11-16,-15 2-4 15,-15 3-21-15,21 3 11 16,-3 3 27-16,-7 3-118 16,6-4 86-16,-19 3-11 15,-3-4 113-15,-7 4-150 16,-9-1 109-16,1 0-9 16,-8-4-24-1,-4 2-7-15,-1 2-5 16,-9-4-1-16,-1 3-1 15,-1-1-1 1,0 2 1-16,-1 0-1 0,-3 3 0 16,-2 3 0-16,0 18 0 15,0-9 0 1,6 6 0-16,-4 7 0 16,-2 8 0-1,0 3 0-15,-4 10 0 16,0 0 0-16,-3 10 0 15,3-6 0-15,-2 6 0 16,-3 9 0-16,5-16 0 16,-3 3 0-16,-1 2 0 15,-2-4 0-15,-10-4 0 16,2 0 0-16,5-4 0 16,0-7 0-16,2 5 0 15,5 4 0 1,-6-3 0-16,-2-1 0 15,6 1 0-15,-2 5 0 16,6-10 0-16,-5 3 0 16,-2 5 0-16,9-2 0 15,-2-7 0-15,-2-2 0 16,4 1 0-16,0-6 0 16,-7-5 0-1,5-2 0-15,-2-7 0 16,-1-6 0-16,5-3 0 15,-3-1 0-15,1-4 0 16,2-1 0-16,0-2 0 16,-2-2 0-16,2 2 0 15,-8-2 0 1,-4-2 0-16,-2 0 0 0,-1 0 0 16,-9-2 0-16,12-2 0 15,-16 2 0 1,-12-2 0-16,-5 2 0 15,9-2 0-15,15-1 0 16,-11 1 0-16,-17-3 0 16,5 1 0-16,5-2 0 15,-7-3 0-15,1 4 0 16,-4-5 0-16,9 1 0 16,2 7 0-1,-16 0 0-15,6 0 0 16,9 2 0-16,-3-2 0 15,-11-1 0-15,6 7 0 16,13 1 0-16,4-3 0 16,-12 0 0-16,-3 6 0 15,9 2 0-15,15-4 0 16,2 3 0-16,-4-1 0 16,-1 0 0-1,1-2 0-15,8-1 0 16,4 1 0-16,-7-4 0 15,10-2 0 1,2-3 0-16,0 1 0 16,1-4 0-16,5-5 0 15,0-10 0-15,4-6 0 16,-2-1 0-16,-2-4 0 16,0-4 0-1,0 4 0-15,2-12 0 16,-15-43 0-1,15 37 0-15,-4-2 0 16,-11-4 0-16,7-1 0 16,4-13 0-16,-6 3 0 15,6-14 0-15,4 6 0 16,2-1 0-16,0-2 0 16,-4-5 0-1,2-4 0-15,2 3 0 16,8-3 0-16,-4 2 0 15,2 0 0-15,-4 11 0 16,7 2 0-16,4 10 0 16,-2 18 0-16,7-1 0 15,-2 24-233-15,-2 6-2467 16,-3 6-4168 0</inkml:trace>
  <inkml:trace contextRef="#ctx0" brushRef="#br1" timeOffset="8914.28">11914 8956 9449 0,'-2'-5'5578'0,"2"-3"-2443"0,0 4-689 16,-4-3-541-1,2 3-829-15,-3 2-514 16,1 0-328-16,-2 2-102 15,-9 6 74-15,-2 7 665 16,1 1 223-16,4 3-239 16,0 6 72-16,-3 3 495 15,7-3-116-15,-3 0-462 16,2-3-467-16,9-3-206 16,-2-1-84-16,0-3-45 15,0-2-21 1,0-5-198-16,0-1-46 15,2-4-112-15,-2-1-8 16,0 3 268-16,2-3 372 16,4-4-1-16,2-11-133 15,0-5 50-15,1 4-107 16,4-1-52-16,3-4-26 16,-5-1-16-1,-5-1-6-15,4 4-20 16,6-11-48-16,0 0-94 15,3 7 38-15,0 0 137 16,-4 4-62-16,4-2 248 16,0 6-112-16,-3 4-53 15,-6 3-21-15,-2 4-10 16,2 2-4-16,0 8-1 16,5 9-2-16,-3 6-1 15,1 2 0 1,-7-14-1-16,9 16 0 0,-1 7 0 15,10-2 0-15,-4-1 0 16,-2-4 0-16,-2 1 0 16,1 1 0-16,-7-5 0 15,4-1 0-15,0-6 0 16,-2-1 0-16,-8-7 0 16,0 2-284-1,1-8-1383-15,-1 4-1760 16,-2-5-1027-16,2-5-4054 15</inkml:trace>
  <inkml:trace contextRef="#ctx0" brushRef="#br1" timeOffset="9189.28">11829 9000 1537 0,'0'0'10529'0,"0"0"-3180"16,5 0-1966-16,8-3-1782 16,1 2-1486-1,6-3-979-15,3-7-1260 16,9-2-1858-16,-10 2-76 15,-2 3-1044-15,1-2-556 16,2 1-2467-16</inkml:trace>
  <inkml:trace contextRef="#ctx0" brushRef="#br1" timeOffset="10454.93">14242 9121 21909 0,'0'0'648'16,"0"0"-210"-16,5 0-131 16,-1 8 163-16,2 5 984 15,-6 10-217-15,2 6 357 16,-4 1 423-16,2 0-521 16,0 4-808-1,2-5-403-15,5 3-158 16,2-6-74-16,-5-8-31 15,0-3-11-15,-4-6-6 16,0-3-3-16,0-4-1 16,0-2 0-16,4-6-331 15,0-15-1619-15,-6-9-177 16,-4 2-73-16,2-5-341 16,-5 3 937-16,5 7 1166 15,0 2 374 1,1-1 1303-16,3 1 914 15,-2 5-406-15,2-1-62 16,5-1-457-16,3 0-686 16,5 0 12-16,3 4-531 15,6 5-200-15,-5 5 209 16,6 4 272-16,2 4-55 16,-5 2-21-16,3 11 4 31,-23-8-98-31,-7 6 112 15,-1-7-16-15,-6 5-67 16,-2-7-210-16,6-2 68 16,6-4-96-16,2 3-29 15,-1-3-189-15,1 2 146 16,2 0-19-16,5 8 23 16,3 3-2-16,2 2-145 15,10 6-96 1,3 0-138-16,2-2 221 15,-2 7 245-15,-5-5-18 16,-6-4 294-16,-6 0 202 16,-4 0 33-16,-2 4 5 15,-10-4 30-15,-11 2-377 16,-13-5-79-16,0-5-38 16,-6-2-54-16,6-7 54 15,-1 0 59 1,-2-9 82-16,1-2-80 15,10 3-139-15,4-5-626 16,-4-2-1699-16,13 3-2890 16,3-1-3125-16</inkml:trace>
  <inkml:trace contextRef="#ctx0" brushRef="#br1" timeOffset="11378.52">16600 9112 23895 0,'0'0'1877'0,"-2"-2"-922"15,0 2-511-15,-4-2-153 16,-11 0-170-16,-7 2-191 16,4 4 71-16,-14 2-167 15,-3 5 75-15,-1 0 53 16,11 1 239-16,4 1 199 16,2 2 1211-16,7-3 78 15,10 8-845 1,8 3-415-16,14 7-213 15,16 1-119-15,15-4-58 16,3-3-25-16,-18-5-9 16,23 4-3-16,0-10-1 15,-10-7-1-15,-11-2 0 16,-12-6-240-16,0-6-6250 16</inkml:trace>
  <inkml:trace contextRef="#ctx0" brushRef="#br1" timeOffset="12240.6">18575 9002 27098 0,'0'0'326'16,"2"0"30"-16,-2 0 29 15,2 0-12-15,0 0-212 16,5 4-134-16,4 7 52 16,-3 10 266-16,-2 6 638 15,7 9 377-15,-4 1-610 16,1-1-441-16,3 1-181 16,-3-1-77-1,2 0-30-15,4-6-12 16,-6-15-6-16,1 2-2 15,2-2 0-15,-5-5 0 16,-1-4-1-16,-3 1-634 16,0-5-1175-16,0-2-1799 15,0-9-2744-15,-2-7-2019 16</inkml:trace>
  <inkml:trace contextRef="#ctx0" brushRef="#br1" timeOffset="12582.18">18700 9146 3427 0,'-2'-8'3111'15,"-4"-14"976"-15,-2 3 814 16,-8 2-1223-16,10 2-229 16,2 7-1379-16,2 0-510 15,0 1-424-15,6 1-183 16,6-1-142-16,8 5-381 16,9 4-193-16,7 7-162 15,4 2 227 1,0 3 65-16,5 5 165 15,-14 0 15-15,-4 1-125 16,3 1-38-16,-7 2-257 16,-7 0-233-16,-4 4 23 15,-8 1 47-15,-16 0 109 16,-10 5-39-16,-6-9 130 16,-5-3-95-1,0-4-41-15,-21-2-17 16,12-11-7-16,11-2-2 15,7-2-1-15,8-4-741 16,2 2-1836-16,8 2-3154 16,4-6-3830-16</inkml:trace>
  <inkml:trace contextRef="#ctx0" brushRef="#br1" timeOffset="13324.78">20074 8422 24631 0,'0'0'2854'0,"0"-11"-446"0,4-5-983 16,2 0-713-1,8 2-422-15,2-1-1053 16,-6 4-600-16,12 3 169 15,7 2 107-15,13 7 536 16,5 4 466-16,-5 3 1041 16,-10 3 869-16,-4 4-498 15,-13-1-613 1,-7 6-370-16,-4 3-172 0,-8-2-92 16,-12 7-39-16,-12-3-23 15,-9-1-10 1,2-4-5-16,3 1-361 15,6 1-1474-15,16-8-155 16,4 6-2247-16,2 7-2372 16</inkml:trace>
  <inkml:trace contextRef="#ctx0" brushRef="#br1" timeOffset="13496.78">20118 9224 32767 0,'2'0'0'0,"5"7"0"16,-7-5-1169-16,0-2-9839 16</inkml:trace>
  <inkml:trace contextRef="#ctx0" brushRef="#br1" timeOffset="32147.34">580 6068 21781 0,'-4'0'304'0,"1"-2"443"16,-2 2-82-16,1-2-521 16,-4 0-918-1,6 2 141-15,0 0-63 16,-2 0-138-1,4 0 759-15,0 0 336 16,2 0 1671-16,10 6 575 16,16-6 127-16,-7 2-581 15,7 3-690 1,-2-5-604-16,3-3-413 0,7 3-180 16,8-2-95-1,5 0-42-15,-11-2-19 16,0 2-6-16,11 6-2 15,3-2-1-15,-7-2-1 16,12 2 0-16,1-4 0 16,-4 2 0-16,1 0 0 15,18 0 0-15,-21 2 0 16,5-4 0-16,18 2 0 16,-23-2 0-1,12 4 0-15,6-4 0 16,-22 6 0-16,8 3 0 15,11-5 0-15,-12 4 0 16,-1-2 0-16,7 0 0 16,-2-5 0-16,-6 2 0 15,8 2 0-15,-4-3 0 16,-14-3 0-16,21 6 0 16,-1-1 0-1,-11-4 0-15,6 6 0 16,3 0 0-16,-8-4 0 15,0 2 0-15,21 1 0 16,-23-2 0-16,6 4 0 16,-2-1 0-16,-4-8 0 15,-2 6 0-15,16 0 0 16,-7-4 0-16,-6 4 0 16,7 2 0-1,-8 1 0-15,1-4 0 16,0 4 0-16,-1-1 0 15,6-2 0-15,-23 0 0 16,25 2 0-16,-6 1 0 16,-2-5 0-16,4 4 0 15,2 0 0-15,3-4 0 16,-16 0 0-16,15 0 0 16,-6-2 0-1,-5 2 0-15,16 2 0 16,-3-4 0-16,-6 2 0 15,3 2 0-15,-3 0 0 16,-2 3 0-16,54 1 0 16,-51-6 0-1,-12-2 0-15,21 4 0 16,-1-4 0-16,-17 0 0 16,10 0 0-16,-7 2 0 15,-3-3 0 1,4 3 0-16,7 0 0 15,-8-2 0-15,-1 0 0 16,3 2 0-16,-1 0 0 16,-6 0 0-16,-3 0 0 15,13 2 0-15,-2-2 0 16,-4-2 0-16,-11 2 0 16,7 0 0-16,5-2 0 15,1 0 0 1,-9 0 0-16,-5 0 0 15,3 0 0-15,-13-1 0 16,3 2 0-16,-10-2 0 16,4 3 0-16,-1-2 0 15,7 2 0-15,4-4 0 16,2 2 0-16,-7-7 0 16,-7 5 0-1,5 2 0-15,-6 0 0 16,-2 0 0-16,-4 2 0 15,-4 0 0-15,-7 0 0 16,2 0 0-16,-6 0 0 16,2 0 0-16,0 0 0 15,2 4 0-15,4-2 0 16,-4 2 0-16,-2 0 0 16,6 5 0-1,-2-2 0-15,1 3 0 16,-1 1 0-16,-2 4 0 15,0 3 0-15,1 10 0 16,-3-7 0-16,0 9 0 16,-4 2 0-16,4 5 0 15,-2 8 0-15,0-5 0 16,0 9 0-16,4-1 0 16,-2 4 0-1,5 2 0-15,-1 4 0 16,-4 3 0-16,-2-8 0 15,2 4 0-15,0 7 0 16,2-5 0-16,-8-2 0 16,2 6 0-16,0-3 0 15,6 1 0-15,-4 9 0 16,6-13 0-16,-4 9 0 16,-4-5 0-1,4 3 0-15,-4 1 0 0,0-1 0 31,6 1 0-31,-4-3 0 0,0 1 0 16,-2 1 0-16,-2 2 0 16,6-3 0-16,2-1 0 15,-4 5 0-15,-2-8 0 16,2 1 0-16,-2 7 0 16,0-8 0-1,4 7 0-15,0 0 0 16,-4-7 0-16,-2 3 0 15,4 7 0-15,0-12 0 16,-2 7 0-16,-2-3 0 16,6 3 0-16,-6-3 0 15,10 5 0-15,-8-5 0 16,-4 5 0-16,8-9 0 16,2 4 0-1,-6 11 0-15,4-12 0 16,-6 3 0-16,2 1 0 15,-2-12 0-15,2 1 0 16,-3 7 0-16,3-5 0 16,0 0 0-16,2-4 0 15,0 3 0-15,0-9 0 16,0-2 0-16,0-2 0 16,0 2 0-1,2-5 0-15,-4-2 0 16,0 0 0-16,0 2 0 15,2 7 0-15,-5-14 0 16,3 3 0-16,4-8 0 16,1 3 0-16,-6-3 0 15,3-3 0-15,3-4 0 16,1-4 0-16,-4-7 0 16,2-1 0-16,-2-1 0 15,0-2 0 1,0-2 0-16,0-2 0 15,0 2 0-15,0-2 0 16,-2-2 0-16,-15-4 0 16,-6-5 0-16,-7-2 0 15,0 9 0-15,3 0 0 16,-1 0 0-16,-6 4 0 16,-14-4 0-16,1 4 0 15,11 0 0 1,1-2 0-16,-10-5 0 15,-6 3 0-15,4-4 0 16,5-1 0-16,-3 1 0 16,-5-3 0-16,1 0 0 15,-4 3 0-15,-17-2 0 16,19 3 0-16,5 3 0 16,-15-2 0-16,-3-5 0 15,7 7 0 1,-6 0 0-16,3-3 0 15,7 5 0-15,-10-9 0 16,1 11 0-16,18-10 0 16,-19-1 0-16,-6 3 0 15,11-1 0-15,-3-1 0 16,-1-1 0-16,-4-2 0 16,0 3 0-1,5-1 0-15,-1 3 0 16,8 0 0-16,-7-1 0 15,-6 2 0-15,-2-1 0 16,11-3 0-16,-9 5 0 16,-9-5 0-16,1 5 0 15,6 4 0-15,5-4 0 16,-5 2 0-16,-2 4 0 16,12-3 0-16,1-5 0 15,-13 1 0-15,10 3 0 16,-5-2 0-1,-1 2 0-15,15 0 0 16,-3-1 0-16,-6 3 0 16,11-4 0-16,-4-3 0 15,-3 5 0-15,0 0 0 16,7-1 0-16,-6-1 0 16,3 4 0-1,3 0 0-15,-11 2 0 16,-3 0 0-16,9 0 0 15,2 0 0-15,-9 2 0 16,9-6 0-16,9 6 0 16,-7-4 0-16,-1 0 0 15,3 0 0-15,9 2 0 16,-19-2 0-16,-3-3 0 16,19 5 0-16,-1-2 0 15,-9-2 0-15,0 2 0 16,7 0 0-1,12 4 0-15,-9-2 0 16,-3-2 0-16,10 4 0 16,-5-2 0-16,-1 0 0 15,0-2 0-15,-3-1 0 16,-1 3 0-16,-1 0 0 16,1 0 0-1,8 0 0-15,1 0 0 16,-7 0 0-16,7-1 0 15,1 1 0-15,-1 0 0 16,11-3 0-16,2 3 0 16,-4-1 0-16,-1-2 0 15,3 3 0-15,0-2 0 16,3 2 0-16,-7 0 0 16,6 0 0-16,-2 2 0 15,-2 1 0 1,5-3 0-16,-3 1 0 15,6-1 0-15,7 0 0 16,-4 3 0-16,-2-3 0 16,8 1 0-16,-6 2 0 15,1-3 0-15,7 0 0 16,0 0 0-16,5-3 0 16,0 3 0-16,-7-10 0 15,-1-5 0 1,-1-6 0-16,4 2 0 15,1-15 0-15,4 4 0 16,0-7 0-16,-4-6 0 16,5 1 0-16,0-11 0 15,-3 0 0-15,4 0 0 16,4 0 0-16,-10-6 0 16,-2-2 0-16,8-3 0 15,-3 0 0-15,-1 5 0 16,4-13 0-1,6 7 0-15,-4-3 0 16,-9-8 0-16,5 10 0 16,4-4 0-16,-2 0 0 15,-9-4 0-15,5-6 0 16,2 10 0-16,-2-8 0 16,4 5 0-16,-5 0 0 15,0-6 0-15,-1 5 0 16,0-2 0-1,0 2 0-15,1 2 0 16,0-2 0-16,5 8 0 16,-4-10 0-16,0 6 0 15,2 3 0-15,4-5 0 16,0 8 0-16,-3 0 0 16,1 3 0-16,2-7 0 15,0 7 0-15,-2 0 0 16,0-3 0-1,-2 7 0-15,2-2 0 16,2 4 0-16,-2-5 0 16,2 3 0-16,6 2 0 15,-4 9 0-15,0-10 0 16,0 12 0-16,3-2 0 16,-5-5 0-16,2 9 0 15,-2-1 0 1,-11 1 0-16,9 2 0 15,-4 0 0-15,4 4 0 16,0 1 0-16,0 4 0 16,-3 3 0-16,3-3 0 15,4 3 0-15,-2 3 0 16,0-1 0-16,-2 3 0 16,2 0 0-16,-3 6 0 15,-1 4 0-15,4 2 0 16,0 5 0-1,0 4 0-15,0 0 0 16,0 0 0-16,0 2 0 16,0 0 0-16,2-3 0 15,7 2 0-15,8-4 0 16,4-1 0-16,1 6 0 16,2-6 0-16,2-1 0 15,4 1 0-15,-5 4 0 16,15-2 0-1,1 4 0-15,-1 0 0 16,0 4 0-16,-6-4 0 16,15 4 0-16,2-2 0 15,-13-2 0-15,-2-2 0 16,-9 2 0-16,9-2 0 16,-15 2-66-1,-4 0-5551-15,-6 6-4955 16</inkml:trace>
  <inkml:trace contextRef="#ctx0" brushRef="#br1" timeOffset="35346.49">219 6978 6662 0,'-8'-1'2739'0,"-5"-4"-766"16,5 1 1320-16,4 4-1036 16,-2-4-296-16,6 4-841 15,0-7-240 1,6-1-18-16,4 1 391 15,9-1 172-15,-8 6-432 16,14-1-42-16,-12 2-219 16,6 1 592-16,-2 0-59 15,-2-3-124-15,0 3-227 16,-1-2-426-16,8 0-210 16,10-2-133-16,9 0-78 15,-9 0-42 1,2-3-14-16,11 3-6 15,1 4-3-15,-5 2-1 16,3 0-1-16,1 5 0 16,-1-1 0-16,9-4 0 15,4 2 0-15,7-2 0 16,-1-2 0-16,-3-2 0 16,13 4 0-16,-15 0 0 15,-5 1 0 1,12 1 0-16,-9 2 0 15,-2 1 0-15,7 3 0 16,3 3 0-16,-19-9 0 16,14 11 0-16,13-2 0 15,-15-3 0 1,15 1 0-16,-2-3 0 0,6-3 0 16,-2-1 0-16,-11 0 0 15,18 2 0 1,-12 0 0-16,-5 1 0 15,6-3 0-15,-2 1 0 16,17 3 0-16,-9-4 0 16,2 0 0-16,4 3 0 15,-18-5 0-15,16 2 0 16,-4 0 0-16,7 3 0 16,-2-3 0-1,1 0 0-15,-3 2 0 16,-20-3 0-16,17 5 0 15,0-6 0-15,4 2 0 16,-7 1 0-16,5-1 0 16,15-2 0-16,-19 0 0 15,4 4 0-15,1-3 0 16,82-6 0 0,-88 3 0-1,8 0 0-15,-13 0 0 16,14 0 0-16,-8-4 0 15,-1 7 0-15,5-6 0 16,-11 3 0-16,12 3 0 16,-24-6 0-16,-7 3 0 15,12 3 0-15,-1-3 0 16,51 0 0 0,-46-3 0-16,-24 1 0 15,3 2 0 1,-1 0 0-16,4-2 0 15,-1 0 0-15,-14 2 0 16,7 0 0-16,2 0 0 16,-1-3 0-16,-5 2 0 15,-7 1 0-15,11 0 0 16,6 0 0 0,1-3 0-16,-11 1 0 15,-6 2 0-15,-5-2 0 16,11-2 0-16,0 2 0 15,0 2 0-15,-3-2 0 16,-7 2 0-16,-2 0 0 16,0-2 0-16,-5 2 0 15,0-2 0-15,-4 2 0 16,-1-3 0-16,-2 3 0 16,6 0 0-1,-2 0 0-15,-1 0 0 16,2 0 0-16,-7 3 0 15,-1-1 0-15,-1-2 0 16,-2 0-24-16,-4 0-1008 16,-10 0-3796-16,-29-7-6139 15</inkml:trace>
  <inkml:trace contextRef="#ctx0" brushRef="#br1" timeOffset="37218.44">321 7768 11275 0,'0'0'460'0,"-2"0"492"16,0 0-197-16,-2 0 755 15,4 0-34 1,0 0-32-16,0 0-387 15,-2 0 117-15,2 0 159 16,-3 0-91-16,3 0-353 16,0 0-373-1,0 0-179-15,-2 0-99 0,2 0-163 16,0 0-6-16,0 0 65 16,2 2 449-16,14-2 404 15,0 0-75 1,4 0 241-16,7 2 74 15,-2 0-674-15,12 1 31 16,-4-3-251-16,-1 1 65 16,12-1-98-16,3 0 98 15,-9-1-198-15,4 1-77 16,7 0-73-16,-7 1-32 16,9 2-10-16,-5 1-6 15,5-2-1 1,9 4 0-16,-7-2-1 15,-9 1 0-15,15 1 0 16,1 0 0-16,-3-6 0 16,4 5 0-16,1-1 0 15,-1-2 0-15,7 2 0 16,-1-6 0-16,6 6 0 16,7-6 0-16,-13 4 0 15,12-2 0 1,1-2 0-16,3 2 0 15,-5-4 0-15,-2 4 0 16,-3 0 0-16,7-2 0 16,7 4 0-16,-10-4 0 15,10 6 0-15,-4-4 0 16,-4 0 0-16,-3 2 0 16,15-2 0-1,-16 2 0 1,6-2 0-16,4 2 0 0,-9-2 0 15,1 3 0-15,0-6 0 16,4 3 0-16,-7 0 0 16,-3 3 0-16,10-3 0 15,-8-3 0-15,9 3 0 16,-7 0 0-16,-6 0 0 16,-3 0 0-1,1-2 0-15,1 4 0 16,0-2 0-16,-6 0 0 15,11 3 0-15,-5-3 0 16,-9 0 0-16,3 2 0 16,-1-2 0-16,-8 0 0 15,7 4 0-15,-1-6 0 16,-9 4 0 0,9 0 0-16,1 0 0 15,-15-2 0-15,1 4 0 16,11-1 0-16,-6-3 0 15,-5 1 0-15,-1 4 0 16,-1-3 0-16,1 2 0 16,-13-2 0-16,12 1 0 15,0 1 0-15,3-2 0 16,-11 0 0-16,-11-2 0 16,13 2 0-1,9 0 0-15,-5-2 0 16,-10 0 0-16,6 0 0 15,7 4 0-15,1-1 0 16,-9-2 0-16,-11-1 0 16,4-1 0-16,4 2 0 15,9 6 0-15,-5-2 0 16,-11-4 0 0,1 2 0-16,6-2 0 15,-3 4 0-15,-5-1 0 16,-12-2 0-16,-5 0 0 15,0-2 0-15,-5 0-205 16,-2 2-516-16,-2-2-643 16,-4 0-304-16,2 0-1316 15,2 3-2540-15</inkml:trace>
  <inkml:trace contextRef="#ctx0" brushRef="#br1" timeOffset="38945.7">342 8524 2498 0,'-2'0'4348'0,"-6"2"-1814"16,-5 0-848-16,9-2-995 15,-11 4-340-15,4 0-206 16,-5 0 178-16,7-1 570 16,2 1 1402-16,1-2-115 15,6-2-961-15,0 0-307 16,0 0-112-16,10 2 926 16,4-2 283-1,9-6-260-15,11-3-615 16,2 1-501-16,10-3 41 15,1 2-84-15,6-1-132 16,4 4-187-16,-4 2-74 16,0-1-24-16,-7 5-111 15,20 0-37-15,-9 5 149 16,0 1 218 0,8 0 8-16,-3 1-80 15,6-1 201-15,0 1-264 16,-15-6-176-16,21 8-50 15,-1-3-21-15,0 1-7 16,3-1-1-16,1-2-2 16,10 3 0-16,-14-3 0 15,-3 2 0-15,11 0 0 16,-10-1 0-16,8 1 0 16,-9-4 0-1,-3 5 0-15,8-3 0 16,-10 0 0-16,11 0 0 15,1-2 0-15,3 5 0 16,2-5 0-16,-4 4 0 16,3 1 0-16,-13-7 0 15,19 1 0-15,-16-1 0 16,8 5 0-16,8-3 0 16,-7 2 0-16,1 2 0 15,-1-3 0 1,2 1 0-16,-11-2 0 15,2 6 0-15,5-8 0 16,7 5 0-16,-2-1 0 16,-13 0 0-16,-1-2 0 15,0 1 0-15,-4 1 0 16,3 0 0-16,-1 0 0 16,6-2 0-1,-6 2 0-15,-7-1 0 16,7 1 0-16,-1-2 0 15,1-2 0-15,3 2 0 16,-4-2 0-16,-6 2 0 16,5-2 0-16,-13 2 0 15,2-2 0-15,-5 3 0 16,8-3 0-16,-11 0 0 16,3 0 0-16,7 1 0 15,-4-2 0 1,-10 1 0-16,-1 1 0 15,9-2 0-15,-16 2 0 16,-9-1 0-16,16 4 0 16,3-4 0-16,-6 3 0 15,-6 1 0-15,4 1 0 16,-4-1 0-16,2-2 0 16,10 6 0-1,-6-4 0-15,-15 1 0 16,-1-3 0-16,5 0 0 15,5 2 0-15,2 1 0 16,4-4 0-16,-13 3 0 16,3-1 0-16,-10 1 0 15,4-2 0-15,5 0 0 16,3 2 0-16,-11 1 0 16,-8-7 0-1,-3 2 0-15,-4-3 0 16,0 6 0-16,-1-3-127 15,-1 2-708-15,-2-2-787 16,-2 4-2382-16,-5 2-3740 16</inkml:trace>
  <inkml:trace contextRef="#ctx0" brushRef="#br1" timeOffset="40681.77">304 9288 26745 0,'0'0'308'0,"0"0"-163"16,0 0-268-1,2 0-501-15,5-2-380 0,10-1-985 16,3-1 733-16,-2 2 564 16,5 0 330-16,-4 0 228 15,10-3 292-15,-7 5 1126 16,4-1 382-16,5 1 571 16,3 0-532-1,6 1-377-15,-2 2-232 16,3-3-289-16,-1 0-84 15,7 2-262-15,-1-2-282 16,5-2-111-16,8-1-41 16,-1 3-18-16,5-1-6 15,0-2-2-15,1 3 0 16,7-1-1-16,-7 1 0 16,11 0 0-1,-4-5 0-15,3 5 0 16,11-2 0-16,0 0 0 15,-14-1 0-15,12 3 0 16,-3-6 0-16,-5 6 0 16,5-4 0-16,0 2 0 15,9 0 0-15,-4-2 0 16,-3 4 0 0,-7-2 0-16,-1-3 0 15,17 3 0-15,2 0 0 16,-10-2 0-16,-4 1 0 15,6 2 0-15,-10 1 0 16,5 1 0-16,3-5 0 16,0 8 0-16,-14-4 0 15,-3 3 0-15,9-1 0 16,4 0 0-16,-5-2 0 16,0 2 0-1,6 0 0-15,-9-2 0 16,-12 5 0-16,9-3 0 15,9-2 0-15,-8 2 0 16,-13 2 0-16,13-2 0 16,-8 2 0-16,5-2 0 15,-12 1 0-15,-3 1 0 16,15-2 0-16,-5 2 0 16,0-1 0-1,-7 1 0-15,-3-3 0 16,-1-1 0-16,7 5 0 15,0-1 0-15,-5-2 0 16,-6 0 0-16,7 0 0 16,-11 1 0-16,-1-1 0 15,1-2 0-15,11 2 0 16,-3 0 0-16,-9-2 0 16,3 2 0-1,9-4 0-15,-3 6 0 16,-13-2 0-16,1 0 0 15,10-2 0-15,1 4 0 16,-7-1 0-16,-3 1 0 16,7-2 0-16,1 0 0 15,-17 0 0-15,-1 0 0 16,0 0 0-16,6 1 0 16,-1 1 0-1,2-4 0-15,-9 4 0 16,-8 0 0-16,0-4 0 15,7 3 0-15,-6 1 0 16,6 0 0-16,-7-2 0 16,-5 0 0-16,2 3 0 15,-4-4 0-15,-5-1 0 16,-3 0 0-16,2 3 0 16,-4-3 0-16,5 4 0 15,-1-2 0 1,-2 0-322-16,5 5-1114 15,-1 1-2471-15,-6-2-2247 16</inkml:trace>
  <inkml:trace contextRef="#ctx0" brushRef="#br1" timeOffset="42480.39">1281 6017 12684 0,'0'0'3093'0,"-4"0"-888"0,4 0-169 31,6 3-1470-31,-4 5-265 16,6 9-95-16,-2 2-98 15,-4 0-73-15,4 7 158 16,7-6 1073-16,-2 8 244 16,0 0 358-16,-1 1-654 15,-2 3-426-15,-4 2 26 16,1 2 190-16,2 6-327 16,5 7-343-1,-2-3-150-15,-5 3 25 16,-1 2 53-16,0 2 58 15,-4 2 104-15,3 0-289 16,-1 2 78-16,-4 5-135 16,8 3-52-16,-4-1-17 15,-2 6-6-15,-6 2-1 16,6-5-2 0,-2 1 0-16,2 2 0 0,2 0 0 15,0 3 0 1,-4-5 0-16,0-2 0 15,4 6 0-15,-2 8 0 16,2-6 0-16,-11-4 0 16,3 2 0-16,8 3 0 15,2-4 0-15,-6 1 0 16,2 0-43-16,-4-6 72 16,1 8-106-16,-1-2 95 15,4-9-54 1,0 5 109-16,4-2-49 15,-8 5-16-15,8-5-27 16,-4-2-8-16,-4 4-110 16,4-5-99-16,2-4 407 15,-2-2-278-15,2 5 7 16,-2-7 107 0,0 4 57-16,7-4 103 15,-9-2-128-15,-5 6 38 16,9-1-30-16,-4-10-11 15,0 3-102-15,0-7 22 16,-2-4 123-16,2 1-48 16,4-12-19-16,-2 6-6 15,0-2-4-15,0 1-1 16,-4-4 0-16,0 3-1 16,0-3 0-1,4 0 0-15,-2 2 0 16,4-3 0-16,0-1 0 15,0 4 0-15,2-7 0 16,0-2 0-16,-2 1 0 16,0-10-61-16,-2-7-1409 15,-2-3-2443-15,2-4-3808 16</inkml:trace>
  <inkml:trace contextRef="#ctx0" brushRef="#br1" timeOffset="43421.54">613 6436 31358 0,'0'3'196'16,"-8"7"-1305"-16,-1 5 134 16,-5 10-194-16,-2 1-1258 15,0 1-226-15,-8 5 1415 16,5-2 789-16,5-3 425 16,1-1 1212-16,0 3 898 15,5-8-364 1,0-8-539-16,3 0-216 15,1-7-201-15,1-2-5 16,1-4-57-16,-2 0-224 16,2-4-896-16,2-8 21 15,0-8 87-15,6-7-548 16,10-9 28-16,2-6 67 16,2 8-236-16,-1-2 329 15,4 0 512-15,8 2-104 16,1-2 279-1,-8 2 279-15,5 5 551 16,-13 3-414-16,0 3-61 16,-1 0-141-16,-4 6-135 15,-1 0-166-15,5 0 153 16,4 2-203-16,-2 8-73 16,-5 5 163-1,-3 4 55-15,2 11 39 16,-1 8 225-16,1 9-3 15,-1 2-50-15,1 6 78 16,4 4 324-16,-7 0 475 16,-2-1-249-16,8-1-135 15,-4 2-438-15,0-6-183 16,-3-4-65-16,-1-2-62 16,-2-13-670-16,-2-7-1211 15,3-4-1802-15,-5-6-417 16,-5-8-5766-1</inkml:trace>
  <inkml:trace contextRef="#ctx0" brushRef="#br1" timeOffset="43705.55">592 6434 32767 0,'0'0'0'0,"0"0"0"15,8-2 0-15,7 4 0 16,7-2-589-16,-2 7-1953 16,2-7-1028-16,-10 2 2052 15,10-2 1893 1,18-4 1286-16,7-3-1068 15,-7-9-1341-15,-7 4-2194 16,-9 4-2540-16,12 0-3638 16</inkml:trace>
  <inkml:trace contextRef="#ctx0" brushRef="#br1" timeOffset="44607.02">679 7213 20980 0,'0'0'3855'0,"-2"5"-1046"16,0 5-1380-16,-8 7-1260 15,4 2-1156-15,-2 2-2473 16,0 0 1447-16,-9-2 1197 16,2-4 2175-16,-2-2 792 15,7-5-852-15,2 1-95 16,3-5-26-16,-6-1-89 16,7-3-732-1,0-7-125-15,2-8 99 16,4-15 43-16,10-3 154 15,4-6-109-15,13-1-243 16,5-4-109-16,-24 34-50 16,14-18-5-16,6-6-7 0,3 4-3 15,16 5-1-15,-5 1-1 16,-16 12 0-16,-9 6-113 16,-2 3-313-16,-7 10 263 15,-7 10 211 1,-12 12-23-16,-5 11 46 15,-14 3 79-15,2-9 58 16,-7-6-87-16,-1-8-74 16,14-5-30-16,14-9-11 15,6-3-2-15,4 1-2 16,12 5-1-16,20-5 0 16,-11-2 0-16,0-4-1 15,-2 4 0 1,1-2 0-16,3 4 0 15,11 2 0-15,-10 5 0 16,-5-2 0-16,-10 1-78 16,-2 0 38-16,-3 6 66 15,-6-4 17 1,-17 9-16-16,-21 0-14 16,-8-4-7-16,8-4-4 15,1-3-2-15,-15 3 1 16,5-6-1-16,14-3 0 15,-3-2 0-15,-2-2 0 16,14-2 0-16,2 0 0 16,5-2-213-16,4 4-2212 15,-2-3-5171-15,5 6-772 16</inkml:trace>
  <inkml:trace contextRef="#ctx0" brushRef="#br1" timeOffset="45089.09">853 8047 32767 0,'-4'-8'0'0,"-5"-11"0"0,0 0 0 15,-1 0 0 1,-15-5-2514-16,-13 9 761 15,-3 14 840-15,9 7 1784 16,-14 9 1432-16,-5 4-1028 16,11 12-814-16,4 5-292 15,13 5-106-15,-1 1-39 16,8-4-16-16,13 6-4 16,8-8-3-1,3-4 0-15,13-2-1 16,-4-7 0-16,4 3 0 15,13-8 0-15,10-2 0 16,5-8 0-16,-17-8-822 16,6-4-5088-16,19-9-5831 15</inkml:trace>
  <inkml:trace contextRef="#ctx0" brushRef="#br1" timeOffset="45763.77">772 8750 32767 0,'0'0'0'16,"-4"2"0"-16,4 9 0 15,-2 5 0-15,-2 2-81 16,-5-1-696-16,2 0 295 16,3-3 635-1,0-5 357-15,4-1-228 16,-2-3-127-16,2-4-68 15,0 2-35-15,-2-1-18 16,2-2-10-16,0-5-6 16,-4-12-181-16,0-6 41 15,8-2 48-15,6-4 55 16,1-3 211-16,6 4-72 16,2 3-68-1,8-5-29-15,3 3-13 16,-7 3-7-16,3 3-1 15,5 2-1-15,7 8-39 16,5 5 61-16,-13 12-15 16,-14 7-4-16,-2 4-2 15,-8 19-2-15,2 4 1 16,-8 7-1 0,-8 6 0-16,-3-11 0 0,-8 0 0 15,-11 3 0-15,-7-1 0 16,3-8 0-1,-3-8 0-15,3-7 0 16,-2-2 0-16,-6-9 0 16,13-3 0-16,3-5 0 15,-3-4 0-15,13 0 0 16,0 0 0 0,0-5-1631-16,0-3-3582 15,10-3-3010-15</inkml:trace>
  <inkml:trace contextRef="#ctx0" brushRef="#br1" timeOffset="46435.11">758 9533 28123 0,'0'0'1663'0,"2"0"-592"15,-2 9-160-15,-12 14-375 16,0 11-263-16,-9 18-151 15,2-3-79-15,2 11-27 16,1 3-10-16,-4-8-4 16,10-11-1-16,12-9-1 15,8-2 0-15,2-3 0 16,4-9 0-16,-2-6 0 16,1-4 0-16,13-5 0 15,8-2-205 1,-6-12-2643-16,-7-1-2732 15,-2-10-3370-15</inkml:trace>
  <inkml:trace contextRef="#ctx0" brushRef="#br1" timeOffset="46657.14">738 9798 32767 0,'0'0'0'16,"6"0"0"-16,12 2 0 15,7 0 0-15,5-6 0 16,-3-5-1054-16,-6-1-1459 16,-4-3-261-1,6-2-539-15,14-6-2289 16,-3 4-705-16</inkml:trace>
  <inkml:trace contextRef="#ctx0" brushRef="#br1" timeOffset="46858.11">719 9529 32767 0,'0'0'0'0,"4"0"0"16,26-7 0-16,29-7 0 16,-10-3-607-16,0-15-3466 15,15-8-2255-15,-12 2-1261 16</inkml:trace>
  <inkml:trace contextRef="#ctx0" brushRef="#br1" timeOffset="48045.68">267 5632 11403 0,'-3'2'-1035'0,"-10"0"-1731"16,9 1 2139-16,0-3-777 16,-4 0 679-16,3 2 1017 15,1-4 1262-15,2 2 614 16,0 0 369-16,2 0 221 16,-3 0-393-16,3 0-871 15,0 0-757-15,0 0-200 16,-2 0-148-1,-2 8-91-15,4 13 496 16,-2 3 1014-16,0 5 275 16,0 7-5-16,2 2-298 15,-2 0-177-15,4-6-563 16,-4-9-611-16,2-4-354 16,-2-6-280-1,6-2-760-15,2-5-227 16,-6-4-1206-16,0-2-1340 15,0 0-1409-15</inkml:trace>
  <inkml:trace contextRef="#ctx0" brushRef="#br1" timeOffset="48611.7">148 5683 32767 0,'0'0'-22'0,"0"2"-262"16,4 5-355-16,-2-6-1138 16,0 2-1319-1,-2-3-2336-15,2-4 1027 0,2-1 1032 16,0-3 1381-1,5-9 2319-15,14-4 1615 16,5 0 1666-16,1 4-1192 16,5 0-622-16,-10 6-1093 15,-7-2-775-15,-9 7-144 16,4 0-356-16,10-1-161 16,-1 3-348-16,-8 6-456 15,-5-2 814 1,-3 0 343-16,1 4 284 0,0 7 821 15,2 1 940-15,-8 1 34 16,-8 10-50-16,-2 1 718 16,3 4-985-16,-1-3-765 15,0 9-341-15,1-7-108 16,0 1-92-16,1 1 13 16,10 22 379-1,5-34 194 1,4-2-399-16,2-2-19 15,3-5-5-15,2-4-207 16,-6-6-169-16,2-4-120 16,-4-2-357-16,1-3-1204 15,-3-4-2015-15,-1-11-3566 16</inkml:trace>
  <inkml:trace contextRef="#ctx0" brushRef="#br1" timeOffset="48869.35">360 5717 27354 0,'0'0'1826'0,"10"4"-391"15,7 0-597-15,0 0-1049 16,10-8-1192-16,5-11-1194 16,-4-3-1109-16,-12-1-473 15,-3-1 645-15,-2 1-328 16,2 2-1525-16</inkml:trace>
  <inkml:trace contextRef="#ctx0" brushRef="#br1" timeOffset="49048.34">370 5603 32767 0,'0'0'0'0,"10"1"0"16,12 4-439-16,5-7-4329 15,5-19-8920-15</inkml:trace>
  <inkml:trace contextRef="#ctx0" brushRef="#br1" timeOffset="49465.51">721 5581 27130 0,'0'15'2513'0,"0"30"-1166"0,-2-7-715 16,0-7-1195-16,6-5-1414 16,1-3-1987-16,-3-4 1149 15,-7-2 1280-15,8-8 1767 16,-3-5 888-16,-3-2-330 16,3 0-13-16,-2-6 1076 15,2-19-309-15,-2-12-822 16,4 0-463-1,5-6-359-15,7-1-839 16,6 6-461-16,-2 4-733 16,-2 3 456-16,0 10 849 15,1 6 477-15,-4 9 681 16,4 6 1908-16,-9 6 16 16,-2 11-529-16,6 15-399 15,-4 8-626-15,-2 7-340 16,-8-10-60-1,4-4-123-15,2-5-536 16,3-5-960-16,1-10-2723 16,-4-4-2619-16</inkml:trace>
  <inkml:trace contextRef="#ctx0" brushRef="#br1" timeOffset="49647.57">808 5613 10506 0,'-4'2'9472'0,"0"7"-4072"15,4 3-2003-15,6 3-1664 16,9-2-1464-16,8-4-1639 16,-8-8-2263-16,3-7-2948 15,0-15-2451 1</inkml:trace>
  <inkml:trace contextRef="#ctx0" brushRef="#br1" timeOffset="50178.57">1039 5581 32767 0,'2'15'-130'0,"8"30"210"16,-4-12-51-16,-3-5-1832 15,2-5-1750-15,-5-3-782 16,0-8 174-16,0-3 2261 16,0-3 1507-16,2-2 1094 15,0-2 373-15,0-2 120 16,6-10 21-16,-6-13-694 16,-2-3-227-16,2-16-301 15,-2-11-238 1,2 15-657-16,-2 14 579 15,2 16 679-15,2 4 72 16,5 8 1293-16,10 21-345 16,-6 20 632-16,-9-7-766 15,0 2-784-15,2-13 1 16,6-7-19-16,-2-8-142 16,6-3-307-1,-6-7 5-15,2-13-108 16,-1-16-63-16,-5-15-675 15,-6-7-6-15,2-8-195 16,6 3-1781-16,-1 8 806 16,-5 21 1330-16,2 16 494 15,3 7 544-15,-7 13 389 16,6 23-307-16,-6 8-330 16,6 9-317-16,-8 6-337 15,2-17-109 1,0-2-831-16,10-11-2102 15,0-11-3002-15</inkml:trace>
  <inkml:trace contextRef="#ctx0" brushRef="#br1" timeOffset="50468.63">1507 5257 26137 0,'-9'7'3115'16,"-2"2"-1464"-16,1 9-1334 16,-5 5-2149-16,0-8-2435 15,7 2-1683-15,-1-2 1579 16,5 0 2023-16,11-2 1941 16,5-5 1163-16,-6-2-434 15,12 3 3258-15,0 2 1502 16,10 10-126-16,-11 6-1495 15,-7 13-1916-15,-14 9-911 16,-13 11-381-16,-11-12-167 16,10-14-986-16,14-21-5684 15</inkml:trace>
  <inkml:trace contextRef="#ctx0" brushRef="#br1" timeOffset="53402.83">2489 6089 8136 0,'0'0'693'0,"0"0"557"16,0 0-344-16,-4 0-305 15,0 0-133-15,1 0-192 16,3 0 161-16,-7 3 2392 16,3-2 420-16,-2 6 674 15,0 3-787-15,6-1-685 16,0 4-606-16,-2 0-648 16,4 1-542-16,-4 1-302 15,6 6-171 1,0-2-105-16,4 5-22 15,-8-5-31-15,2 8-11 16,1-8-7-16,-1 11-3 16,5 0-2-16,-1 3 0 15,-2 1-1-15,-2-2 0 16,-6-1 0 0,4 5 0-16,-2 3 0 0,6-3 0 15,-10 2 0 1,4-2 0-16,4 6 0 15,2 1 0-15,-4-7 0 16,4 4 0-16,-8 6 0 16,4 3 0-16,0-1 0 15,0-3 0-15,-4 6 0 16,-7-2 0-16,6-1 0 16,10 3 0-16,-10 2 0 15,10 0 0 1,-7 0 0-16,-1 0 0 15,-3 6 0-15,4 0 0 16,2 0 0-16,-2 7 0 16,-4-9-83-16,-5 5 138 15,3 1-438-15,10-10 54 16,-2 9 80-16,-4 1 225 16,-3-6 225-16,3 6 164 15,0 3-69 1,4-4-196-16,-7 1-66 15,5-1-23-15,-2-9-7 16,-2 8-3-16,6-2 0 16,-2-8-1-16,-2 8 0 15,2-2 0-15,-5 3 0 16,0-12 0-16,1 14 0 16,6-16 0-16,0 7 0 15,-8 4 0 1,4-6 0-16,8 0 0 15,0 0 0-15,-14 2 0 16,7-11 0-16,6 2 0 16,-6-6 0-16,1 9 0 15,-2-13 0-15,2-3 0 16,2 8 0-16,-2-10 0 16,6 9 0-16,-4-4 0 15,-2-9 0 1,-2 3 0-16,4 0 0 15,0-1 0-15,0 1 0 16,-2-1 0-16,-1-3 0 16,1-1 0-16,2-2 0 15,0 3 0-15,0-4 0 16,-2 1 0-16,0 3 0 16,0-1 0-16,-2-2 0 15,1-6 0 1,8 2 0-16,-3 2 0 15,0-4 0-15,0 4 0 16,-2-2 0-16,7 0 0 16,-3 0 0-16,-6 2 0 15,2-4 0-15,0 0 0 16,0-1 0-16,-2-3-154 16,2-5-256-16,0 3-903 15,0-3-1080 1,2-4-3274-16</inkml:trace>
  <inkml:trace contextRef="#ctx0" brushRef="#br1" timeOffset="55086.51">3604 6128 19827 0,'0'0'1236'0,"0"0"39"0,0 0-303 15,-2 0-313 1,2 0-245-16,-4 1-104 15,2 6-99-15,2 2 710 16,0 5 378-16,0 5 735 16,0 5-149-16,2 1-952 15,2-4-522-15,-4 9-198 16,2 3-117-16,-6 8-53 16,4 3-26-16,2-4-10 15,-2 7-5 1,-4-1-1-16,4 6 0 15,2-11-1-15,-4 11 0 16,0 3 0 0,4-9 0-16,-4 9 0 0,0 0 0 15,10 5 0-15,-8-14 0 16,-2 7 0-16,4 2 0 16,0-4 0-1,-2-2 0-15,0 10 0 16,0-4 0-16,0 53 0 15,-2-49 0 1,2-6 0-16,6 0 0 16,-12 4 0-16,2-4 0 15,4 0 0-15,-2 6 0 16,2-6 0-16,0 0 0 16,8-2 0-16,-2 4 0 15,-10-7 0 1,2 4 0-16,8 4 0 15,-8-7 0 1,0 2 0-16,2 2 0 0,4 4 0 16,-6-11 0-16,2 3 0 15,2 4 0-15,-2-6 0 16,4-5 0-16,-2 2 0 16,-4 5 0-1,2-9 0-15,2 3 0 16,-2-1 0-16,-2 0 0 15,2 3 0-15,0-9 0 16,-2 2 0-16,0-4 0 16,2 10 0-16,-2-2 0 15,2-7 0-15,4 0 0 16,-4-1 0-16,-4 8 0 16,4-3 0-1,-2-16 0-15,-2 9 0 16,6 2 0-16,-4-1 0 15,-2 1 0-15,2-8 0 16,4 1 0-16,2-1 0 16,-8 1 0-16,2-6 0 15,-2 5 0-15,4-1 0 16,4-4 0-16,-4-2 0 16,-4 0 0-16,-3 3 0 15,3-5 0 1,0 1 0-16,1 0 0 15,3-4 0-15,0 3 0 16,-4 2 0-16,0-4 0 16,2 0 0-16,2 4 0 15,0 0 0-15,-2-6 0 16,2 3 0-16,0 2 0 16,0-1 0-16,-2 4 0 15,-3 0 0 1,3 2 0-16,0 1 0 15,-2-6 0-15,0 0 0 16,2-1 0-16,0-9-178 16,2-4-2715-16,0-4-5391 15</inkml:trace>
  <inkml:trace contextRef="#ctx0" brushRef="#br1" timeOffset="56422.12">4434 6176 7111 0,'0'0'7427'15,"4"-2"-868"-15,4-2-1889 16,-1 2-1851-16,-3 0-1287 16,-4 2-695-16,0 0-321 15,0 0-90-15,0 0-195 16,0 0 3-1,-4 8-55-15,2 7-72 16,6 4-46-16,1 2-31 16,-3 9-14-16,2-1-9 15,4 3-4-15,1 8-2 16,-7 4 0 0,0 5-1-16,8 7 0 15,-6 3 0-15,-1-2 0 16,-8 4 0-16,7 12 0 15,1-12 0-15,3 11 0 16,-6-5 0-16,9 3 0 16,1 7 0-16,-12-14 0 15,0 4 0-15,10 5 0 16,-4-2 0-16,-4 2 0 16,4-6 0-16,4 4 0 15,-8 4 0-15,4-9 0 16,-6 5 0-1,-3 0 0-15,3-2 0 16,2 8 0-16,-5-6 0 16,7-2 0-16,-2 2 0 15,3-2 0-15,-8-3 0 16,3 0 0-16,0-5 0 16,2 12 0-16,-2-11 0 15,0 1 0 1,-4 7 0-16,12-14 0 15,-4 9 0-15,-2 2 0 16,-2-9 0-16,4-2 0 16,-6 6 0-16,4-12 0 15,-2-1 0-15,4 8 0 16,-2-6 0-16,-2-7 0 16,2 1 0-16,-4 7 0 15,0-3 0-15,6-7 0 16,-2-3 0-1,-2-2 0-15,-2 6 0 16,2-8 0-16,-1 2 0 16,-1 0 0-16,-1 2 0 15,5 7 0-15,3-13 0 16,-3 3 0-16,-3 3 0 16,1-1 0-1,7 3 0-15,-3-8 0 16,-2-3 0-16,-2-5 0 15,2 5 0-15,0-4 0 16,0 1 0-16,0-1 0 16,2-4 0-16,0-4 0 15,0 5 0-15,-4-5 0 16,0-1 0-16,2 4 0 16,2-6 0-1,-2-1 0-15,0-4 0 16,0-8-1033-16,0-1-3374 15,-2-42-10224-15</inkml:trace>
  <inkml:trace contextRef="#ctx0" brushRef="#br1" timeOffset="57910.66">5467 6153 29852 0,'0'0'-242'15,"-3"6"356"-15,6 7 837 16,-3 0-264-16,-3 6-431 16,3 2 107-1,0 8 3-15,0 1-132 16,-4 2-128-16,2 4-59 15,-6 6-27-15,2 3-12 16,4-3-5-16,6 6-2 16,-2 4 0-16,-2 2-1 15,0-1 0-15,0 13 0 16,2-7 0-16,2 3 0 16,-8 1 0-16,2 3 0 15,-4 1 0-15,6 1 0 16,0 4 0-1,2 2 0-15,-6-4 0 16,4 2 0-16,-2 0 0 16,-5 0 0-16,-2 13 0 15,5-11 0-15,2 9 0 16,-2-10 0-16,4 4 0 16,0-5 0-16,0 1 0 15,0 2 0 1,-4-12 0-16,-5 5 0 15,9 4 0-15,2-4 0 16,0-5 0-16,1 1 0 16,-8-1 0-16,-3-1 0 15,6-1 0-15,4-6 0 16,-2 0 0-16,0 2 0 16,-4-4 0-16,4-7 0 15,2 7 0-15,-6-4 0 16,6 49 0-1,0-48 0 1,-2-9 0-16,0 3 0 16,-2-2 0-16,2 5 0 15,0-9 0-15,-5 0 0 16,3-2 0-16,0 0 0 16,4 0 0-16,-4-4 0 15,2-2 0 1,2 3 0-16,-4-5 0 15,0 1 0-15,2 3 0 16,4-2 0-16,-2-3 0 16,-4-1 0-16,-2-1 0 15,4 3 0-15,0-1 0 16,0 1 0 0,2-5 0-16,-2-4 0 0,0 9 0 15,-2-9 0 1,0 0 0-16,4-3 0 15,-4 4 0-15,-1-4 0 16,3 4 0-16,-2-5 0 16,2-5 0-16,0 5 0 15,2-4 0-15,3 1 0 16,-3 1 0 0,-4-4 0-16,0 1 0 15,2 0 0-15,0-1 0 16,-3 4 0-16,3-3 0 15,3 3 0-15,-1-1 0 16,-2-1 0-16,0-2 0 16,2 1 0-16,-2 1 0 15,2-3 0-15,-4 3 0 16,4 0 0-16,-2 3 0 16,2-1 0-16,1-4 0 15,-6-1 0-15,3 1-1302 16,-2-5-3277-1</inkml:trace>
  <inkml:trace contextRef="#ctx0" brushRef="#br1" timeOffset="60764.62">6985 6678 3940 0,'0'0'2221'0,"0"-2"-219"16,-4-3-188-16,2 1-393 16,0-4-398-16,-2 1-511 15,-2-1-145-15,0-2-144 16,4 3-52-16,2 5 77 16,0-2 243-1,0-3 1114-15,6 1 210 16,12 2 230-16,4-1 604 15,0 5-277-15,-5-2-780 16,-3 7-38-16,4-3 27 16,9 0-569-16,-6 0-391 15,11 0-19-15,1 2-109 16,-5 0-276-16,-2-1-123 16,-7 1-52-1,11 5-20-15,1-3-12 16,-1-2-5-16,0 0-3 15,-8 0-2-15,-6-2 1 16,-6 1-1-16,7-3 0 16,0 0 0-16,6-3 0 15,-6 1 0-15,-4 0 0 16,-9 2 0-16,0 0 0 16,-4 0 0-1,5 0 0-15,-5 0 0 16,-3 0 0-16,-3 0 0 15,2 0 0-15,0 0 0 16,4 0 0-16,-2 2 0 16,0 0 0-16,0 5 0 15,2-3 0-15,-5 5 0 16,3 1 0 0,-3 1 0-16,1 1 0 0,-4 5 0 15,6 0 0 1,-4 5 0-16,0-1 0 15,1-2 0-15,5 4 0 16,-2 0 0-16,-1 0 0 16,-1 3 0-16,0-1 0 15,2 1 0-15,-2-7 0 16,0-2 0-16,6-2 0 16,-2-1 0-1,2-1 0-15,-6-2 0 16,4-7 0-16,0 2 0 15,-2-4 0-15,2 2 0 16,-3-1 0-16,-1 1 0 16,-2-2 0-16,6 0 0 15,-2 3 0-15,-2-4-175 16,-12 6-298-16,-2-5-90 16,-4 2 295-1,-5-4 289-15,-5-2 654 16,-2 0-226-16,2 0-259 15,3-2-109-15,-5 4-45 16,-4-4-20-16,13 4-10 16,1-3-3-16,8 6-2 15,2-3-1-15,4 0 1 16,4 0-1 0,2 1 0-16,2-1 0 15,2 0 0-15,0 0 0 16,0 0 0-16,0 0 0 15,0 0 0-15,0 0 0 16,0 0 0-16,-5-6 0 16,3-9 0-16,13-29 0 15,-9 15 0 1,-4-1 0-16,0-4 0 16,-3 2 0-1,1 0 0-15,0-4 0 16,0-2 0-16,-5 4 0 15,-2 0 0-15,3 7 0 16,-6-5 0-16,6 5 0 16,4 5 0-16,-4 1 0 15,0 4 0-15,6 7 0 16,2 4 0-16,-2-1 0 16,2 5-737-1,0 2-4447-15</inkml:trace>
  <inkml:trace contextRef="#ctx0" brushRef="#br1" timeOffset="61928.96">7696 8947 20147 0,'0'0'576'0,"0"0"-32"0,-2 2-106 16,2 2 402-1,0 7-101-15,-4 4-282 16,4 3-103-16,2 4 92 15,-2 8 431-15,2 10 458 16,-2 2 77-16,2-6 508 16,2 4-470-16,0-6-732 15,-4 2-421-15,-2-6-175 16,2 6-67 0,-4-19-35-16,2-1-10 0,4-5-6 15,0-5-1 1,0-3-741-16,-2-3-1198 15,4-15-4170-15,0-9-4484 16</inkml:trace>
  <inkml:trace contextRef="#ctx0" brushRef="#br1" timeOffset="62739.58">7639 8903 31614 0,'0'0'374'0,"0"0"-135"15,0 0-68 1,0 0-40-16,4 1-88 15,4 6 42-15,13-5-28 16,11-2-63-16,2-4 3 16,-13-1 35-16,13-1-15 15,19 0-9-15,-9-1-5 16,1 1-2 0,-11 4 0-16,2 0-1 15,-9 2 0-15,3 2 0 16,-9 2 0-16,-6 0 0 15,-3 3-30-15,-1 1-307 16,0 3 211-16,-5-1-62 16,3 3 161-16,-1-3-32 15,-4 3 224-15,0 9 108 16,3-1-100-16,4 2-88 16,-1 3-46-16,-4-1-22 15,2 4-9 1,4 1-4-16,-6 4-2 15,-2-2-2-15,0 2 1 16,2-4-1-16,3-1 0 16,-1 0 0-16,-1-10 0 15,-3 1 0-15,-2-8 0 16,-2-3 0 0,3-3 0-16,-1 0 0 15,0-3 0-15,-2-3 0 16,0 0 0-16,-2 2 0 15,-5 0 0-15,-8 0 0 16,-2-2 0-16,3-2 0 16,-8 0 0-16,-1 0 0 15,-4-1 0-15,-10 2 0 16,-11 1 0-16,12 0 0 16,3 1 0-16,-25 2 0 15,7-1 0 1,9-2 0-16,5 2 0 15,-5 2 0-15,-2-4 0 16,13 2 0-16,9 0 0 16,-1-2 0-16,8 2 0 15,2-2 0-15,9 0-2257 16,0 3-6836-16</inkml:trace>
  <inkml:trace contextRef="#ctx0" brushRef="#br1" timeOffset="63546.99">6979 10746 19378 0,'2'2'4527'16,"0"11"-1232"-16,2 8-770 15,0 9-821-15,-4 8-919 16,-2 8-461-16,0 12-177 16,0 0-94-16,2 4-34 15,-4 1-12-15,4-10-5 16,4-8-1-16,2-7-1 16,4-8 0-16,-8-15 0 15,3-7-140 1,3-6-2065-16,-1-12-5499 15</inkml:trace>
  <inkml:trace contextRef="#ctx0" brushRef="#br1" timeOffset="64225.07">6947 10672 32767 0,'0'0'0'0,"12"6"0"0,-2-1 0 15,6 1 0-15,9 0-87 16,-6-6-129-1,0 2 14-15,9-2 146 16,6 0 176-16,3-2 141 16,-1 2-157-16,-6-2-61 15,0 0-25-15,-7 4-10 16,-7 0-5-16,4 0-1 16,3 2-1-16,-1 1 0 15,-8 1-1 1,-1 0-61-16,0 3-109 15,1 4-19-15,1 0 174 16,-6 1-69-16,-3 1 41 16,-2 2-30-16,7 10 176 15,-1 3 53-15,-1 6 66 16,-4 2-131-16,1-2-54 16,4 5-21-16,-2-8-10 15,1 3-4 1,2-2-1-16,-9-7 0 15,-2 5-1-15,0-11 0 16,-4 1 0-16,-10-5-184 16,0-3 65-16,0-3-102 15,-10-3-201-15,3-3 168 16,-15-3 94-16,-13-2 229 16,7-2 226-1,4 0 160-15,-7-1-126 16,-1 3-198-16,-1 3-81 15,17-1-33-15,-4 0-9 16,-12 2-4-16,15-4-3 16,1 2-1262-16,13 1-2022 15,6-3-3928-15</inkml:trace>
  <inkml:trace contextRef="#ctx0" brushRef="#br1" timeOffset="65644.65">6703 12114 29884 0,'2'0'586'0,"5"4"383"15,5-2-347-15,9 2-253 16,9 0-182-16,6 3-100 15,0-5-50-15,4 4-21 16,15 2-10-16,11-1-3 16,-7 6-2-16,7 1-1 15,4 4 0-15,3-4 0 16,10 1 0-16,-5-4 0 16,9-10 0-1,-8 6 0-15,-6-5 0 0,-11-2 0 16,-15-2 0-1,3 0 0-15,5 10 0 16,-8-5 0-16,-19 3 0 16,-4 4 0-16,0 5 0 15,-3 6 0-15,-6 3 0 16,0 8 0-16,-5-1 0 16,2 7 0-1,-8 5 0-15,-2 1 0 16,-2 9 0-16,2-7 0 15,-4 3 0-15,-7 0 0 16,4 4 0-16,5-11 0 16,-2 58 0-1,0-54 0-15,0-4 0 16,-2-1 0-16,-2-7 0 16,4-5 0-1,4-3 0-15,-4-9 0 16,-4 4 0-16,-1-11 0 15,1 3 0-15,-7-3 0 16,-2-1 0-16,-3-2 0 16,-25-1 0-16,-8-6-523 15,2 0 32-15,2 0 247 16,-7 2 107-16,-17-2 19 16,-6 2 323-16,2 0 574 15,10 2-427 1,-15 0-230-16,62-1-94 15,-47 1-10-15,-5-2-12 0,-2 2-4 16,6 0-1-16,-1-1-1 16,1 1 0-16,17 0 0 15,-3 0 0-15,-57 3 0 16,84-5 0 0,4 0 0-1,-4 2 0-15,5-2 0 0,8-2 0 16,1-2 0-1,5 2 0-15,-1-6 0 16,5-9 0-16,7-12 0 16,1-9 0-16,-2-13 0 15,9-15 0-15,6 3 0 16,-8-13-283-16,1-2 36 16,5-3 193-1,-8-7 105-15,-3 3 74 16,0-6-86-16,1 8 195 15,9-3-139-15,-9 14-68 16,-7 15-19-16,0 2-5 16,-5 19-2-16,3 11 0 15,-4 6-1-15,4 11-27 16,2 0-1617-16,0 6-1463 16,0 0-2900-1,10 16-2067-15</inkml:trace>
  <inkml:trace contextRef="#ctx0" brushRef="#br1" timeOffset="66568.66">6947 12431 29948 0,'-3'13'1356'0,"1"12"-566"15,11 20-374-15,-3 9-252 16,-6-5-106-1,2-4-37-15,-4-5-12 16,2 2-6-16,0-12-2 16,0-7 0-16,-2-6-1 15,2-9 0-15,0-3 0 16,2 1 0-16,4-4 0 16,10 2 0-16,2-6 0 15,10-2 0 1,-9 2 0-16,-7-4 0 15,8-3 0-15,18 2 0 16,-5 3 0-16,3 3 0 16,-4 1 0-16,-7 5 0 15,5 7 0-15,15 2 0 16,-1-1 0-16,-8 0 0 16,-4-5 0-1,-5-2 0-15,-1-3 0 16,2-3 0-16,5-3 0 15,-7-3 0-15,-4-2 0 16,-6-5 0-16,3-4 0 16,8 2 0-16,-8 3 0 15,3-3 0-15,-4 2-222 16,-3 2-82-16,-2-1 390 16,-9-3 51-1,-4-2 14-15,-4-6-72 0,4-5-38 16,0-3-23-1,-4 1-245-15,0-6-193 16,-1 8-78-16,3 3-54 16,2 2 205-16,0 6 335 15,-2-1 161-15,0 6 412 16,2 6-138-16,-5-3-13 16,-3-1-166-1,-4 3-110-15,-6-3-57 16,-2 3-40-16,0 1-19 15,1-7-9-15,-4 3-5 16,-19-5-1-16,2 0-3 16,2 2 1-16,-5 0-1 15,-5 1 0-15,-10-1 0 16,11 5 0-16,-5 4 0 16,-18 4 0-1,17 4 0-15,-10 4 0 16,-48 24-383-1,60-11-2306-15,5 4-3727 16,3 1-5858-16</inkml:trace>
  <inkml:trace contextRef="#ctx0" brushRef="#br1" timeOffset="67630.66">6599 14137 32767 0,'-6'21'0'0,"-4"30"0"15,3 8 0-15,0 5 0 16,-1 8 0 0,2-7 0-16,-2 14 0 15,3-9 0-15,5 7 0 16,-4-2 0-16,6-5 0 15,0 8 0-15,-2-12 0 16,9 1 0-16,-5-1 0 16,-2 0 0-16,6-13 0 15,5 6 0-15,0-9 0 16,-1-1 0-16,1 2 0 16,-4-9 0-1,1-2 0-15,3 3 0 16,3-5 0-16,2 2 0 15,-4-12 0-15,12-3 0 16,-17-17 0-16,25 5 0 16,12 0 0-16,-1-11 0 15,7-2 0-15,11-2 0 0,-3 0 0 16,-5-2 0-16,22 6 0 16,-16 2 0-1,1 5 0-15,17 5 0 16,-17-1 0-16,-3 0 0 15,22 0 0-15,-14-5 0 16,-7-4 0-16,-10-2 0 16,-1-8 0-16,8-7 0 15,-4-2 0-15,-8-4 0 16,-10-10 0-16,-3-12 0 16,-8-15 0-1,-3-13 0-15,-11-3-655 0,1-6-239 16,0-23-94-1,-7 14 676-15,2-15 404 16,4-2 469-16,-8-8-382 16,1 0-38-16,-6 2-175 15,-3-108 242 1,4 115 74 0,0 3 72-16,0 11-30 15,-2 13 30-15,2 4-92 16,-2 15-181-16,-5 12-53 15,0 7-18-15,1 17-6 16,-9 0-2-16,2 8-2 16,0 3 1-16,5 1-1 15,-16 7 0-15,-14 6 0 16,-2 0 0-16,2 5 0 16,0-3 0-1,-14-1 0-15,-21 3 0 16,0-4 0-16,-3 0 0 15,-17 3 0-15,-2-1 0 16,-10 1 0-16,4 3 0 16,8 7 0-16,-7 0 0 15,2 4 0-15,9-2 0 16,18 0 0 0,-6-4-3086-16,13-2-8014 15</inkml:trace>
  <inkml:trace contextRef="#ctx0" brushRef="#br1" timeOffset="72861.76">1606 6521 5477 0,'0'0'2831'0,"-2"-2"-521"15,2 2 673-15,0 0-522 16,0 0-734-16,0 0-461 16,0 0-328-16,0 0-293 15,0 0-149 1,0 0 253-16,-2 0 448 15,0 6 361-15,4 3-447 16,0 2-99-16,-2 3-150 16,-2 3 67-16,0 0-12 15,2-2 87-15,0-2-572 16,4 0-142-16,-4 1-32 16,-2 1-88-16,0-2-115 15,2-1 19 1,0 1-93-16,2 0-37 15,-2 0-63-15,-2-1-178 16,4-1-239-16,-2-5-46 16,2 1 226-16,-2-6 219 15,2 4 54-15,0-3 71 16,-2 0 351-16,2 0 229 16,-2-2-73-1,0 0-205-15,0 0-94 16,0 0-78-16,0 0-155 15,0 2-299-15,0-2-227 16,0 0-51-16,0 2 191 16,2-2 186-16,-2 3 90 15,2-1 115-15,0 0 307 16,3 0 155-16,5 0 1 16,-1-2-108-1,4 0 37-15,-3-2-194 16,8 2-68-16,0 0-46 15,1 0-43-15,2-2 13 16,-6 0 19-16,0-3 87 16,4 1-155-16,0 2-2 15,7 0-57-15,-6 0 66 16,0-3 10 0,-6 5-55-16,10-1 77 15,-5 1-6-15,-4 0 59 16,0-3 58-16,-5 3-17 15,2-4 56-15,8 2-1 16,-3-2-130-16,-4 0-32 16,4 1 17-16,-3 3 37 15,4-2-135-15,-4 4-159 16,0-4-149-16,-5 2 94 16,-9 2 93-1,3-2 110-15,5-2 183 16,-6 2 218-16,0 0-5 15,0 0 12-15,-2 0-60 16,0 0 2-16,0 0-149 16,2-2-80-16,0-2 70 15,1 0 20-15,1 0-184 16,-2-3 78 0,0 1 59-16,-2-1-53 15,0-1-21-15,0-1 70 16,-2 1-28-16,-2-4-75 15,6 3 46-15,0-2 24 16,-2 1-16-16,4-3-36 16,-4 4 37-16,0-1-107 15,2-1 108-15,-4 3-92 16,4-3 146-16,0 1-63 16,0 3-73-16,-2-1-55 15,-4 1 131 1,2 6-113-16,2-2-71 15,-2-1 101-15,2 4 59 16,-2 0 70-16,2-2 44 16,0 2-2-16,0 0 17 15,0-2-56-15,0 2-35 16,0-2-67-16,-2 2-57 16,0-3-46-1,2 3-4-15,-7-1-9 16,3-4 59-16,-6 3 48 15,1 0-30-15,2 0 72 16,-1 0 3-16,-10-4-16 16,8 6 39-16,-2-3-23 15,-1-1 17-15,3 2-22 16,6 0 42-16,-5 0 3 16,-4-2 28-1,7-1 10-15,-2 3 8 16,0-2-34-16,8 4-27 15,-6-2 32-15,-4-2-59 16,4 4 79-16,2-3-155 16,-3 3 81-16,-3 0 29 15,3-2 107-15,-1 2 13 16,-1 0-67-16,-5-4-26 16,8 2-30-1,-10 2-10-15,0-2-6 16,-2 0-6-1,8 0-2-15,-3 0 0 0,3 2-2 16,4-3 1-16,-8 3-1 16,8 0 0-16,-2 0 0 15,-4 0 0-15,-2 0 0 16,6 0 0-16,0 0 0 16,-9 0 0-1,8 3 0-15,3-3 0 16,-1 0 0-16,-1 0 0 15,4 0 0-15,-4-3 0 16,4 3 0-16,-2-1 0 16,2 1 0-16,0 0 0 15,-2 0 0-15,2 0 0 16,2 0 0 0,-5 1 0-16,3-2 0 15,0 1 0-15,2 1 0 16,-3-1 0-16,3 0 0 15,0 3 0-15,-6-3 0 16,-1 2 0-16,5 0 0 16,2 0 0-16,-2-2 0 15,0 2 0-15,2-2 0 16,0 2 0-16,0-2 0 16,-1 2 0-16,3-2 0 15,0 0 0 1,0 0 0-16,0 0 0 15,0 0 0-15,0 0 0 16,-3 0 0-16,3 0 0 16,-2 2 0-16,2-2 0 15,-2 2-1018-15,2 1-3199 16,4-1-5535 0</inkml:trace>
  <inkml:trace contextRef="#ctx0" brushRef="#br1" timeOffset="80129.69">2662 7262 11883 0,'0'0'1999'0,"0"0"-16"16,0 0-69-16,0 0-648 16,-2 0-180-16,2 0-559 15,-2 0-186-15,-4 6 18 16,1 3 415-16,5 2 525 16,3 1 553-1,3 3-118-15,0-5-384 16,3 7 135-16,-3-2-340 15,2 5-244-15,-6 0-453 16,2 1-229-16,-6 5-111 16,2 0-57-16,-2-3-28 15,4-2-13-15,-2-2-5 16,0 0-2-16,0 0-2 16,5-4-1-1,-5 2 1-15,0-2-1 16,-3-2 0-16,6-1 0 15,-3-3 0-15,0-1 0 16,-3-2 0-16,3-1-49 16,0-1-327-16,0-4-322 15,0 2-456-15,3 0-75 16,-3-2-643-16,0 0-1042 16,0 0-3787-1</inkml:trace>
  <inkml:trace contextRef="#ctx0" brushRef="#br1" timeOffset="81528.01">2671 7260 13837 0,'-2'0'25'15,"-5"-4"96"-15,3 1-39 16,0-1-120-16,2 2 15 15,-3-2-5-15,5 4 70 16,5-2-37-16,-3-3 521 16,9 4 735-16,1-2 162 15,8-1 64-15,-4 6-337 16,14-2-120-16,-3 2 92 16,-1-2 229-16,3 3-68 15,-3-2 300 1,6-1-463-16,-16 5-431 15,8-1-20-15,1-2-126 16,-8 0-77-16,8-2-55 16,-1 0-72-16,-8 0-107 15,-5-2-87-15,6-2 44 16,-2 2-71-16,-9 2-63 16,14-5 1-16,2 4-44 15,-2-4-90 1,1 3 74-16,-4-2 66 15,-4 0-183-15,3-1 72 16,-10 3-315-16,-1 2-231 16,-5 0 253-16,2 0 105 15,-2 0-126-15,0 2 61 16,-2 3 84-16,2-3 65 16,0 4 13-16,-3-2 115 15,1 0 10 1,2 3-21-16,0 3 97 15,7 1-114-15,-2 0 69 16,-3-1-50-16,4 3 272 16,-2 0-128-16,2-3 256 15,1 7 401-15,-3-4 42 16,4 4-248-16,1 0-55 16,-9-2-398-16,6 2 42 15,-1-1-28 1,-3-1 129-16,-2 2-77 15,2-2-86-15,-4 0-57 16,2-3 43-16,2-1-21 16,-2-2-52-16,0 1 27 15,2 1-68-15,0-5 71 16,0 0-38-16,0-3 27 16,-2 3-7-16,0-4-6 15,0 2-25 1,0 0 29-16,0-1-15 15,0-2 12-15,0 2-47 16,0-1 36-16,0 0-88 16,0-2 1-16,0 2-2 15,0-2 48-15,0 4-13 16,-2-4 84-16,-4 3 7 16,0-3-53-16,1 2 9 15,-12 0 50 1,-2 0-84-16,13-2 39 15,-7 2 2-15,-6 0-47 16,-4-2 23-16,-1 0 15 16,3 2 56-16,0-2 9 15,-3 2-110-15,6-2 80 16,-5 2-79-16,-7 3 46 16,-6-3-51-16,6-2 36 15,1 4 50 1,3-4-14-16,5 2 44 15,-7-2-27-15,-4 3 39 16,6-3-74-16,2 1-13 16,-1 2 63-16,5-2-106 15,4 4 33-15,5-1 59 16,-18 3-27-16,5-1 16 16,3-4 40-16,-1 4 3 15,8-4 91 1,4 2-80-16,1-1-34 15,0 1-16-15,3-4-10 16,4 2-6-16,0-2-2 16,2 0-2-16,0 0 0 15,0 2-1-15,4 0 0 16,0 1-1-16,-2-3 0 16,3 0-196-16,-1 0-1061 15,2-3-1742 1,-3 3-3782-16</inkml:trace>
  <inkml:trace contextRef="#ctx0" brushRef="#br1" timeOffset="84119.64">1587 8049 15631 0,'0'0'24'0,"3"9"1550"16,-1-7-757-16,0 9 179 15,-2 10-346-15,-2 4-156 0,2 5 178 16,-5 8 59-16,5-4 1233 16,5 4 391-16,-5-5-924 15,-2 3-221 1,4-1 181-16,-2-1-366 15,0-9-602-15,-2-2-287 16,-1-6-219-16,3 0-329 16,-3-11-692-16,6 1-152 15,-3-5-1211-15,0-2-1968 16,-3-17-4600 0</inkml:trace>
  <inkml:trace contextRef="#ctx0" brushRef="#br1" timeOffset="84930.46">1560 8037 25720 0,'0'0'843'0,"2"-2"-68"16,6-1-114-16,0-1-270 16,4 2-312-1,0 0-182-15,9 0-154 0,7 2 36 16,0-2 209-16,3 0 43 16,3-1 240-16,-4 1 94 15,3 0 223 1,-1-2-273-16,2 2-136 15,2 2-140-15,-11-4-93 16,1 2 12-16,-10-1 40 16,-2 2-14-16,-4 1-89 15,11 0-98-15,-6 4 35 16,-2-2-86-16,-1 0-105 16,10 0-33-16,-10 2 163 15,-2 2 140 1,-1-1 11-16,8 3 95 15,-11 1 62-15,1 5 105 16,-5-1-209-16,0 0 71 16,0 8 31-16,2 1 126 15,2 1-136-15,-6 2 120 16,0 4 43-16,2-1-23 16,1-9 88-16,1 0 66 15,1 4 183 1,-3-3-242-16,0-4-120 15,-4 0-248-15,2-2-14 16,-2 1-53-16,0-3-272 16,-1-3 15-16,1-2 73 15,0-1 189-15,-1 0 4 16,-1-2 215-16,0 0-126 16,-4 1-58-16,-5-3 217 15,-4 0-215 1,-16-2 39-16,-4 4-233 15,1-6 112-15,8 2-19 16,1 0-68-16,-15 0 128 16,-4-2 218-16,9 2 188 15,3-2 541-15,-12 2-37 16,-1 0 144 0,3 0-345-16,10 2-162 15,11-4-218-15,-3 2-103 16,1 0-1313-16,4 0-1811 15,12 0-2818-15,7-2-2501 16</inkml:trace>
  <inkml:trace contextRef="#ctx0" brushRef="#br1" timeOffset="85523.47">2717 8786 30685 0,'0'0'546'0,"0"6"-278"15,0 7 91-15,2 8-220 16,2 4-19-16,-4 1-601 15,-2 6-776-15,0 2 474 16,0-5 640-16,0 1 151 16,6-3 207-16,-4-7 301 15,0 0-395-15,0-4-281 16,4-8-939-16,-4-2-1889 16,0-6-1338-16,-2-2-3255 15</inkml:trace>
  <inkml:trace contextRef="#ctx0" brushRef="#br1" timeOffset="86048.48">2723 8729 2370 0,'0'0'10786'0,"16"0"-1472"16,11 4-3570-16,5-2-3169 15,0 1-1593-15,-9-2-1746 16,-2 2-883-16,2 3-789 16,11-2 19-16,2 0 1163 15,-3-4 889-15,2 7 575 16,-18-5 277-16,4 2 135 16,9 1 129-1,6 0-399-15,-1 2-205 16,-5 1-179-16,-8-1-99 15,-6-3-120-15,5 5 187 16,-1-1 0-16,-6 1 191 16,-6-3-39-16,2 0 93 15,2 2-77-15,-6-1-96 16,-4 2-352-16,-4 1 213 16,-12 5-48-1,-16-3 63-15,9 1 87 16,1 0 49-16,-9 0 157 15,-18 1 84-15,5-1 678 16,-3 0 95-16,3 0 31 16,-9-7 652-16,1 2 49 15,9-1-1069-15,3-5-420 16,-9 2-161-16,7-4-71 16,13 0-29-1,3 0-96-15,6 0-881 16,0 0-1772-16,6 0-4110 15,-5 0-2868-15</inkml:trace>
  <inkml:trace contextRef="#ctx0" brushRef="#br1" timeOffset="86599.78">3804 9544 26649 0,'2'10'384'0,"0"22"798"0,2 10 303 16,-4-1-208-16,0-11-673 15,6 1-289 1,6-1-114-16,-3-9-237 15,0-2-243-15,-3-4-1039 16,-2-7-462-16,-4-3-1239 16,2-5-1176-16,-2 0-1577 15</inkml:trace>
  <inkml:trace contextRef="#ctx0" brushRef="#br1" timeOffset="87218.77">3771 9468 30909 0,'0'0'102'0,"0"0"67"16,11 4-3-16,8 0-176 15,-6-2-788 1,19-2-631-16,5 0-81 15,-7 0 105-15,4 3 391 16,4-6 709-16,7 3 118 16,-7-2 135-16,-1 2-196 15,-1-2-702-15,-8 2-118 16,-2 0 446-16,3 0 299 16,1 4 199-16,0 4 141 15,-13 1-126 1,17 17 65-1,-22-10 113-15,3 4 88 16,-2 1 117-16,-5-2 170 16,-4 0 18-16,1-2-425 15,-5 1-451-15,-2 0 132 16,2-8 15-16,-7 7-122 16,-1-2 237-16,-3 2 73 15,7-6-236 1,-7 3-145-16,-5-1-246 15,8-7-100-15,-2 5 256 16,-8-2 683-16,0-1 885 16,-7-2 720-16,-5-1 639 15,5-4 177-15,-5-1-520 16,-6 0-4-16,2-1-773 16,-6-4-530-1,5 1-351-15,5 0-188 16,-9 2-177-16,-3-1-410 15,-7 3-1601-15,7 3-597 16,12-1-1509-16,1 0-2107 16,7 2-1479-16</inkml:trace>
  <inkml:trace contextRef="#ctx0" brushRef="#br1" timeOffset="87843.78">5024 8919 28475 0,'2'5'245'0,"0"15"-92"16,2 6 83-16,0 0 47 15,-2 1-155 1,0-6-72-16,-4 4-132 15,0-3 43-15,2-5-569 16,-4-7-1082-16,4-6-1589 16,0-1-1545-16,0-3-1982 15</inkml:trace>
  <inkml:trace contextRef="#ctx0" brushRef="#br1" timeOffset="88315.77">4919 8856 3267 0,'0'0'9472'0,"4"2"-2434"0,6-2-2040 16,10 0-2084-16,3 0-1890 16,7 0-1283-1,-12-2-561-15,4 2-780 16,-4 0 720-16,4 2 429 15,5 0 166-15,-3 0 142 16,6 0 216-16,-10 2 56 16,-5-1-69-16,7 1 468 15,-2 2 434-15,6 3-186 16,-9-1-467 0,2 7-196-16,4 2-113 15,-3 2-503-15,-2 4-426 16,-5-8 478-16,-2 8 310 15,-9-6 81-15,-2-2-76 16,0 0 65-16,0-3 324 16,-6 4 209-16,-10-4 514 15,-4-1-293-15,-8-5-218 16,2 1 42 0,-3-1-150-16,-3-2 208 0,-10-2 214 15,-5 0-265 1,13-2-571-16,9-2-687 15,1-2-580-15,0 0-3166 16,-6-7-4841-16</inkml:trace>
  <inkml:trace contextRef="#ctx0" brushRef="#br1" timeOffset="89837.86">1998 5594 1602 0,'0'0'428'16,"2"0"268"-16,10-4 954 15,-5 2 420-15,-5 2 41 16,-2 0 360-16,0 0 200 16,0-2-416-16,-7 0-823 15,-3-1-551 1,-10 6-229-16,-6 5-488 15,2-2 167-15,-5 5-10 16,1 0 161-16,-2-1-359 16,18-4-16-16,1 3 142 15,5-1 107-15,6 1 265 16,6 3 551-16,3 3 346 16,14-2 55-16,8-2-600 15,5-3-276-15,-14 0-429 16,-5-1-96-1,5 2-182-15,-8-1 52 16,13 5-142-16,-23-7-17 16,-1 4 134-16,-14 7-7 15,-2 0 45-15,-1 5-131 16,-2-3 41-16,-7-2 71 16,-2 0-1-16,-2-3-56 15,-1-5 83 1,6-3 198-16,-1-6 1 15,0-4-221-15,8 2-308 16,7-2-1143-16,4 1-931 16,2-3-2089-16,2-3-2379 15</inkml:trace>
  <inkml:trace contextRef="#ctx0" brushRef="#br1" timeOffset="90396.63">2254 5584 28603 0,'-2'4'199'0,"4"8"-141"15,0 8 54 1,0 3-104-16,-8 8-40 15,-1-3 143-15,1 12-96 16,2-6 829-16,-7 2 209 16,3 0-471-16,4-6-369 15,4-3-297-15,0-4-756 16,-2-6-947-16,-1-8-2577 16,8-3-3302-16</inkml:trace>
  <inkml:trace contextRef="#ctx0" brushRef="#br1" timeOffset="91026.62">3039 5532 28539 0,'-11'0'15'16,"-7"3"-245"-16,-10 3-23 15,-2 1-99-15,-3 1-1456 16,17 0-570-16,0 5 673 16,3 0 731-16,-2 1 524 15,4-1 545-15,7 6 637 16,13 1 908-16,3-2 366 16,10 1-381-16,6 1-428 15,3 1-111 1,-1-2-539-16,0 0-304 15,-18-6-313-15,-4 4-62 16,-2 6 13-16,3-2 62 16,-13 0 114-16,-9 3-80 15,-11-5-150-15,2-5-234 16,-12-1-218-16,15-9-713 16,6-6-848-1,2-2-752-15,-7-7-2156 16,9-3-1601-16</inkml:trace>
  <inkml:trace contextRef="#ctx0" brushRef="#br1" timeOffset="91438.62">3244 5550 2915 0,'0'0'10601'0,"4"-2"-2775"16,5-3-2945-16,12-1-1461 16,6 6-2227-16,5-5-2608 15,-10 4-282-15,1-2-230 16,-9 2 929-16,-2 5 101 16,-2 0-244-16,0 4 542 15,-1 7 335 1,-7 6 103-16,-9 4 324 15,-17 14 216-15,0-1 1261 16,-1-6-611-16,-11 1 446 16,10-3-601-16,5-2-214 15,8-3 92-15,9 0 260 16,6-5 18-16,2-2-74 16,7 4-396-1,4-5-296-15,19-3-125 0,4-7-555 16,-19-5-1856-1,15-4-2779-15,0 2-2057 16,6-5-1730-16</inkml:trace>
  <inkml:trace contextRef="#ctx0" brushRef="#br1" timeOffset="92172.62">3987 5617 21556 0,'-2'0'2837'15,"2"0"-1076"-15,0 0-729 16,-6-2-359-16,-11 4-746 16,0 2-337-16,-11 7-473 15,-3 0-468-15,-9 3 197 16,14 2-8-16,7-4 929 16,8 1 274-1,11-1 1446-15,11 10 418 16,20 1-540-16,12 0-291 15,1-6 137-15,-3 2-88 16,-18 0-556-16,-2 0-320 16,-9-2-230-16,-4-2-9 15,-20 6-107-15,0-4 39 16,-9 0 98-16,-13 0-377 16,8-6-550-16,-20-1-452 15,8-8-1145-15,11 0-1889 16,5-2-1625-1,12-2-453-15</inkml:trace>
  <inkml:trace contextRef="#ctx0" brushRef="#br1" timeOffset="92669.64">4117 5617 10506 0,'0'0'7913'16,"2"0"-2701"-16,14-4-782 15,6 2-1984-15,16-2-1112 16,1 0-1202-16,-6-3-1609 16,1 3-19-16,-12 0 708 15,4 6 171-15,-20 0 130 16,5 2 46-1,-7 3 433-15,-4 5 198 16,-23 9 98-16,5-1-45 16,-8 3-74-16,-2 0-78 15,13-6-392-15,7-4-768 16,4 1 49-16,10-3 431 16,17 4 451-1,7-5 984-15,2-1-314 16,10 2-233-16,-1-1 183 15,-17-1-342-15,-4 3-63 16,-1 3 12-16,-15 0 27 16,-15 2 114-16,-21 6 104 15,-8 1-72-15,2-10 45 16,-5 1-122 0,4-4-172-16,-13-3-8 15,13-10-330-15,7 0-3337 16,15-6-1777-16,12-5-3332 15</inkml:trace>
  <inkml:trace contextRef="#ctx0" brushRef="#br1" timeOffset="93138.67">4880 5564 27130 0,'0'0'1494'0,"-4"3"-548"16,-6 3-817-1,-1 5-780-15,-14 5-1317 16,-11-1-1272-16,-19 19-1201 16,45-17 3280-1,4-2 1356-15,6 6 1366 16,12 4 869 0,19 1 939-16,3-5-1082 0,-2 0-167 15,6 2-1064 1,-17-2-730-16,-6 3-256 15,-2-3-124-15,-13 2 165 16,-9 3-111-16,-12-1 295 16,-10 3-163-16,-21-7-200 15,1-4-650-15,22-9-1122 16,4-6-1867-16,8-4-2781 16,8-6-1685-16</inkml:trace>
  <inkml:trace contextRef="#ctx0" brushRef="#br1" timeOffset="93829.67">5119 5624 12684 0,'0'0'7042'0,"0"0"-3533"15,-4 2-1256-15,2 4-985 16,-2 9-949-16,-6 8-667 15,1 0 238-15,3 1 298 16,-3 4 540-16,1-1 619 16,-3-6 224-16,11-2-407 15,-2 0-588-15,2-6-305 16,4-3-133-16,7-1-60 16,8-3-32-16,10-4-22 15,7-6-13 1,-2 0-6-16,-2-2-3 15,-19 3-1 1,-5 3-1-16,-2-2-334 16,-6 2-575-16,-4 5-378 15,-4 7 727-15,-9 10 258 16,2 5 282-16,3 0 893 16,3 3 82-16,7 2-130 15,4 0-393 1,-2-5-254-16,9-6-99 15,-9-8-76-15,0-4-1087 16,0-3-1179-16,0-6-1082 16,0 0-4389-16</inkml:trace>
  <inkml:trace contextRef="#ctx0" brushRef="#br1" timeOffset="94265.67">5723 5626 30845 0,'0'0'-613'15,"0"0"-182"-15,-6 4-1230 16,-20 5-1080-16,-5 3 53 16,11 5-178-16,2-2 1029 15,-2 8 1091-15,10-4 902 16,5 5 1854-16,5-1 1182 16,15 0 902-16,2 0-317 15,8 3-445 1,3-5-938-16,4-2-1153 15,-1-4-638 1,-17-3-182-16,-8 4-188 0,-8 4-100 16,-14 0-49-16,-17 1-601 15,-3-5-685-15,2-3 315 16,0-4-1106-16,-4-5-1684 16,15-8-1080-1,4-5-1616-15</inkml:trace>
  <inkml:trace contextRef="#ctx0" brushRef="#br1" timeOffset="94705.67">5965 5681 25528 0,'2'2'294'0,"2"13"-81"16,-2 10 541-16,0 13-256 15,-4 5-282 1,-2 5-28-16,2-9-85 15,-2-2 146-15,4-11-223 16,-3-9 110-16,8-9-86 16,-1-3-509-16,2-10-1793 15,-4-24-1274-15,6-14-725 16,-10-16 2706-16,4-4 943 16,-6-5 459-1,10-2 766-15,-6 9 1558 16,0 18-625-16,2 18-435 15,5 6 1385-15,-7 8-217 16,2 5-881-16,4 2-28 16,22 8-30-16,6 9-230 15,2 3-281-15,-9 1-318 16,-1 9-291-16,-1-1-134 16,-2-1-55-1,-6-1-25-15,-4-2-9 16,-8 0-4-16,-10 4-1 15,-20-5-2-15,-7-4 1 16,3 0-1-16,-16-8-1027 16,-3-6-5868-16</inkml:trace>
  <inkml:trace contextRef="#ctx0" brushRef="#br1" timeOffset="96828.07">2123 6695 4901 0,'0'0'2834'0,"0"0"1296"16,0 0-1313-16,0 0-43 16,0 0-635-1,-2 0-130-15,2 0-378 0,0 0-301 16,0 0 36-16,0 0 182 16,0 0-114-1,0 0 704 1,0 0-1592-16,0 0-159 15,0 0-147-15,0 0-63 16,0 0-64-16,0 2-11 16,4-2-45-16,0 2-22 15,2 0-11-15,1-2-10 16,3 6-4-16,-2-2-5 16,1 1-3-1,0 6 0-15,3-3-1 16,1 3-1-16,4-1 1 15,-7-3-1-15,-3-1 0 16,-1 0 0-16,0 3 0 16,1-3 0-16,2 3 0 15,-1-3 0-15,-2 0 0 16,4 3 0-16,0-5 0 16,-10 0 0-16,2 0 0 15,4 3 0 1,-2-1 0-16,0 2 0 15,-4-1 0-15,4 1 0 16,0 1 0-16,3-1 0 16,-3 3 0-16,5 2 0 15,-3 1 0-15,0 1 0 16,-8-2 0-16,9 4 0 16,1-3 0-1,0-1 0-15,-2 0 0 16,4 0 0-16,-4-3 0 15,4 3 0-15,-2 0 0 16,-3-5 0-16,6 7 0 16,-5-5 0-16,0 3 0 15,1-2 0-15,-1 2 0 16,13 10 0 0,-10-13 0-1,-5-1 0-15,0-1 0 16,0 10 0-1,-4-10 0-15,2 0 0 16,0 1 0-16,6-3 0 16,2 3 0-16,-6-3 0 15,-2-2 0-15,2 3 0 16,0-3 0-16,-2 2 0 16,0 0 0-16,3 3 0 15,-3-1 0 1,2-1 0-16,-2 1 0 15,2-2 0-15,0 3 0 16,3-5 0-16,2 2 0 16,-1 1 0-16,-4 1 0 15,4-3 0-15,6 1 0 16,2 0 0-16,1 2 0 16,-4-3 0-1,-7-3 0-15,1 3 0 16,-1-4 0-16,6 4 0 15,2-1 0-15,-6-2 0 16,-2 0 0-16,-4 0-1105 16,4-2-5386-16</inkml:trace>
  <inkml:trace contextRef="#ctx0" brushRef="#br1" timeOffset="101815.77">2758 6341 11755 0,'0'0'1136'15,"0"0"-218"-15,2 0-567 16,0 2-104-16,-2 1-97 16,0 1-16-16,2 6 27 15,2 7 224-15,-4 2 1379 16,-2 5 193-16,2 1 602 16,-2 2 17-16,-7-1-513 15,7-1-881 1,-4 3-203-16,0-1-133 15,6-3-292-15,0-4-156 16,4 2-317-16,0-1-77 16,0-4-240-16,3-2 151 15,-1-2-20 1,0-3 54-16,-2-3-17 0,-2-1-208 16,3 0 79-16,-5 1-33 15,2-6-7 1,-2 2-43-16,3 1 45 15,-1-2 102-15,-2-2 50 16,0 0 97-16,0 0 64 16,0 0 336-16,6 0 231 15,2-2-365-15,2-2-125 16,6 0-67-16,-2-1-55 16,-5 3-85-16,3 0-88 15,6 2-35 1,0 2-217-16,14 2 6 15,2 5 139-15,11-1 119 16,-18 3 101-16,-10-3 0 16,4-3 47-16,1 1 39 15,7-4 149-15,-2 0-98 16,1-6 217-16,-11-2-139 16,2-9-262-16,-2-8-263 15,4-3-201 1,-8-1 383-16,-2-1-38 15,-3 5 386-15,2-7 301 16,-6 5 351-16,6 2-190 16,-4 1-174-16,-4 3-157 15,-4 2-296-15,0 0-378 16,2 3-241-16,0-5 27 16,0 6 66-16,-2 2-11 15,2-1 316 1,2 3 71-16,-2 2 58 15,2 2 41-15,-2 0 46 16,0 3 85-16,0 0-42 16,-2-2-125-16,2 2-169 15,0 2 28-15,0-5 86 16,0 1-77-16,-2 0 75 16,-4 0 37-16,0-3 60 15,2 3-45 1,-2-2 204-16,-4-1-30 15,-10 3-71-15,8 0 8 16,-9 0 418-16,-3 0-49 16,1-1 147-16,-9-1-58 15,4 1-69-15,-1 1-238 16,-3 4 150-16,-10 3-17 16,-4-2-118-1,9-1-266-15,5 5 176 16,10-5-140-16,-2 4 9 15,1-4-1347-15,10 0-2303 16,0-2-4390-16</inkml:trace>
  <inkml:trace contextRef="#ctx0" brushRef="#br1" timeOffset="103203.95">2135 8316 19346 0,'0'0'567'0,"0"0"673"16,0 0-174-16,0 0-267 15,0 0-559-15,-2-2-53 16,0 0-88-16,2 2-389 16,-2-2-41-16,4-2 140 15,-2 1 10-15,4-1 193 16,5 0 89-16,-3 2 638 16,0-1 523-1,0 3-109-15,4 3-190 16,8-1-48-1,2 0 1-15,0 7-157 0,4-7-281 16,-3 4-126-16,-3-2-142 16,2 0-20-16,1 3-180 15,-2-1 109-15,6 2 257 16,3-1-127-16,0 4 2 16,-7-3-129-16,-2 1-18 15,-8-1-40 1,7 5 156-16,-5-3-119 15,-2-1-189-15,-1 4 41 16,3-1 231-16,2 3-240 16,0 2 130-16,1-4-89 15,2-1 258-15,-6 1-196 16,3 0 58-16,-4 1-85 16,-5-3-42-16,7 6 10 15,-1-2 55 1,-8-1-7-16,-2-3-19 15,3 0-8-15,-2-1-3 16,1 7-3-16,6 0-2 16,-4 0 0-16,0-2 0 15,1 2-1-15,-3 0 0 16,3 4 0-16,5-2 0 16,11 4 0-1,-5-8 0-15,9 4 0 16,-6 0 0-16,0-2 0 15,3 2 0-15,-4-2-575 16,23 0-4419-16,1-2-6307 16</inkml:trace>
  <inkml:trace contextRef="#ctx0" brushRef="#br1" timeOffset="104769.26">3228 8839 8872 0,'0'0'6970'0,"0"0"-2276"0,-4 0-1796 16,1 0-1241-1,1-2-805-15,2 2-530 16,7-5-41-16,1 4-142 15,6-6 127-15,10 1-119 16,11 3 169-16,10 6 37 16,-7-1 610-16,-12 2-298 15,1 9 132 1,5 1-63-16,8 6-5 0,-4-1-84 16,-15 0-385-1,3 6-140-15,-8-2-71 16,-2 1-29-16,4 5-9 15,-1 1-7-15,3-1-2 16,-2 1-2-16,0 2 1 16,4-2-1-16,-2 1 0 15,-12-5 0-15,11 3 0 16,-4 7 0-16,-6-6 0 16,3-3 0-1,12 5 0-15,-3 0 0 16,0-4 0-16,2 3 0 15,3-1 0-15,-8-9 0 16,-3 4 0-16,9 5 0 16,2-5 0-16,-2-5 0 15,12-1 0-15,3-6 0 16,-3-9 0-16,21-8 0 16,-7-11-3459-1,7-6-12785-15</inkml:trace>
  <inkml:trace contextRef="#ctx0" brushRef="#br1" timeOffset="105837.26">4703 7328 22902 0,'0'0'705'0,"0"0"-471"15,2 0-135-15,4 6-273 16,4 5-434-16,2 5-822 16,-4 14 776-16,-4 2 457 15,-6 8 1804-15,-2-2 655 16,0 0-255-16,2-2-290 31,0-6-765-31,2-3-407 0,2-5-137 16,2-5-397-16,-2-9 7 15,-2-6-68-15,-2 2-103 16,2-1-479-16,-2-6-1778 16,-2-14-3783-16,2-2-526 15</inkml:trace>
  <inkml:trace contextRef="#ctx0" brushRef="#br1" timeOffset="106579.26">4699 7325 26169 0,'0'0'1027'0,"0"0"-665"16,2-1 19-1,10-2-716-15,6 1-771 16,0 0-563-16,12 2 122 15,8-2 891-15,-13 2 649 16,5 0 1287-16,6-2 307 16,3-3-373-16,2 1-9 15,-9 0-280-15,-2 0-352 16,2 4-374-16,-3-2-148 16,-3 4-47-1,-6-2-52-15,-4 2-80 16,-2 0-111-16,1 0 11 15,-4 0 86-15,0 2 4 16,-3-4 220-16,2 5-134 16,-4-3 26-16,-1 2-2 15,-2 1 354-15,-1 3-144 16,0-4-25-16,-2 0 24 16,2 3 127-1,2-1-163-15,-2 2 101 16,-4 1-41-16,4 2 131 15,4 1-125-15,0 1 30 16,-3 2-265-16,-3 0 120 16,0 3-30-16,2 4 54 15,2 3-113-15,0-6-87 16,0 4 91-16,-1-3-54 16,1-4 102-1,-4-3-106-15,-2-2 151 0,-3-3-174 16,-1 3 15-1,0-5-60-15,-7 2-134 16,-9-1-116-16,-2-3-73 16,-8 1 9-16,-11-1 135 15,3-2 177 1,-9 2 169-16,3 0 106 0,-13 1 279 16,19-1-8-1,-3 2 60-15,-7 1-51 16,3-6 37-16,15 4-162 15,6-3-288-15,6 2-547 16,7-2-1525-16,2-2-2581 16,5 2-4366-16</inkml:trace>
  <inkml:trace contextRef="#ctx0" brushRef="#br1" timeOffset="107221.26">5602 6420 24471 0,'2'4'-167'0,"7"21"1090"15,4 9-352-15,1 4-253 16,0 9-206-16,-8-3-10 16,-2 5-123-1,0-3 14-15,-2-1 82 0,-2-7-9 16,0-2-2-1,-4-6 16-15,0-9-31 16,2-4-26-16,0-7-658 16,-2-5-1781-16,0-5-1125 15,-2-9-2391-15</inkml:trace>
  <inkml:trace contextRef="#ctx0" brushRef="#br1" timeOffset="107790.41">5606 6502 10602 0,'-2'-6'6527'0,"-4"-5"-2473"15,4 3-1285-15,0-1-355 16,0 3-424-16,2 0-917 16,4-1-471-1,4 3-339-15,7 0-119 0,8 2-400 16,20 4 114-1,7 0 45-15,-16 0-11 16,-2 2 173-16,9 3 311 16,7-1-102-16,-12-4 50 15,-7 2-287-15,-13 0 102 16,5-1-313-16,0 5 91 16,0-6 28-16,-13 5-12 15,6-3-272 1,-6 2 225-16,2 1-136 15,-6-3-88-15,3 4-481 16,2 3 181-16,3 3 256 16,-3 1 82-16,1 5 66 15,-4-4 55-15,1 8 207 16,-5 1-84-16,-2 3 261 16,2 1-222-1,3 3 211-15,-5 2-2 16,-2-11-233-16,-8 5 91 15,-2-8-45-15,-3 2 118 16,-8-3 44-16,-13-4 560 16,11-9-581-16,-5 1-7 15,-19-7 369-15,0 0 107 16,5-3-99-16,0-1-136 16,-17 4-203-16,1-4-116 15,15 2-1312 1,9-2-4842-16,3 0-7326 15</inkml:trace>
  <inkml:trace contextRef="#ctx0" brushRef="#br1" timeOffset="112795.05">524 4336 14061 0,'0'0'76'16,"0"0"1635"-16,0 0-646 15,-2 0-586-15,0 0-303 16,2 5-30-16,6 6 142 16,-1 10 62-16,1 2 288 15,-6 5 129-15,5 5 1472 16,-1 3-207-16,2 5-117 16,-10 3 212-16,4-4-824 15,0 9-281 1,-4-5-379-16,-3 3 52 15,3-9-99-15,6 7-330 16,-2-12-166-16,0 1-59 16,-2-6-24-16,0-7-10 15,2-12-4-15,0-3-1 16,0-2-1-16,0-2-1 16,-3-2 0-16,3 2 1 15,0-2-584 1,0 0-1288-16,0 0-3362 15,-2-13-5725-15</inkml:trace>
  <inkml:trace contextRef="#ctx0" brushRef="#br1" timeOffset="113240.84">453 4436 24759 0,'-2'-4'1239'0,"-3"-3"375"16,1-1-362-16,1 2-798 15,1 0-549-15,2-3-546 16,7-2-118-16,8-3 135 16,1-1 322-16,14-2 159 15,9-2 118 1,-5 4 35-16,8 0 53 15,-3 7-20-15,-9 4-27 16,-4 8 216-16,-3 2 11 16,-1 11 353-16,-8 2-13 15,-12 5-107-15,-8 5-27 16,-8 1-67-16,-4 1 255 16,-3 1-189-16,2-6 357 15,-16-1-474 1,-4-6 109-16,3-6-272 15,6-3-103-15,5-6-37 16,6-1-16-16,-2-1-7 16,3-2-2-16,8-2-329 15,2-2-1577-15,6-5-3486 16,12-6-3217-16</inkml:trace>
  <inkml:trace contextRef="#ctx0" brushRef="#br1" timeOffset="114159.37">924 4377 3011 0,'0'0'5728'0,"-2"0"-1549"15,2 12-751 1,7 10-1294-16,-1 1-1037 15,3 13-598-15,3 2-188 16,-6 4-223-16,-8 10-133 16,2-4 288-16,-14 1 757 15,5-3 478-15,1-6-163 16,5-1-250-16,1-8-180 16,0-5-346-16,0-18-338 15,2 7 61-15,-4-5 255 16,0-5 81-16,4-1 206 15,0-4-679-15,-13-15-73 16,-1-8 99-16,2-13-268 16,8-4 50-16,-2-2 20 15,6 3 48-15,-2 6 203 16,2 1-374 0,-2-4 318-16,4-2-255 0,6-2-111 15,8-7 168 1,2 5-637-16,10-1 130 15,3 14 165-15,7-1 355 16,-3 11-34-16,-8 4 153 16,0 11-83-16,-3 6 35 15,1 7 102-15,-12 3 37 16,-4 9 68-16,-16 9 308 16,-10 1-124-16,-2-1 99 15,4-4-543 1,-8-1 212-16,4-6-254 15,-4 2-22-15,4-8 67 16,4-5 40-16,-4-5 70 16,-3-6-299-16,4-1-49 15,3-2 102-15,10-2-102 16,1-1-58-16,2 0 87 16,0 1 51-1,2 2-198-15,4-1 98 16,16 5 81-16,-4 8 213 15,12 5-81-15,1 10-3 16,-5 5 241-16,-4 1 679 16,14 11 518-16,5 0-58 15,-11 1-226-15,5-1-660 16,-7-5-279-16,-10-1-92 16,2-2-860-16,-6-7-1997 15,-6-6-3183 1,-4-8-2451-16</inkml:trace>
  <inkml:trace contextRef="#ctx0" brushRef="#br1" timeOffset="114595.37">1566 4388 14606 0,'-4'-4'5496'16,"-5"-1"-1367"-16,3 3-2154 16,-11 2-1399-16,-13 11-542 15,-5 14-155-15,9 9-42 16,-10 12-94-16,-3 7 335 16,6 3 307-16,22-6 110 15,13 1 526 1,1 0 41-16,-3-9-71 15,10-2-148-15,7-3-245 16,9-10-75-16,-6-8-245 16,4-6-159-16,12-13-61 15,13-18-32-15,-9-11-17 16,-5-20-5-16,-3-14-3 16,-4-3 0-16,-13 7-1 15,-1-3 0 1,-20 10 0-16,-13 3 0 15,-4 13 0-15,-8 8 0 16,-12 7-899-16,-10 5-1009 16,12 9-1420-16,16 7-1948 15,9 4-3935-15</inkml:trace>
  <inkml:trace contextRef="#ctx0" brushRef="#br1" timeOffset="115176.21">2073 4371 29212 0,'-14'2'63'0,"-26"10"287"16,1 16-211-16,-1 6-430 15,-17 10-840-15,17 1 401 16,2 3-134-16,7 10 629 16,19-10 361-16,8 3 547 15,6-8 853 1,7-6-162-16,12-5-277 15,1-8-398-15,-4-10-332 16,19-3-141-16,5-13-105 16,-13-5-88-16,-5-8-102 15,-4-14 24-15,-2-5-7 16,-12-4-97-16,-2-2 114 16,-10 4-217-16,4 2-212 15,-10 9-221 1,0 8-135-16,-26-13-488 15,21 24 1299 1,1 1 369-16,5 3 68 16,6 2-7-16,5 0-101 15,5 2 573-15,14 3-4 16,11-3-419-16,-3-4-256 16,9-1-107-1,0 1-58-15,-4 0-22 16,-11 2-1184-16,3 0-3242 15,-16 2-3670-15</inkml:trace>
  <inkml:trace contextRef="#ctx0" brushRef="#br1" timeOffset="115800.62">2341 4468 26713 0,'-5'10'-138'0,"7"20"483"15,-6 8-183-15,0 9-468 16,0 6-530-16,6 0 351 16,2 0 552-16,2-9 683 15,-10 1-89 1,0-18 939-16,0-4-419 15,1-8-190-15,1-8-321 16,0-6-124-16,-14-9-111 16,0-21-199-16,4-14-168 15,12-23-18-15,0 1-182 16,4-3-426-16,10 9 83 16,6 10 132-16,-3-1-188 15,6 15 152 1,2 6-181-16,3 10 146 15,-4 6 27-15,5 7-11 16,-25 6 247-16,7 4 223 16,-7 6 397-16,-6 12 297 15,-19 9 159-15,0-1-459 16,-1-4-141-16,4 1-22 16,0-3-70-16,2-1 81 15,1-4-76 1,8-4-277-16,3-3-56 15,4 3 45-15,0 4 55 16,7 0-134-16,1-4 116 16,13 4 94-16,-1-2 109 15,2 0-10-15,12-2-96 16,1-5-49-16,-11-1-21 16,-4-3-9-16,3 3-122 15,-6-7-958 1,2 2-3016-16,0-4-3548 15,4-9-1377-15</inkml:trace>
  <inkml:trace contextRef="#ctx0" brushRef="#br1" timeOffset="116235.04">2717 4413 32767 0,'-2'8'0'0,"4"20"0"16,-4 12 0-16,0 13 0 15,-10 2-1069-15,8 0-1158 16,-4-4 711-16,16-9 935 16,0-12 570-16,2-11 409 15,-6-4 497 1,20-3 395-16,1-12 233 15,19-14-717-15,-14-22-502 16,-7-7-187-16,7-12-71 16,-6 5-299-16,-4-7-362 15,4 8 409-15,-7 21 284 16,-7 20-49-16,8 4 358 16,-8 12-97-1,-2 15-119-15,-4 22-83 16,-2 9-52-16,1 8-23 15,3 10-8-15,-4-4-4 16,7-13 0-16,-7 0-1 16,4-17-264-16,-1-15-1021 15,-3-10-2325-15,-2-9-2532 16,-5-10-2450-16</inkml:trace>
  <inkml:trace contextRef="#ctx0" brushRef="#br1" timeOffset="116428.59">2774 4595 27802 0,'-8'4'1618'0,"2"0"-450"0,-3 0-337 16,9 7-216-16,0 2-275 16,15 6-130-16,15-4-105 15,4-9-152 1,14-8-3078-16,1-7-3490 15,20-9-3280-15</inkml:trace>
  <inkml:trace contextRef="#ctx0" brushRef="#br1" timeOffset="116960.58">3228 4530 3876 0,'8'-9'2293'15,"9"1"770"-15,0 3 1020 16,-9 5-1145-16,5 13 967 16,-13 12 44-16,-4 13-719 15,2 5-1436-15,-5 8-674 16,3 8-296-1,8-12-35-15,-6-1-231 16,9-12-359-16,-3-9-120 16,2-8-46-16,0-10-18 15,2-3-7-15,4-17-2 16,4-21-3-16,-3-12-2 16,8-22 0-16,-10-6-1 15,5-6-933 1,-6 24 1122-16,-2 23 239 15,-10 20-278-15,2 4-82 16,2 9-31-16,2 9-9 16,-6 16-10-16,6 16-9 15,8-4-5-15,-3 3-3 16,0-1 0-16,3-10-1 16,7-3 0-16,11-9 0 15,4-9 0 1,-7-10 0-16,-7-17 0 15,10-11-77-15,5-12-202 16,1-13-657-16,-4-9 13 16,-5 3 798-16,-3 25 107 15,-16 21 485-15,-4 13 5 16,7 8 208-16,-2 24-262 16,-13 17-219-16,-1 14-119 15,-4 1-52 1,5 3-19-16,-2-5-6 15,6-7-2-15,0-9 0 16,2-8-1-16,0-6-270 16,0-20-2620-16,0-6-4874 15</inkml:trace>
  <inkml:trace contextRef="#ctx0" brushRef="#br1" timeOffset="117627.55">4099 4481 20051 0,'2'2'5248'0,"7"28"-1090"16,4 16-2098-16,-7 5-2242 15,-4 12-1434-15,-8 7-237 16,-4-8 1329-16,-6-14 936 16,10-14 676-16,-4-8-143 15,7-14-106-15,-1-3 64 16,0-11-392-16,-13-17-110 16,6-21-204-16,5-18-114 15,8-18-51 1,2 4-23-16,13-4-5 15,-8 6-3-15,12 9-1 16,5 10-42-16,5 6-195 16,1 13 15-16,0 9 158 15,4 9-19-15,-9 3 210 16,-5 11 145-16,-14 8-157 16,2 16-43-16,-12 14-35 15,-19 15-21 1,-15-7-10-16,-4-3-4 15,0-3-1-15,19-15-1 16,14-4 0-16,-2-6 0 16,9-2 0-16,7 2 0 15,6-3 0-15,25 3 0 16,5-7 0-16,3-1 0 16,-11-3 0-16,-17 3 0 15,-2 1 0 1,2 5 0-16,-16 8 0 15,-15 8 0-15,-4-3 0 16,-7-1 0-16,-16-1 0 16,7-10 0-16,5-7 0 15,9-3-579-15,2-4-1644 16,2-2-3265-16,5-9-4705 16</inkml:trace>
  <inkml:trace contextRef="#ctx0" brushRef="#br1" timeOffset="117983.16">4561 4498 31518 0,'-2'6'-190'0,"-26"30"130"16,-8 13 35-16,-6 12-792 15,9 0-44-15,11 1 627 16,9-10 384-16,9-11 619 16,19-7 295-1,3-9-236-15,10-10-477 0,-4-15-205 16,7-21-70-16,-3-20-44 16,4-20-18-16,-7-19-10 15,-1-2-2 1,-20 1-2-16,-2 26 0 15,-15 13-310-15,-4 16-684 16,-12 7-1225-16,9 17 284 16,-7 2-2073-16,-3 11-2016 15,5-5 373-15,16 0 970 16</inkml:trace>
  <inkml:trace contextRef="#ctx0" brushRef="#br1" timeOffset="118332.17">4525 4434 8520 0,'8'-2'3517'16,"30"-2"1587"-16,11 1-1465 15,-19 8-1151-15,6 6-192 16,-19 9-677-16,-5 23 28 16,-14 19-4-16,2 1-763 15,-6-2-38-15,6-8-478 16,2-17-243-16,0-8-74 16,-2-11-27-1,8-7-10-15,6-8-5 16,8-18-2-16,15-23-2 15,-1-5 0-15,-6-11-1 16,-3-13 0-16,-6 3 0 16,0 16 0-16,-9 21 0 15,-2 20 0-15,-6 10 0 16,-2 25 0-16,-22 29 0 16,8 9 0-16,-7 11 0 15,12-2 0 1,5-6 0-16,9-13 0 15,-3-10 0-15,0-16-339 16,-1-12-2377-16,-1-10-2248 16,-2-7-2440-16</inkml:trace>
  <inkml:trace contextRef="#ctx0" brushRef="#br1" timeOffset="118852.3">4692 4667 32767 0,'0'0'0'0,"0"0"0"16,2 4 0-16,9 3 0 16,15 3 0-16,18-8 0 15,9-8 0-15,-3-9-142 16,11-2-1077-16,-1-2 746 16,-23 9 515-16,11 3 298 15,-13 7-167 1,1 15 170-16,-18 10 187 15,-6 15-285 1,-12 18-141-16,-4-3-67 0,-6-4-25 16,6-11-7-16,-3-10-3 15,4-11-2-15,-3-9 1 16,6-8-1-16,0-2 0 16,6-23 0-16,6-15 0 15,9-15 0 1,4-13 0-16,0-14 0 15,9 10 0-15,2 17 0 16,1 13 0-16,-13 15 0 16,-6 10 0-16,-12 10 0 15,-6 5 0-15,-11 11 0 16,-18 23 0-16,-7 14 0 16,8 3 0-16,9 7 0 15,13 1 0 1,12 0 0-16,9-11 0 15,19-1 0-15,-2-15 0 16,-3-13 0-16,-8-11 0 16,-2-14 0-16,7-19-3781 15,2-11-6716-15</inkml:trace>
  <inkml:trace contextRef="#ctx0" brushRef="#br1" timeOffset="119364.3">5520 4474 32767 0,'6'3'0'0,"3"3"0"15,9 15 0-15,-9 17 0 16,4 19 0-16,-15 9 0 16,6 12 0-16,-6-6 0 15,8-2 0 1,-2-11 0-16,5-12 0 15,-7-18 0-15,-2-11 0 16,0-10 0-16,0-6 0 16,2-7 0-16,-4-39-448 15,-2-17-1742-15,6-4-531 16,-17-10-587 0,7-3 762-16,-10 6 1980 15,12 21 2156-15,-2 13 1450 16,2 6 231-16,4 7-1183 15,8 6-1174-15,0 0-473 16,13 0-201-16,0-1-134 16,2 14-59-16,23 11-22 15,3 9-14-15,0 9-7 16,-7 5-3-16,-10 10 0 16,-5 11-1-16,-10 2 0 31,-15 0 0-31,-12 8 0 0,-10-8 0 15,-3 2 0-15,-29-5 0 16,-5-7 0-16,21-16 0 16,-13 2 0-16,13-7 0 15,0-14 0-15,11-6-2263 16,5-5-7770-16</inkml:trace>
  <inkml:trace contextRef="#ctx0" brushRef="#br1" timeOffset="120637.08">158 5175 24663 0,'0'0'1174'0,"0"0"-422"15,0 0-23-15,0 0-235 0,0 0-424 16,0 0-508-16,0 0-323 15,0 0 312-15,0 0 775 16,2-4 321-16,9 0 710 16,12-3 357-16,16 1-544 15,3 6-372-15,-4 0-489 16,9 4-178-16,3-2-80 16,3-2-32-16,-4-4-12 15,5 4-5 1,10 2-1-16,-21-4 0 15,10 6-1-15,8 4 0 16,-8-5 0-16,-13 3 0 16,2 2 0-16,14 3 0 15,-16-9 0-15,11 4 0 16,14 1 0-16,-12-9 0 16,-5 2 0-1,12 0 0-15,14 0 0 16,-36 0 0-16,24 4 0 15,3-2 0-15,-9-6 0 16,19 6 0-16,-7-6 0 16,6 2 0-16,-2-2 0 15,-6-1 0-15,8 5 0 16,2-6 0-16,11 4 0 16,-4-3 0-16,-5 1 0 15,17 2 0 1,-6-2 0-16,2 0 0 15,-2 0 0-15,10 1 0 16,0 1 0-16,-6 4 0 16,1-4 0-16,-1 0 0 15,11 2 0-15,-15 2 0 16,10-4 0-16,-16 6 0 16,16 5 0-16,-17-9 0 15,21 11 0 1,-19-7 0-16,10 2 0 15,-1-2 0-15,-2 2 0 16,-11-3 0-16,17 3 0 16,-4-6 0-16,11 7 0 15,-2-3 0-15,-3 0 0 16,-12 2 0-16,23-2 0 16,-32 5 0-16,13-3 0 15,-2 1 0 1,12 3 0-16,-20-1 0 15,14 1 0-15,-12 1 0 16,12-5 0-16,-21 1 0 16,13-1 0-16,-13-4 0 15,11 2 0-15,-5-4 0 16,-29 0 0-16,0 2 0 16,-9 0-856-16,-11-4-10250 15</inkml:trace>
  <inkml:trace contextRef="#ctx0" brushRef="#br1" timeOffset="134054.3">12532 15930 9961 0,'0'6'5472'0,"-4"9"-434"15,-4 4-1436 1,1 2-1236-16,-5 11-899 15,-2 6-1126-15,6 6-534 16,-4 9 73-16,-8 9 266 16,-5 5 643-16,6 3-98 15,2 2 9-15,5 0 110 16,1 4 68-16,6-6-324 16,-1 9-372-1,-2-10-126-15,-3-5-38 0,1 0-12 16,-3-3-4-1,0-11-1-15,-1 6-1 16,-2-5 0-16,-4-3 0 16,2-1 0-16,6-1 0 15,3-10 0-15,7-17 0 16,-2-2 0-16,2-10 0 16,0-3 0-1,0-2 0-15,2-2 0 0,-2-13 0 16,2-14-197-1,14-28-459-15,-5-5-42 16,8-9-289-16,2-4 381 16,-1-7 187-16,2-5 424 15,-3 7 130-15,0-9-206 16,-6 9 95-16,-3 0-17 16,4 4 18-1,2 10 67-15,0-7-60 16,7 11-22-16,0 3-49 15,5 0-184-15,-7 17-106 16,-5 6 23-16,2 8 57 16,-8 11 28-16,3 1-102 15,-1 3-70-15,1 2-90 16,0 5 122-16,-3 0 90 16,24 6 135-1,-18 4 266 1,-1 3 361-16,8 4 466 15,-4 8 284-15,1 9 80 16,-6 6-115-16,2 10-397 16,-5-3-517-16,4 3-173 15,0 7-73-15,-5 2-29 16,16 4-11-16,-10-4-4 16,3 4-1-16,-4 1-1 15,-3 8 0 1,1 3 0-16,-5-11 0 15,-2 8 0-15,-2-1 0 16,3-9 0-16,6 7 0 16,-7-4 0-16,0-4 0 15,0-4 0-15,0-4 0 16,-2-11 0-16,0-4 0 16,-4-8-516-1,4-8-595-15,2-5-1188 16,-4-7-1388-16,0-1-1658 15,0-5 1484-15,-2-5-2061 16</inkml:trace>
  <inkml:trace contextRef="#ctx0" brushRef="#br1" timeOffset="134464.3">12295 16690 23094 0,'0'0'2403'0,"0"0"-233"15,0 0-474-15,0 0-629 16,0 0-348-16,0 0-282 16,0 0-302-16,34-9-906 15,-7 5 244 1,-3 4 327-16,20-2 51 16,1 0 287-1,-11-1-216-15,4-3 349 16,7-2-276-16,1-1-76 15,-11 1-1327-15,-13-1-1392 16,-3 5-2728-16,-4-2-594 16,-5 2-36-16</inkml:trace>
  <inkml:trace contextRef="#ctx0" brushRef="#br1" timeOffset="135440.49">13125 16300 26777 0,'6'17'1756'0,"5"21"-19"16,-9 11-897-1,-4 92-516 1,-4-58-488-16,6 6-1 15,-7 0 185-15,9 9 355 16,3-3-42-16,3-7 169 16,-10-13-207-16,2-12-205 15,-2-6-60-15,0-25-20 16,-3-5-6-16,8-18-3 16,-3-7 0-1,-7-2-1-15,-16-25 1 16,4-24-1-16,2-14-814 15,-2-22-1472-15,-2 2-248 16,-9-82-905 0,20 89 3335-16,2 0 467 15,10 0 14-15,2 2 1025 16,10 6 123-16,5 2 549 16,5-5-513-16,1 13-342 15,13 3-785 1,10 6-284-16,4 9-102 15,-15 19-34-15,-3 4-8 16,-2 13-4-16,-2 2-1 16,1 8 0-16,-9 11-1 15,-10 17 0-15,-3 13 0 16,-16-3-40-16,-11 2-761 16,0 1-93-1,-9-5-805-15,4-2 294 16,8-8 573-16,-31 6-168 15,20-27 554 1,17-7 281-16,-3-1 347 0,-6-3 33 16,0-5 161-16,-1-1 192 15,4-3 153-15,0 3-109 16,11 2 159-16,2-1 111 16,0 5-223-16,2-1-229 15,0 1 175 1,21 16 83-16,9 8-349 15,43 54-136 1,-45-25-183-16,-2 8-13 16,-1-4-4-16,5 2-2 15,-2 5-1-15,-14-9 0 16,3 4 0 0,-9-2 0-16,-1-3 0 15,-11-6 0-15,4-6 0 16,4-1 0-16,-2-16-772 15,2-8-2094-15,2-8-3695 16,7-12-1768 0</inkml:trace>
  <inkml:trace contextRef="#ctx0" brushRef="#br1" timeOffset="135802.5">13777 16306 28155 0,'4'5'2301'15,"-1"6"-1557"-15,1 3-192 16,0 20-613-16,-2 12-304 15,-12 14 93-15,-4 18-93 16,10 1 296-16,-2 14 639 16,8 4 379-16,4-6-502 15,-4 0-319-15,7-13-91 16,-9-6-26-16,-2-15-8 16,9-6-205-1,-5-9-734-15,0-20-1032 16,-4-12-974-16,0-6-2391 15,-10-12-1997-15</inkml:trace>
  <inkml:trace contextRef="#ctx0" brushRef="#br1" timeOffset="136128.51">13561 16201 28315 0,'0'0'1521'0,"0"0"-613"16,0 0-220-16,0 0-248 15,0 0-165-15,0 0-84 16,2 0-20-16,15 2-44 16,7 2-57-16,7-4-36 15,15 0-17 1,16-2-11-16,-3 0-3 15,2-4-2-15,1 1-1 16,-11-1 0-16,-3 4 0 16,-9-1 0-16,-19 3 0 15,-2 3-110-15,-12-3-1666 16,0 2-2499-16,-6 6-3991 16</inkml:trace>
  <inkml:trace contextRef="#ctx0" brushRef="#br1" timeOffset="137200.66">14545 16270 21396 0,'0'0'3102'0,"0"0"7"16,-10-4-833-16,-8-4-835 16,-11 0-611-16,-9-1-939 15,8 5-425-15,-2 1-1072 16,7 2 144-16,0 5 480 16,2 4 347-1,-1 5 574-15,3 10 978 16,15 13 806-16,8 9 333 15,9 5-1234-15,9 1-512 16,0-4-201-16,1 8-67 16,-2-11-28-16,4 5-8 15,-3-5-4-15,-4 3-1 16,1-3-1-16,0 3 0 16,2-5 0-16,-7 5 0 15,0-7 0 1,-10-6 0-16,0 2-94 15,-4 2 150-15,2-4-34 16,-7-4-13-16,-2-5-5 16,-7-2-2-16,1-1-2 15,0-8 1-15,-4-3-1 16,0-5 0-16,-13-4 0 16,2-6 0-16,-2-7 0 15,1-6 0 1,-3-6-1161-16,6-2-1505 15,-1-7-1837-15,4 2-357 16,16 5-394-16,5 0 193 16</inkml:trace>
  <inkml:trace contextRef="#ctx0" brushRef="#br1" timeOffset="137619.75">14630 16345 11371 0,'0'2'6212'0,"4"4"-618"15,2 30 878 1,3-9-5548-16,-3 5-1261 15,3 2-947-15,4 11 301 16,3 5 632-16,0-9 985 16,0-3 777-16,-1-8-239 15,6-5-71-15,-2-8-650 16,3-7-252-16,-4-5-105 16,4-10-49-16,-6-16-22 15,-1-19-11 1,-4-4-8-16,0-18-149 15,1-5-441-15,-8 3-777 16,-6-4-876-16,8 18 491 16,1 14-17-16,-2 1-844 15,-3 2-775 1,-2 12-499-16,0 8-1371 0</inkml:trace>
  <inkml:trace contextRef="#ctx0" brushRef="#br1" timeOffset="137899.74">14850 16758 26617 0,'4'31'3585'0,"9"24"-1928"16,-5 9-1057-16,-8-1-397 15,-4 3-133-15,-6 6-46 16,-3-15-17-16,0-6-4 16,2-5-3-16,1-10 1 15,4-11-1-15,-2-8 0 16,3-10-867-16,5-3-2069 16,0-4-2342-16,13-11-5241 15</inkml:trace>
  <inkml:trace contextRef="#ctx0" brushRef="#br1" timeOffset="138584.29">15102 16309 27930 0,'2'6'1794'0,"1"15"-226"16,-3 26-654-16,0 12-550 15,-5 15-229-15,0 11-473 16,-7 10 97-16,8 0 172 16,0 9-67-16,-1-23 434 15,1-10 72 1,6-12-254-16,-4-16-79 15,2-22-24-15,-2-10-164 16,0-9-66-16,0-4 62 16,2-38 35-16,0-20 150 15,0-12-19-15,0-8-29 16,4-3-633-16,4 5-564 16,-3 12 362-16,-3 15 502 15,4 13 117 1,-2 6 213-16,-4 16-34 15,0 5-304-15,0 9-139 16,2 0-1531-16,14 17-831 16,4 21 1663-16,10 17 2326 15,8 21 1588-15,5-3 850 16,-3 2-1099-16,-5-5-1729 16,8-7-511-1,-13-6-158-15,-7-11-47 16,-12-12-15-16,-5-15-5 15,-4-8-2-15,-2-5 0 16,0-4-1-16,0-17 1 16,-4-45-1-16,0-20 0 15,0-22 0-15,2-2 0 16,-6 7-439-16,4 5-277 16,4 6 447-16,7 14 257 15,-7 8 221 1,17-23 744-1,-11 55-795-15,-6 13-381 16,2 4-1185 0,-2 9-1848-16,-2 4-2663 0</inkml:trace>
  <inkml:trace contextRef="#ctx0" brushRef="#br1" timeOffset="139218">15826 16218 1954 0,'0'4'11630'15,"-2"2"-3930"-15,-2 5-3038 16,-7 10-1539-16,-59 53-3685 31,30-17-2445-31,4 3-31 0,9 9 2374 16,15 8 4706-16,6 1-1156 16,12 2-86-16,6-10-1959 15,2-7-576 1,5-10-178-16,0-13-58 15,-4-3-18-15,-1-14-6 16,2-6-4-16,-10-11 0 16,-4-4-1-16,6-4 1 15,5-28-1-15,4-23 0 16,-6-20-1111-16,3 1-1678 16,0 2-52-1,-4 10 893-15,-2 8 1485 16,16-33 4775-1,-12 60-1631-15,-7 12-1677 16,-3 6-532-16,0 3-71 16,-2 2-310-16,2 2-29 15,-2-2-16-15,4 4-13 16,9 11-8-16,10 10-11 16,21 16-5-1,-18-25-8 1,1-3 0-16,7-3-1 15,2-4 0-15,-15-4 0 16,-1 0 0-16,-8-2-852 16,-8-6-4187-16,-4-19-8607 15</inkml:trace>
  <inkml:trace contextRef="#ctx0" brushRef="#br1" timeOffset="154783.11">12136 17653 3908 0,'-2'2'4633'0,"0"2"-655"0,0-2-1047 15,0 4-968 1,-2-1-829-16,4-3-588 0,-2 0-398 16,2-2-383-1,0 0-23-15,0 0 132 16,0 0 447-16,6 2 213 15,4 0 21-15,4 1-89 16,0-3 801-16,8-3 126 16,0 3 138-16,6-2-559 15,-1 2-156-15,7 0 0 16,17 9 257 0,-25-8-550-1,6 6-102-15,1-1-367 16,-5-6 38-16,2 5 236 15,-5-3-45-15,7 2 136 16,2-2 66-16,1 2-166 16,3 2-184-16,-10-3-84 15,0 3 165-15,-3-2-294 16,13 0 153-16,2 3-62 16,-6 1 66-1,-11-3 3-15,15-1-40 16,-1 0-6-16,7-2 77 15,-4 3-70-15,-15-4-27 16,11 2-64-16,9-1 105 16,-1 0-93-1,-1 0-56-15,-7 0 226 0,0 0-228 16,8-2-26-16,-7 0 132 16,0-2-7-1,7 0-42-15,1 2 3 16,-7-2 40-16,6 2 55 15,3 2-37-15,-3-2 25 16,-3 2-31-16,3-2 107 16,-4 4-58-16,3-1 18 15,-3-1 160-15,-4 0-206 16,5 0 73-16,-1 2-66 16,-2 3-28-1,4-3-11-15,-2 0-81 16,-6 0 46-16,-2 1-94 15,8-4-7-15,5 2-83 16,-7 1 132-16,2-4 86 16,7 0 135-16,-3 0-49 15,3 0-56-15,-7-2 54 16,0 0-111 0,9-2 72-16,-1 5 27 15,-11-1 26-15,3-1-60 16,21 1-25-16,-47 0-14 15,25 0-2-15,-3 1-2 0,-2-2 0 16,10 2-1-16,13-1 0 16,-8 3 0-16,1-6 0 15,8 3 0-15,-7 0 0 16,6 0 0 0,6 3 0-16,-1-1 0 15,3-7 0-15,3 5 0 16,-3-1 0-1,-14-4 0-15,11 3 0 0,-9 0 0 16,-7 2 0-16,7-2 0 16,-7 4 0-16,-12 0 0 15,1 2 0-15,-5 0 0 16,-6 1 0 0,8 1-520-16,-9-2-663 15,3 3-1765-15,0 1-4591 16,3-3-2462-16</inkml:trace>
  <inkml:trace contextRef="#ctx0" brushRef="#br1" timeOffset="158589.84">209 5086 19378 0,'0'0'34'16,"-2"0"161"-16,2 0-337 15,0 0-327-15,2 0 98 16,4 0 32-16,-2 5 104 16,1-4 75-16,10 3 75 15,-7 1 182-15,-4-3 95 16,6 2 557 0,0 0 205-16,-8-1-114 15,6-1 244-15,-2 0-36 16,5 0 107-16,-5 0 89 15,3 2-386-15,6-2-228 16,-1 2-100-16,0 3-283 16,6-3-57-16,2 5-163 15,3-5 3-15,-4 0 17 16,4-4-76 0,-10 4 79-16,2-1 119 15,0-3-274-15,9 4 134 16,3-2 56-16,-4 0 126 15,-1-2-320-15,7 4 180 16,-9-6 174-16,-8 4 281 16,6-2-306-16,3 0 14 15,3 2-174-15,3 1 163 16,3-8-374-16,-9 1 191 16,-8 0-70-1,5-5 81-15,8 1-202 16,2 4 81-16,9-1 324 15,-6 1-10-15,-3 0-159 16,-10 6-33-16,12-2 141 16,2 0-239-16,5 2-12 15,-7-4-75-15,3 2 260 16,-3 2-74 0,-6-2-154-16,18 2 90 15,-6-2-107-15,-7 0 72 16,4 0 99-16,9 2 10 15,-2 1-154-15,-1-6 265 16,-11 1-306-16,1-2 274 16,5 4-23-16,15 0-146 15,-15-2-113-15,-2 2 265 16,10 4 343-16,3 3-282 16,-11-5-8-1,8 4-61-15,-13-4-21 16,3 7-146-16,15 1 8 15,-9-8 27-15,-6-2 138 16,1 2 94-16,56 5-345 16,-47-10 168-1,5 6 115-15,-3 3-156 16,9-6 83 0,-13 4-74-16,13-2 57 15,5 5-103-15,-9-7 45 16,-9-3 188-16,15 8 13 15,5-3 95-15,-9-4-117 16,8 6-75-16,3-8 32 16,-14-2-95-16,5 6-31 15,17-7-10-15,-9 3-5 16,8 2-1-16,-8-3-1 16,-8 8 0-1,25-3 0-15,-14-4 0 16,-7 4 0-16,8-3 0 15,-11-3 0-15,16 4 0 16,-2 0 0-16,-24-2 0 16,13 5 0-16,5-5 0 15,-17 4 0-15,10 0 0 16,5 9 0 0,-14-14 0-16,5 8 0 15,0-1 0-15,6 0 0 16,-13-2 0-16,-1 0 0 15,10 2 0-15,-2-2 0 16,-15-4 0-16,9 4 0 16,10 2 0-16,-17 0 0 15,-8-4 0-15,15 6 0 16,-3-2 0-16,5-2 0 16,-13 3 0-1,-11-2 0-15,13 4 0 16,6-3 0-16,1-4 0 15,-7 2 0-15,2 2 0 16,5 0 0-16,7-2 0 16,-18-2 0-16,-2 2 0 15,23 2 0-15,8-2 0 16,-24 0 0 0,-1 0 0-16,8 4 0 15,1-2 0-15,-3-2 0 16,-10 0 0-16,7 7 0 15,-5-3 0-15,-5-4 0 16,-3 0 0-16,-10 2 0 16,10 2 0-16,-4-1 0 15,1-2 0-15,11 2 0 16,-13-1 0-16,5 2 0 16,-2-4 0-1,-10 2 0-15,6 0 0 16,3 2 0-16,-4-1 0 15,6-1 0-15,1-2 0 16,-16 2 0-16,-3 0 0 16,-3-2 0-1,-1 0 0-15,-3 0 0 0,-2 0 0 16,0 0 0-16,4 0 0 16,-4 0 0-1,0 0 0-15,0 0 0 16,0 0 0-16,0 0 0 15,0 0 0-15,0 0 0 16,0 0 0-16,-2 2 0 16,0-2-977-16,-7 0-4270 15</inkml:trace>
  <inkml:trace contextRef="#ctx0" brushRef="#br1" timeOffset="184412.12">12376 5615 15375 0,'0'0'1745'0,"0"0"-525"0,0 0-399 16,0 0-662-1,0 0-1039-15,0 0-905 16,2 0 292-16,-2 0 570 15,2 2 445-15,4 1 1839 16,9-2 1386-16,-2 2 296 16,6-3-1-16,2 0-1092 15,0-4-503-15,13-1-256 16,9-1-669-16,-7 1-305 16,-5 1-184-1,5-2 20-15,-12-2-67 16,3-1 60-16,-6 3-27 15,0-1 92-15,9-1 201 16,-2 0 114-16,1-9 57 16,-1-7-223-16,6-1 47 15,8-3-482-15,-5 5 209 16,2-5 39-16,-5 1-27 16,-6 4 253-1,12-3 108-15,-13 5 42 16,3-2-264-16,0 0-107 15,-12-1-48-15,-3 1-17 16,-2-5-7-16,2 5-3 16,-3-4-2-16,4-1 0 15,0-4-1-15,-6 5 0 16,-1-1 0-16,2-3 0 16,-3-5 0-1,-3 6 0-15,-1 0 0 16,-2-2 0-16,-6 3 0 15,-3-9 0-15,-1 8 0 16,-1 1 0-16,-6-1 0 16,7 0 0-16,-4 5 0 15,-2-7 0-15,4 3 0 16,-2-3 0-16,-2 5 0 16,6-1 0-1,-7 0 0 1,-3 1 0-16,4-5 0 0,-4 5 0 15,0-1 0-15,-3 3 0 16,5-5 0-16,0 9 0 16,2-4 0-16,-3-1 0 15,-6-1 0-15,6 8 0 16,-15-2 0-16,0-3 0 16,7 5 0-1,1 2 0-15,-6 0 0 16,-1 5 0-16,-11-12 0 15,6 9 0-15,10 2 0 16,1 1 0-16,-1 1 0 16,-18-2 0-16,2 1 0 15,7-1 0-15,2 5 0 16,-1 4 0-16,-6-3 0 16,-9-1 0-1,7 3 0-15,8 3 0 16,-8 4 0-16,-13-2 0 15,6 0 0-15,1 7 0 16,-3 2 0-16,-3-1 0 16,17 2 0-16,-13 5 0 15,-2-4 0-15,11 2 0 16,-11 1 0-16,3 5 0 16,-8 0 0-1,11-2 0-15,3 9 0 16,-5-5 0-16,-12-4 0 15,17 0 0-15,-1 4 0 16,-2 0 0-16,-7 0 0 16,10 0 0-16,11-1 0 15,3-1 0-15,-7 6 0 16,0-4 0-16,11 0 0 16,-7 9 0-1,4 2 0-15,-8 3 0 16,1-7 0-16,3 6 0 15,4 0 0-15,3 0 0 16,-1 1 0-16,4 1 0 16,2-6 0-16,4 4 0 15,-8 0 0-15,1 0 0 16,1-7 0-16,12 1 0 16,2-3 0-1,-1 1 0-15,-2 1 0 16,7-1 0-16,6-1 0 15,4 1 0-15,1 5 0 16,4 1 0-16,-7-2 0 16,10 6 0-16,6-5 0 15,1 1 0 1,0-2 0-16,0-3 0 16,-6-4 0-16,2 3 0 15,10 0 0-15,-1-6 0 16,12 1 0-16,4 1 0 15,-1-8 0-15,-1 2 0 16,0-2 0-16,3 1 0 16,-4 0 0-16,3 0 0 15,-7 2 0-15,9 0 0 16,-2-1 0 0,-8 1 0-16,-6-2 0 15,10 4 0-15,13-2 0 16,-6-8 0-16,5 1 0 15,9-4 0-15,0-1 0 16,-10-3 0-16,-2 0 0 16,8 2 0-16,2-1 0 15,0-2 0-15,7 4 0 16,-7-1 0-16,2-4 0 16,5 2 0-1,1-2 0-15,-3 0 0 16,11-2 0-16,-7-4 0 15,7-1 0-15,8-1 0 16,-4-1 0-16,-1-1 0 16,-4-7 0-16,4 4 0 15,-14-4 0 1,-13 1 0-16,12-10 0 16,-2 0 0-16,-17-1 0 15,-6-5-665-15,0-2-1258 16,7-6-4668-16</inkml:trace>
  <inkml:trace contextRef="#ctx0" brushRef="#br1" timeOffset="-192630.71">8352 17536 4484 0,'-2'2'5574'16,"-15"7"-1088"-16,2-3-136 15,-7 5-1752-15,8-5-1446 16,-3 5-403-16,2 2-2168 16,-2 1 257-16,7 3 417 15,4 5 17-15,1-8 479 16,1-3 134-16,8-5 453 16,11 0 716-1,17-3 1434-15,-1-3-646 16,3-4-633-16,5-1-450 15,11-3-365-15,-1 1-310 16,-7 3 5-16,3 6 43 16,5-2-98-16,-1 9 199 15,-7-1 64-15,-2 5-44 16,25 0 89-16,-9 1 43 16,-3 1 159-1,7 0-283-15,-5-2 178 16,-5-1-467-16,5-1 204 15,5 0-30-15,-11-5 83 16,4 5-345-16,-1-3 33 16,1 2 94-16,-2-1-48 15,11 4 149-15,-1 0-30 16,-9-1-158 0,4-1 212-16,1 3 61 15,0-5-378-15,-2 4 158 16,11-1 101-16,-7 1 134 15,-13-3-300-15,16 3 179 16,-5-2-185-16,-4-3 102 16,1-1-5-16,2 1-1 15,-9-1 77-15,1-5-128 16,1 0-10 0,4 0 78-16,-13-2-71 15,15-2 112-15,11 4-122 16,-24-4 101-16,13 0-2 15,6 0-107-15,-5-3 46 16,-12-1 74-16,15-1-8 16,4-3-91-16,-9 2 33 15,-3-3 193-15,10 0-47 16,-13 3 34 0,-3-3-164-16,27 3 1 15,-15 2-84-15,-7 1 74 16,10 1 6-16,-7 4 125 15,-4 0 1-15,8 2-96 16,9 0 4-16,-24 0-99 16,-2 3 61-16,11-3 166 15,-9 2-1591-15,-17-2-3038 16,9 0-6505 0</inkml:trace>
  <inkml:trace contextRef="#ctx0" brushRef="#br1" timeOffset="-191331.64">17174 16416 19378 0,'-7'13'1922'0,"-3"10"118"15,0 1-409-15,-3 5-837 16,2 14-122 0,1 3 117-16,8 7 271 0,-5 2 171 15,3 13-104 1,-2 2-690-16,-9 6-335 15,4-4 16-15,5 0-36 16,0 9 33-16,-5-10 400 16,11 1-438-16,0 0-117 15,9-6 91-15,-9-5-97 16,2-8-213 0,-2-17-761-16,0-13-1848 0,0-14-2697 15,4-7-1318 1</inkml:trace>
  <inkml:trace contextRef="#ctx0" brushRef="#br1" timeOffset="-190667.65">17098 16315 23766 0,'0'0'2509'0,"0"0"-401"0,0 0-693 15,-2 0-412 1,2 2-364-16,0-2-352 15,0 2-415-15,0-2-383 16,0 0-376-16,6-2 176 16,17-4 699-16,17-5 451 15,9-6 209-15,-11 3 132 16,0 1-87 0,9 4-242-16,-3 3-281 0,-12 2-108 15,-11 6-38 1,3 0-13-16,-1 4-5 15,5 9-3-15,-1 15-2 16,-4 1 0-16,-3 14-1 16,-6 6 0-16,-10 8 0 15,5 8 0-15,-3-1 0 16,-4 0 0 0,-10 2 0-16,-9-9 0 15,-7-2-148-15,-3 0-280 16,-2-8-133-16,10-9 198 15,-1-2 68-15,0 0 276 16,-4-2 264-16,1-6 268 16,-5-5 103-16,4 0-362 15,4-1-149-15,-4 0-59 16,-3-1-26-16,-1-2-11 16,3-4-6-16,-7-2-1 15,-10 3-1 1,4-5-1-16,10 0-645 15,-5-3-2096-15,-1-1-2516 16,8-3-1447-16,-1-4-1468 16</inkml:trace>
  <inkml:trace contextRef="#ctx0" brushRef="#br1" timeOffset="-190174.57">17934 16355 18321 0,'0'0'3238'0,"-2"8"-105"16,-2 5-340 0,-9 9-997-16,0 9-684 15,-8 12-281-15,0 1-386 16,4 13-25-16,8-4-7 15,1 4-324-15,0 9-57 16,5-11 60-16,8 0-59 16,-1 4-21-16,0-10-7 15,11 0-4-15,2-11 0 16,-1-5-1-16,12-1 0 16,0-8 0-16,-1-5 0 15,-7-7-85 1,0-3-566-16,8-3-418 15,11-1-1146-15,-4-4-763 16,-1-7-2324-16,-12-7-2327 16</inkml:trace>
  <inkml:trace contextRef="#ctx0" brushRef="#br1" timeOffset="-189894.44">17824 16639 31326 0,'0'0'520'0,"0"2"-189"16,2 6-76-16,11 1-91 15,4 2-78-15,-1-5-43 16,10 0-20-16,4 0-697 15,-3-3-247-15,3 3-1286 16,4-2-728-16,1-2-1089 16,-7 1-1153-16,0-3-1159 15</inkml:trace>
  <inkml:trace contextRef="#ctx0" brushRef="#br1" timeOffset="-189616.47">17824 16270 23734 0,'0'0'2818'0,"0"0"-839"16,0 0-456-16,21 5 367 15,-4-1-1486 1,5-4-185-16,2 4-112 16,4-4-1036-16,1 0-1723 15,1 3-2893-15,6-3-4328 16</inkml:trace>
  <inkml:trace contextRef="#ctx0" brushRef="#br1" timeOffset="-188841.32">18454 16480 12300 0,'3'25'2422'16,"-1"24"586"-16,0 2-914 15,3 8 483-15,-1 3-19 16,0 3-737-16,-2-5 407 16,6 3-711-16,-2-4-600 15,1-10-551-15,-5-9-156 16,5-6-91-16,-3-8-298 16,4-10-381-16,-4-9-301 15,-1-5-148 1,-3-2 93-16,0-6 17 15,-5-37-558-15,3-18-9 16,0-20 383-16,6-3 766 16,1 1 200-16,-3 7 346 15,8 2 1088-15,-1-4 390 16,-5 18-815-16,0 7 210 16,-4-2-334-16,3 17-283 15,1 15-33 1,-2 8-32-16,-2 7-139 15,0 5-67-15,0 1-112 16,2 4 153-16,8 19-126 16,6 15 284-16,4 9 40 15,-3-2-284-15,-2-7-106 16,2-9-38-16,7 0-15 16,-8-5-92-1,-8-10-325-15,12-7-94 16,22-14 141-16,-8-18-25 15,0-16-75-15,-2-7-398 16,-16-12-340-16,2 7 555 16,-2 4-148-16,5 5-42 15,-3 12 411-15,-10 19 326 16,-4 8 624-16,0 6-151 16,-8 36 808-1,-2 19 36 1,0 9 548-16,-5 13-466 15,7-59-1008-15,1 42-57 0,10 20-150 16,-5-5-61-16,0 4-18 16,0 0-6-16,-2-19-2 15,5 5-1-15,1-9 0 16,-4-2-81-16,2-11-937 16,0 1-933-1,-4-16-1070-15,2-18-1204 16,2-5-3644-16</inkml:trace>
  <inkml:trace contextRef="#ctx0" brushRef="#br1" timeOffset="-188356.32">19424 16194 11915 0,'2'9'7121'16,"-4"12"-1066"-16,-9 11-2181 15,-23 10-1909-15,-8 9-1422 16,5 8-1506-16,9 9-1024 16,-4 0-1263-1,3-1-337-15,7-3 975 16,14-3 1907-16,6-6 1495 15,6-6 2761-15,8-5-218 16,16 1-769-16,-1-13-421 16,7-7-931-16,11-6-713 15,12-17-301 1,-21-12-134-16,0-14-37 16,8-25-16-16,-10-10-7 15,-6-19-3-15,-5-15 0 16,-9 2-1-16,-20 4 0 15,-6 7 0-15,-16 1 0 16,5 9 0-16,2-4 0 16,-4 17 0-16,5 6 0 15,6 18 0-15,-14 7-469 16,-17 9-575-16,-12 19-1553 16,11 13-2412-1,-1 11-2972-15</inkml:trace>
  <inkml:trace contextRef="#ctx0" brushRef="#br1" timeOffset="-187222.48">16692 17737 12492 0,'0'0'2743'0,"0"0"86"0,0 0-848 16,0 0-519-1,2 0-609-15,2-1-1202 16,4-4-89-16,5-2 99 15,11 3 155-15,7-4 144 16,11 6 329-16,-2-4 1408 16,3 6 117-16,5-5 139 15,14 1-290-15,-5 4-337 16,-4-2-233 0,17 2-281-16,-17 0-369 15,4 0-13-15,13 2-270 16,-17 0-111-16,-3 0-31 15,14-4-12-15,-3 4-3 16,-12 5-2-16,13-3-1 16,7 2 0-16,-16 1 0 15,15-3 0-15,-1-2 0 16,-7 2 0 0,3-1 0-16,1 1 0 15,8-3 0-15,-6-1 0 16,3 0 0-16,3-1 0 15,11-8 0-15,-26 5 0 16,17-5 0-16,9-3 0 16,-7 7 0-16,-4 1 0 15,-4-2 0 1,8 2 0-16,-6 1 0 16,1-1 0-16,2 2 0 15,-1-2 0-15,3-3 0 16,-9 3 0-16,2 0 0 15,4 4 0-15,-8 0 0 16,-3 0 0-16,4 6 0 16,-7-1 0-16,-9 3 0 15,1 1 0-15,-14-1 0 16,13-2-991 0,-24-1-1514-1,-8-5-2264-15,-2 0-2764 16</inkml:trace>
  <inkml:trace contextRef="#ctx0" brushRef="#br2" timeOffset="-177833.46">24733 7728 30076 0,'0'0'-149'16,"0"0"-20"-16,0-3 16 15,-15 2-642-15,-12-6-623 16,-33 1-992-16,15-1 74 16,-9 1 1405-16,-23 0 471 15,24 2 590-15,9 8 1263 16,10-2 1083-16,19-2-974 16,13 0-244-1,8 2 142-15,24 4 356 16,36-1-689-16,12 3-702 15,5 2-250-15,2-7-80 16,-29-1-25-16,1 2-7 16,-12 0-2-16,-7-4 0 15,-25 0-1-15,-6 0 0 16,-7 0-20-16,-7-2-745 16,-41 0-820-1,-12 0 684-15,-3 10 650 16,-18-1 1495-16,9 7-3 15,3-1-540-15,20-4-490 16,23-3-143-16,16-4-43 16,8 0-13-16,10 13-2 15,22 6-4-15,23 3-3 16,-9-10-3 0,19 3 1-16,20-12-1 15,-9 1 0-15,5-4 0 16,-20 3 0-16,-23-5 0 15,-15 0 0-15,-13 1 0 16,-8-1 0-16,-17-4 0 16,-51 2 0-16,-7-6 0 15,-4 12 0-15,-6-7 0 16,18 12 0 0,9-5 0-16,16-1 0 15,15-2 0-15,12-1 0 16,12-1 0-16,3 1 0 15,7 4 0-15,31 4 0 16,4-4 0-16,16 1 0 16,16-3 0-16,0 2-88 15,5 0 149-15,-25-2-44 16,-18 1-11-16,-21-3-4 16,-7 1-1-1,-8-1-1-15,-12-4 1 16,-49 2-1-16,-9-2 0 15,-3 4 0-15,2-2 0 16,20 4 0-16,-5 0 0 16,10 2 0-16,13-1 0 15,19-2 0-15,6 4 0 16,4-5 0 0,4 4 0-16,17 9 0 0,25 4 0 15,18-7 0-15,33-1 0 16,0-3 0-16,-26 0 0 15,8 1 0-15,-29-3 0 16,-4 3 0-16,-10-3 0 16,-23-4 0-16,-7 0 0 15,-8 4 0 1,-39 11 0-16,-23-1 0 16,-1-7 0-16,-26 12 0 15,20-9 0-15,20 6 0 16,11-2 0-16,12-3 0 15,20-5 0-15,5 0 0 16,18 7 0-16,18 4 0 16,24-2 0-16,27-3 0 15,-2-1 0-15,13-3 0 16,-20 1 0-16,-14-1 0 16,-19-5 0-1,-22 1 0-15,-14-2 0 16,-14 9 0-16,-37 5 0 15,-29 1 0-15,-11-2 0 16,-16 9 0-16,38-5 0 16,11-2 0-16,15-5 0 15,19-3 0-15,19-3 0 16,24 9 0 0,17-4 0-16,35 3 0 15,16-8 0-15,10 7 0 16,-23-6 0-16,-2 3 0 15,2-3-44-15,-38-1-420 16,-27-6 550-16,-9 2-195 16,-34 6 424-16,-33 8-170 15,-33 7-94-15,5 4-37 16,15-6-10-16,-3-4-3 16,39-6 0-16,23-3-1 15,15-3 0 1,1 3 0-16,37 11 0 15,36-8 0-15,13-5 0 16,6 0 0-16,-20-3 0 16,-5 1 0-16,-11-2 0 15,-30-4 0-15,-23 2 0 16,-25 2 0-16,-41 4 0 16,5 5 0-1,-4 2 0-15,5-3-5402 16,7-8-10710-16</inkml:trace>
  <inkml:trace contextRef="#ctx0" brushRef="#br2" timeOffset="-176620.46">23566 7810 30076 0,'-4'3'1176'16,"-6"-2"-497"-16,-18 2-225 15,-12 1-225-15,-3 2-1685 16,-18 3-1137-16,-9-5-261 16,7 0 802-16,-12 1 952 15,29-1 2104-15,17 2 903 16,22-4-535 0,7-2 73-16,19 2 961 15,54-2-1002-15,13-2-932 16,16-2-328-16,-3 1-105 15,-10-1-28-15,-6-2-8 16,-9 2-2-16,-23-5-1 16,-13 3 0-16,-13 2 0 15,-10 0 0-15,-9 1-309 16,-6 3 28-16,-36 5-409 16,-36 3 668-16,-9 9 841 15,-24 9-465 1,2 1-259-16,6-2-71 15,32 1-17-15,11-5-5 16,21-8-1-16,27 1-1 16,23 10 0-16,43-1 0 15,29-2 0-15,-14-8 0 16,21-2 0 0,-12-7 0-16,-8 2 0 15,-16-2 0-15,-27-2 0 16,-13-2 0-16,-16 0 0 15,-4 0 0-15,-40 9 0 16,-32-2 0-16,-17 5 0 16,2-4 0-16,0 5 0 15,14-2 0-15,24-3-80 16,36-4 57-16,-6 1-6 16,9-1 73-16,12 2-5 0,29 11-10 15,39-4-16 1,4-5-8-16,13 1-4 15,-5-3 0-15,7 5-1 16,-19-7 0-16,-38-2 0 16,-13 2 0-16,-11-2 0 31,-41 17 0-31,-37-2 0 16,-3 0 0-16,-14 5 0 15,16-3 0-15,3-1 0 16,24 2 0-16,17-8 0 15,15-1 0-15,28 4 0 16,26 2 0-16,13-3 0 16,28 1 0-16,5-2 0 15,-3-2 0-15,-11-5 0 16,-10 2 0-16,-24-3 0 16,-23-3 0-1,-17-2 0-15,-17 4 0 16,-45 2 0-16,-27 5 0 15,0 1 0-15,-6 3 0 16,-14 5 0-16,10-2 0 16,16 1 0-16,4 1 0 15,31-6 0-15,22-1 0 16,13-4-1891 0,13-1-4475-16</inkml:trace>
  <inkml:trace contextRef="#ctx0" brushRef="#br2" timeOffset="-175590.52">23780 9089 17360 0,'0'0'6030'15,"-12"-9"-1609"-15,-14-3-1669 16,-16-3-1399-16,-9 2-817 15,-12 6-603-15,-5 1-171 16,-9 8-60-16,6 1 8 16,16-2 448-16,-1 6-286 15,23-5 325-15,18 0 283 16,15-2-320 0,23 2 33-16,43 2-95 15,18-1-63-15,20-1-24 16,-6 0-8-16,-23 0-2 15,-17 2-1-15,-22-2 0 16,-21 1 0-16,-15-3 0 16,-13 1 0-16,-38 10 0 15,-10 6 0-15,-14 2 0 16,14 4 0 0,-11 5 0-16,-1-7 0 0,30-2 0 15,15-2 0 1,14-6 0-16,14-3 0 15,23 12 0-15,43-4 0 16,14-3 0-16,7-5 0 16,10 3 0-16,1-3 0 15,-16 3 0-15,-10-2 0 16,-19-3 0-16,-26 0 0 16,-23-1 0-1,-26 11 0-15,-45-3 0 16,-34 4 0-16,-14-2 0 15,8 0 0-15,18-1-159 16,8 3-20-16,20 1 43 16,29-10 372-16,20-4-125 15,8 7-54-15,14 1-22 16,41 5-13 0,21-6-13-16,9 3-6 15,10-5-2-15,2-1-1 16,-4 3 0-16,-14-3 0 15,-21-3 0-15,-19-1 0 16,-22-4 0-16,-13 0 0 16,-40 8 0-16,-36 3 0 15,-11-2 0-15,0 1 0 16,4 0 0 0,22 1 0-16,4 0 0 15,19-3-970-15,14 1-3426 16,24-5-3029-16</inkml:trace>
  <inkml:trace contextRef="#ctx0" brushRef="#br2" timeOffset="-174463.77">24790 9004 32767 0,'0'0'0'0,"0"11"0"16,-10 3 0-16,-2 1 0 16,-8 0 0-16,-12 0-478 15,-11 0-597 1,-3-5-838-1,-3-3 223-15,5 1-195 0,12 0-460 16,3-1 529-16,20-5 1221 16,9 2 1387-16,2-1-379 15,21 3 2528-15,11 2-39 0,29 1-458 16,16-7-862 0,-13 6-1100-16,5-5-319 0,-16-3-113 15,-23 0-34 1,-12 0-10-16,-14 0-4 15,-4 0 0-15,-2-3-1 0,-36-11-1162 16,-43-1-140-16,-16 8 520 16,0 5 32-16,-2 7 119 15,6-1 455-15,8 8 349 16,19-3 450 0,33 2 235-16,24-7 6 0,27 15 412 15,30-1-636 1,31 0-393-16,8-4-170 15,6 2-55-15,-6-4-17 16,-13 1-4-16,-23-5-1 16,-2-1-1-1,-49-6 0-15,-19-1 0 16,-38 5-326 0,-21 3 550-16,-13 1-152 0,0 8-51 15,4-7-15 1,24 5-4-16,27-2-1 15,13-9-1-15,21 0 0 16,25 11 0-16,28 2 0 16,20-5 0-16,17 1 0 15,3 4 0-15,-27-6 0 16,-11 1 0-16,-8-5 0 16,-22-1 0-16,-19-6 0 15,-8 2 0 1,-41 5 0-16,-13-3 0 15,-33 5 0-15,10 3 0 16,12 5 0-16,-5-2 0 16,25-5 0-16,29-1-455 15,18-3 245-15,20 11 578 16,135 17-100 0,-64-19-247-1,-17 0-16-15,-2-3-3 16,-19-3-1-16,-30-7-1 15,-14-2 0-15,-13 2 0 16,-51 1 0-16,-9 5 0 16,-15-6 0-16,6 8 0 15,21 1 0-15,11-2 0 16,13-3 0 0,13 0 0-16,10-4 0 15,8 9 0-15,20 0-2421 16,19-3-12414-16</inkml:trace>
  <inkml:trace contextRef="#ctx0" brushRef="#br2" timeOffset="-168056.19">23111 7838 19667 0,'0'0'1925'0,"0"0"-175"16,0 0-828-16,0 4-863 15,-6 19-337-15,8 11 228 16,5 17-1178-16,-7 14 65 16,-7 1 1345-16,11 0 1481 15,-4-3-382-15,0-16-191 16,7-3 61 0,-7-12-242-16,2-9-83 0,2-8 124 15,-6-11-140 1,2 0-189-16,0-4-221 15,0 0 88-15,-4-21-105 16,0-21-407 0,-13-15-277-16,10-15-371 0,1-2-861 15,1-15-486-15,10 17-949 16,-3 17-306 0,-9 4 736-16,16 15 915 15,-9 4-235-15,4 5 2183 16,-1 14 2007-16,-1 9 369 15,-2 4-704-15,-7 15 1256 16,3 29 627-16,-3 13-2119 16,1 20-1096-16,-4 5-452 15,2-1-149-15,-2-14-45 16,0-3-13 0,6-15-4-16,2-16-2 15,6-14 1-15,-2-6-150 16,8-6-301-16,2-10 258 15,4-16 593-15,-10-21-167 16,7-27-130-16,2-3-69 16,0-17-23-16,0-4-373 15,4 4-1100-15,-7 17 229 16,-8 30-44-16,1 6 1115 16,-5 25 180-1,0 3 352-15,-9 11 336 16,-13 28 736-16,2 29-386 15,-1 18-428-15,13 17-435 16,-3-8-140-16,11-10-39 16,-2-14-10-16,8-9-4 15,-1-12 0-15,-3-4-1 16,0-27 0 0,0 1 0-16,2-3 0 0,-2-9 0 15,0 0 0-15,13-18 0 16,9-29 0-16,-4-20-43 15,6-24-177-15,1-3 225 16,-7-1-210-16,2 19-270 16,0 15 333-16,-5 14-2 15,6 14 186-15,-6 12-61 16,-13 8 125-16,-2 9-58 16,-2 2-14-1,4 21 469-15,-8 32-179 16,-6 15-200-16,-11 15-80 15,-3 3-31-15,8 3-10 16,12-21-2-16,2-17 0 16,6-20-1-16,2-5 0 15,-2-11 0-15,2-9 0 16,-2-6 0-16,16-15-297 16,9-21-172-1,-5-17-10-15,1-17 301 16,5-21 257-16,-10-8-567 15,10 2-807-15,6 1 358 16,-8 39 384-16,-9 29 901 16,-9 18 540-16,-4 6-345 15,-4 10-27-15,-10 41 646 16,-15 22-369-16,-9 16-533 16,0 10-183-1,1-4-55-15,10 1-16 16,4-27-5-16,13-20 0 15,2-9-1-15,-1-13 0 16,6-9 0-16,-3-9 0 16,8-5 0-16,11-21 0 15,0-30 0-15,6-8 0 16,5-24 0-16,11-15 0 16,5-9 0-1,-12 3-752-15,-5 34-710 16,-7 32 2012-16,3 15 260 15,-6 10-446-15,2 11-174 16,-1 6-39-16,-4 26-64 16,-18 31-47-16,-12 22-25 15,-12 10-10-15,-6 0-4 16,9-19 0-16,15-19-1 16,4-19 0-1,0-15 0-15,4-4 0 16,4-4-29-16,0-9 41 15,0-2-152-15,12-14 222 16,8-24-36-16,1-24-27 16,3-9-12-16,-3-8-5 15,3-5-1 1,-3 6-1-16,2 10-647 0,-3 32 340 16,-7 17 691-1,-13 13-153-15,4 4-151 16,-1 27 65-16,-22 39-69 15,-16 15-49-15,3 12-19 16,-4 2-6-16,3 2-1 16,7-16-1-16,10-20 0 15,10-15 0-15,4-14 0 16,-2-11 0-16,0-8 0 16,2-11 0-1,8-2 0-15,9-27 0 16,4-45 0-16,-10-6 0 15,11-22-1858-15,-2 5-5398 16,10-11-5731-16</inkml:trace>
  <inkml:trace contextRef="#ctx0" brushRef="#br2" timeOffset="-167072.04">24386 7850 20788 0,'0'0'2507'15,"0"0"-396"-15,0 0-1222 16,2 3-1175-16,-4 20-1357 16,-14 30-607-1,6 29 592-15,-7 9-661 16,-8 15 2524-16,0-4 4612 15,11-16-602-15,8-20-1234 16,8-20-1818-16,4-11-445 16,-4-14-440-16,-2-9-162 15,0-7-193-15,0-5 156 16,-2-30-3-16,2-31-39 16,0-22-23-1,10-10-10-15,4-15-2 16,7-6-169-16,1-5-1552 15,-8 22 934-15,-1 38-232 16,0 35 495-16,-9 18 622 16,-2 8 36-16,4 32 867 15,-8 32 333-15,-4 10-522 16,0 8-240-16,-2 5-399 16,-4 2-124-1,10 76-32 1,2-112-18-16,4-21 0 15,-2-12-1-15,8-9 0 16,2-13 0-16,22-26 0 16,15-29 0-16,-11-21 0 15,-7-13 0-15,7-17 0 16,7-17 0 0,13 15 0-16,-25 30-45 15,-18 48 34-15,-9 22 36 16,7 6-10-16,1 21-6 15,-7 29-5-15,-16 22-2 16,3 9-1-16,-6 1-1 16,-3 7 0-16,11-22 0 15,-1-12 0-15,7-6 0 16,1-15 0 0,1-16 0-16,0-7 0 15,7-5 0-15,23-31 0 16,8-20 0-16,4-22 0 15,-3-16 0-15,-5-7 0 16,1-15 0-16,6 24 0 16,-17 39 0-16,-22 33 0 15,-2 11 0-15,5 13 0 16,-16 50 0-16,-11 29 0 16,-12-12 0-1,9 2 0-15,5-5 0 16,8-12 0-16,4-8-5168 15,8-17-10309-15</inkml:trace>
  <inkml:trace contextRef="#ctx0" brushRef="#br2" timeOffset="-165838.87">23118 9089 32767 0,'0'0'0'0,"0"8"0"15,-4 13 0-15,1 9 0 16,3 4-75-16,5 17-679 16,-7 4-30-16,2 4 563 15,-3 11 831-15,3-5 205 16,0-20-565-16,7-5-155 16,-3-14-60-16,-2-9-21 15,-2-13-8 1,4-2-2-16,5-8-2 15,2-29 0-15,-7-34-1 16,-6-9-576-16,0-14-672 16,8-11 103-16,2-12 65 15,-2 1-526-15,-2 27-2060 16,1 51 2855 0,0 22 2212-16,-5 11-327 0,2 12 311 15,-2 69 1600 1,-16 15-691-16,4 2-1592 15,-1-3-505-15,11-2-141 16,2-5-41-16,0-13-11 16,5-23-4-16,1-18 0 15,2-9-1-15,-2-14 0 16,-2-3 0 0,10-12 0-16,9-31 0 15,-4-25 0-15,-2-18 0 16,-3-14 0-16,4-17 0 15,0 12 0-15,4 30 0 16,3 30 0-16,-11 19 0 16,0 12 0-16,-2 12 0 15,3 20 0-15,0 23 0 16,-13 31 0-16,-4 3 0 16,0 5 0-16,-2 1 0 15,1-3 0 1,3-15 0-16,7-24 0 15,-1-14 0-15,-4-15 0 16,7-11 0-16,9-15 0 16,16-35 0-16,9-37 0 15,-9-6 0-15,-2-8 0 16,-3 8 0-16,-3 9 0 16,-6 16 0-16,2 28 0 15,-5 17 0 1,0 11 0-16,4 8 0 15,-2 10 0-15,-2 20 0 16,-7 8 0-16,-6 11 0 16,3-1 0-16,-2 8 0 15,1 17 0-15,-6-5 0 16,-4 9 0 0,2-20 0-16,-1-24 0 15,3-20-1591-15,3-7-6320 16</inkml:trace>
  <inkml:trace contextRef="#ctx0" brushRef="#br2" timeOffset="-148798.9">16719 17972 929 0,'-4'2'3668'16,"-5"1"333"-16,5-1-206 15,4-2 631 1,0 0-3102-16,-2 2-298 16,2-2 268-16,-2 0 420 15,2-2-37-15,4-3-391 16,-2 1-381 0,7-4-151-16,5-3-81 15,0 2-349-15,-2-1 59 16,14 2 113-16,-1-5 34 15,7 3 167-15,-8-1 68 16,2 7-151-16,-3 1-60 16,7-3-127-16,2 0-139 15,2 1-163-15,23-1-51 32,-25 2-64-32,12-3-5 15,-8 3-3-15,-4 2-2 16,2 2 1-16,-6 2-1 15,3 1 0 1,7-3 0-16,-4 4 0 0,8 0 0 16,-12 0 0-16,10-4 0 15,4 0 0-15,-4-2 0 16,-3 2 0 0,1 0 0-1,4-2 0-15,7 2 0 0,-9 4 0 16,-8-2 0-16,4 2 0 15,7-1 0-15,1 5 0 16,-3 1 0-16,-15-12 0 16,17 6 0-16,1-6 0 15,1 3 0-15,-11 0 0 16,2-2 0 0,6 0 0-16,49 6 0 15,-62-1 0 1,3-3 0-16,13 0 0 15,1 2 0-15,-8 2 0 16,-6 0 0-16,11 1 0 16,3-5 0-16,-1 4 0 15,-14-4 0-15,13-3 0 16,1 2 0 0,6 5 0-16,25-3 0 15,-24 6 0 1,-4-3 0-16,-11-2 0 15,-3 3 0-15,19-1 0 16,-4 0 0-16,-7 0 0 16,0 1 0-1,10 1 0-15,1-6 0 16,-17 2 0-16,8 0 0 16,5 1 0-16,4-2 0 15,-13-2 0-15,0 2 0 16,-1-2 0-16,3 1 0 15,-1-3 0-15,7 1 0 16,4 0 0-16,-5-4 0 16,-9-1 0-16,9 3 0 15,-1-2 0-15,3 1 0 16,-7 3 0 0,-8-2 0-16,-5 4 0 15,10-2 0-15,-10 0 0 16,-2 2 0-16,-13 0 0 15,-2 0 0 1,-10 0 0-16,0 0 0 16,-2 0 0-16,-2-4 0 15,-32-9 0 1,13 7 0 0,-13 3-37-16,4 3-67 15,-3-4 111-15,-5-2 35 16,-13 4-145-16,5 2 224 15,4 2-77-15,-10-4-25 16,-11 8-12-16,8-6-4 16,-7 0-2-16,-3 6-1 15,10-3 0-15,-9-6 0 16,-7 6 0 0,9 1 0-16,-10 0 0 15,6 0 0-15,5 0 0 16,-13 5 0-16,4-5 0 15,9 0 0-15,-12 3 0 16,2-3 0-16,5-4 0 16,3 2 0-16,-8 0 0 15,-11-2 0 1,4-2 0-16,0 0 0 16,-1 0 0-16,3 0 0 15,0-5 0-15,-6 1 0 16,-3-1 0-16,10-1 0 15,-7 0 0-15,-3-5 0 16,7 1 0-16,-2 1 0 16,7 5 0-16,-9 1 0 15,15-1 0 1,9 4 0-16,-3-3 0 0,12 5 0 16,13 0 0-1,-8 3 0-15,5 1 0 16,10 0 0-16,-1 3 0 15,13-3-698-15,4 2-1954 16,3-2-3994-16,2-1-1787 16</inkml:trace>
  <inkml:trace contextRef="#ctx0" brushRef="#br2" timeOffset="-130337.73">6733 14120 20531 0,'0'0'595'15,"-2"0"1711"-15,2 0-606 16,0 0-190-16,0 0-541 16,-5 2 29-16,1 0-312 15,-2 3-347-15,-5 3-178 16,2 7 531-16,5 4 67 16,0 2 33-16,4 0-414 15,0 2-194 1,2-1-97-16,4 5-43 15,5-1-24-15,0 1-11 16,-5 9-5-16,-8-4-2 16,11 4-2-16,-3 2 1 15,-6 2-1-15,2 5 0 16,2-5 0 0,-2 0 0-1,0 6 0-15,-2 3 0 0,6 0 0 16,2 2 0-16,-11 2 0 15,-2 8 0-15,1-10 0 16,2 52 0 0,-4-58 0-16,6-7 0 15,0 0 0-15,-4 2 0 16,2-8 0 0,4-7 0-16,0 1 0 15,2-7 0-15,0-4 0 16,-4-3 0-16,0-1 0 15,0 2 0-15,-2-1 0 16,-4 4 0-16,4-4 0 16,4-4 0-16,-2-3 0 15,-4-1 0-15,4-2 0 16,-2-2 0 0,2 2 0-16,-2-2 0 15,-1 0 0-15,3 0 0 16,0 0 0-16,0 0 0 15,3-4 0-15,-1-5 0 16,0 1 0-16,2-3 0 16,4-2 0-16,6 5 0 15,2-2-66-15,3 3-30 16,0 1 64 0,0 4 131-16,-2 2-53 15,4 2-20-15,9 0-13 16,2-2-7-16,13 2-4 15,1-2-1 1,3-2 0-16,-7-2-1 0,5 4 0 16,3 0 0-16,-12 0 0 15,7 0 0-15,1 6 0 16,3 1 0-16,-11 1 0 16,5 0 0-1,3 5 0-15,-4 2 0 16,-3 2 0-16,-8-2 0 15,5-2 0-15,6-1 0 16,-6 5 0-16,-13-9 0 16,-5 1 0-16,-4-3 0 15,-3 1 0-15,-2-3 0 16,-3-2-143 0,-4 0-249-16,-2-2 84 15,0 0-177-15,2 0 58 16,-2 0 36-16,2-2 391 15,4-11 230-15,-1-12-78 16,-1-11-20-16,2 0 209 16,5-6 51-16,8-64 382 15,-13 51-694 1,-6 0-51 0,-2-2-19-16,6-3-6 15,-2 3-3-15,-2-4 0 16,-2 1-1-16,4-1 0 15,0 0 0-15,-2-3 0 16,2-4 0-16,8 3 0 16,-6-3-342-16,2 11 25 15,0-2 224-15,-4 6 1 16,-2 4 119 0,2 7 21-16,0-37-45 15,1 50 13 1,-3 5 111-16,-9-1-223 15,7 4 37-15,2 2 31 16,2 4-15-16,-2 2-147 16,-2 5-158-16,2 4 246 15,2 2 37-15,0 0-42 16,-4 2-65 0,2 0-100-16,0 0 362 15,-2 0-183-15,-2 0 65 16,-4 4 228-16,-6 2-12 15,4-4 164-15,-4 5-188 16,-6-6-9-16,-3 6-144 16,6-7-7-16,-2 2 113 15,-17-6-126-15,-5-1 101 16,-1 5 355 0,11-1-213-16,-13-2-124 15,-14 3-64-15,9 3-30 16,3 3-11-16,31-6-3 15,-29 2-1-15,-14 9 0 0,17-7-1 16,-9 2 0-16,-15 1 0 16,12-1 0-16,2 2 0 15,-8-1 0 1,10 3 0-16,5-1 0 16,3 1 0-16,1 1 0 15,2-3 0-15,7-1 0 31,-12 3 0-31,30-6 0 0,3 1 0 16,-1-1 0-16,3 0 0 16,-5-1 0-16,6 1 0 15,3-2 0-15,-2 2 0 32,6-4 0-32,-2 6 0 0,4 3-27 15,2 2-1589-15,2-5-2946 16,8-2-3635-16</inkml:trace>
  <inkml:trace contextRef="#ctx0" brushRef="#br2" timeOffset="-128197.66">6910 14162 26617 0,'-2'7'485'0,"-4"18"171"0,2 11-388 0,4 13-188 16,0 16-217-1,-8 7 89-15,3 9 32 0,2 16 587 16,6 0 1577 0,-6 1-609-1,-5-7-1111-15,8-5-304 0,-2-18-89 16,-6 0-24-16,6-53-8 15,-6 19-1-15,-1-11-2 0,2-8 1 16,-3-4-1-16,-11-20 0 16,-17-33 0-16,6-41-633 15,21-31-1789-15,9-7-1524 16,0-8-2313-16,2 2 209 16,13 15 3774-1,10 13 3272-15,6 3 4634 16,-5 24-483-16,-7 19-1821 15,-7 22-890-15,-3 20-1098 16,-3 7-396-16,1 21-499 16,-3 65-679-16,-11 29 91 15,-2 24 813-15,5 9 135 16,4-5-621 0,4-16-140-16,-2-10-32 15,2-33-7-15,4 23-2 16,-4-88-1-1,-2-8 0-15,0-10 0 16,11-39 0-16,0-38 0 16,-11-193-892-1,4 103-784-15,4 16-1322 16,5 4-2403-16,4 50 3367 16,-9 45 4288-1,1 30 1809-15,-3 16-1208 16,5 9-1128-1,2 24-557-15,-11 65-511 0,-19 46-450 16,0 21-159-16,0 16-39 16,5-20-9-16,4-29-1 15,6-32-1-15,0-30 0 16,0-35 0 0,4-16 0-16,0-5 0 15,5-10 0-15,8-37 0 16,2-28 0-16,11-29 0 15,4-14 0-15,-3-13 0 16,-6-16 0-16,-8 34 0 16,-5 28 0-1,-1 33 0-15,-7 24 0 0,1 14 0 16,-3 7 0-16,-3 8 0 16,-8 62 0-1,-10 48 0-15,-11 29 0 16,12-2 0-1,2-11 0-15,4-14 0 0,5-27 0 16,14-30 0-16,1-33 0 16,4-19 0-1,18-12 0-15,8-26 0 0,-7-54 0 16,-3-29 0 0,2-25 0-16,1-18 0 15,-7-25 0-15,-14 2 0 16,8 41-1423-16,-2 71 1624 15,-6 40 458-15,-8 21-428 16,0 5-101-16,0 41-7 16,-13 78-64-16,-12 33-43 15,-5 33-13-15,9 18-2 16,8-10-1-16,13-45 0 16,11-49 0-1,-11-31 0-15,2-49 0 16,0-13 0-16,19-16 0 15,7-45 0-15,4-51 0 16,-16-38 0-16,3-36 0 16,-4-32 0-16,-2 5-288 15,-1 50-4119-15,2 83 3830 16,-10 53 2850 0,0 12-1020-16,-2 18-419 15,-10 76-196-15,-6 58-426 16,-6 33-163-16,2 4-39 15,14 2-8-15,8-34-1 16,1-42-1-16,-3-42 0 16,-2-28 0-16,2-22 0 15,0-11 0-15,13-33 0 16,42-171 0 0,-15-146 0-1,-24 131 0 1,2 38-1995-16,4 70 1412 15,-16 77 1537-15,-3 22-220 16,-3 7-426-16,-2 31 32 16,-9 58-169-16,-3 49-117 15,-12 33-41-15,10 19-10 16,10-6-2 0,8-40-1-16,4-40 0 15,-2-35 0-15,5-35-718 16,2-17-292-16,3-19 960 15,25-47 1236-15,5-53-749 16,-10-25-319-16,-4-31-89 16,-15-29-23-1,2-14-4-15,-6 31-53 0,-5 69-1029 16,-3 75 1526 0,-5 22-160-16,-5 12-99 15,-10 70-41-15,11 54-96 16,-5 43-37-16,-5 11-11 15,4 5-1-15,12-31-1 16,2-56 0-16,-4-49 0 16,2-34 0-16,0-17 0 15,15-19 0-15,19-55 0 16,0-51 0 0,-4-33 0-16,-13-35 0 15,1-18 0-15,6-1-4664 16,0 49-1710-16,-8 110 8145 15,-7 41 2434-15,6 14-1658 16,6 49-916-16,-15 63-973 16,-18 31-483-16,-11 24-135 15,2 9-31-15,4-11-7 16,9-48-2-16,2-30 0 16,0-32 0-16,4-23 0 15,0-19 0 1,2-11 0-16,-2-6-256 15,-5-50-6113-15</inkml:trace>
  <inkml:trace contextRef="#ctx0" brushRef="#br2" timeOffset="-126873.67">6726 14158 32767 0,'0'0'0'16,"0"0"0"-16,2 2 0 16,7 0 0-16,17 2 0 15,32-1-1090-15,27-1-861 16,19-2 1368-16,6 4 1434 16,15 3 918-16,-3-1-1016 15,-15 4-570 1,-16 5-134-16,-20-2-36 15,-11 2-9-15,-22-5-3 16,-21-3 0-16,-15-6-1 16,-13 12 0-16,-37 0 0 15,1 0 0-15,-8-7 0 16,-15-8 0-16,-2-6 0 16,-19-5 0-16,2-4 0 15,2 4 0 1,-4-8 0-16,15 4 0 15,13 2 0-15,25 5 0 16,13 1 0-16,13 7 0 16,10 2 0-16,8 0 0 15,35 11 0-15,23 6 0 16,21 4-112 0,12 6 193-16,16 7-58 15,6-10-17-15,-10 5-5 16,-4 1 0-16,-6-3-1 15,-28-8 0-15,-23 5 0 16,-7-5 0-16,-25-11 0 16,-12 2 0-16,-31 27 0 15,-41 1 0-15,-27-2 0 16,-15-11 0 0,0-6 0-16,-5-8 0 15,-11 0 0-15,20-5 0 16,4 4 0-16,9 3 0 15,43-7 0-15,9 3 0 16,14-3 0-16,14-3 0 16,13-2 0-16,10 8 0 15,29 21 0-15,16-1 0 16,31-1 0 0,9 8 0-16,8 2 0 15,8 13 0-15,8 2 0 16,-20-7 0-16,-6 3 0 15,-12-3 0-15,-28-14 0 16,-31-15 0-16,-16-9 0 16,-10 7 0-16,-47 17 0 15,-32-9 0 17,-127-6 0-32,98-19 0 15,-2-6 0-15,6 1 0 0,87 5 0 16,-56-2 0-16,-1 2 0 0,7 4 0 15,9-2 0-15,31 4 0 16,1 3 0-16,17-3 0 16,4 0 0-16,9 23 0 15,19 9 0-15,40 5 0 16,3-6 0 0,10 1 0-16,19 1 0 15,-7-8 0-15,9-7 0 16,-10-8 0-16,6-3 0 15,-21-7 0-15,-21-2 0 16,-9-6 0-16,-13 2 0 16,-6 0 0-16,-10-3 0 15,-7-1 0-15,-17-17 0 16,-17-2 0 0,-6 10 0-16,-6 0 0 15,-25 2 0-15,-12 7 0 16,-4 3 0-16,-8 3 0 15,-1 7 0-15,1 2 0 16,15-1 0-16,-4 0 0 16,31 3 0-16,-1-2 0 15,4-1 0-15,27-6 0 16,17 0-2057 0,10 0-7706-16</inkml:trace>
  <inkml:trace contextRef="#ctx0" brushRef="#br2" timeOffset="-93045.44">16664 17883 14830 0,'-2'0'1745'0,"-2"7"695"16,2-1-717-16,-2-1-285 16,2-5-603-16,0 1-382 15,-2 2-60 1,4-2-305 0,0-1-227-16,0 0-336 15,0 0-407-15,4 3-15 16,12 1 164-16,3 0 389 15,7-6 202-15,-2-2 94 16,6-1 152-16,13 1 734 16,-3-4 382-16,-10 4-463 15,10 0-64 1,5-5 75 0,3 3-48-16,-3 1-204 0,-5-3-315 15,23-2 309-15,-4-1 16 16,-1 4-99-16,5 1 92 15,3 0-47-15,3 1-268 16,12 4 63-16,-2-2 215 16,-10 3-98-16,9 3-60 15,7-3 3-15,2 1-273 16,-7-2 95 0,18 1 36-16,-1-3-178 15,-4 1 63-15,-2-2-73 16,5 2-43-16,-9 0 33 15,4 4 77-15,4 2 24 16,-10 4-86-16,-3 3 155 16,11 2 28-16,-10-2-65 15,12-5 77-15,-22-2 9 16,16-2-161 0,81-14 27-1,-88 5-20-15,-3-4-169 16,-62 10 91-16,45-4 72 0,17 1-118 15,-7 2 72-15,-10 2-84 16,-5 2-68-16,2 4 243 16,-21 1 92-1,-14-1-1-15,-5-2 92 0,-13 1-139 16,2-4-62 0,-6-1-50-16,0 0-120 15,-2 0 37-15,0 0-91 0,-2 0-66 16,-8-6-161-16,0 4-46 15,-8-4-211-15,-11-3 256 16,-5 3 164-16,-17-1 58 16,11 3 101-16,-19 2 136 15,-15 0-51-15,-9 0 314 16,0 0 120 0,5 0-60-16,-15 2-137 15,-10 0-24 1,-7 2-176-16,6 2 161 0,-12-2 51 15,11 4 48-15,2 1-237 16,-1 3-65-16,-6 1-17 16,-9 0-6-16,22-3 0 15,-14 7-1-15,-4-9 0 16,9 5 0 0,-13-2 0-16,24-4 0 15,-15-2 0-15,2-6 0 16,-4-2 0-16,-6-6-622 15,24 2-1377-15,7-1-2168 16,9-5-4329-16,10 7-1092 16</inkml:trace>
  <inkml:trace contextRef="#ctx0" brushRef="#br2" timeOffset="-86729.19">20718 17684 2755 0,'0'0'3205'15,"0"0"152"-15,-2 3 666 16,2-2-1067-16,0 2-964 15,-2-1-1106-15,0 0-502 16,-1 2-439-16,0-4 0 16,1 2 121-16,0-2 0 15,2 0 529 1,-2-8 283-16,16-15 2483 16,-6 10-2250-1,6 0-199-15,-5 5-442 16,4 2-21-16,-3 1-291 15,9 3 117-15,-6 2-149 16,6-2 73-16,0 0-243 16,2 0 121-16,-2-3 124 15,17-5 266 1,-14 2 104-16,7-3-42 16,1 2 105-16,4 1-166 15,-3 4-329-15,-5-3 159 16,2 5-298-16,10 4 112 15,1 2-199-15,3-1 188 16,-3 1-176-16,1 2 215 16,7-1-279-16,37-1 225 15,-37-4 7 1,3 2-118 0,-1-4 255-16,-7 0-319 15,3 2 229-15,7 4-286 16,-6-6 291-16,-4 4-265 15,66 4 161 1,-66-1-133 0,3-4 115-16,7 2-76 0,8 1 55 15,-13-4 38 1,6-2-4-16,1-3 60 16,-7 4-202-16,-3-2 300 15,3 1-275-15,6 0 151 16,-7 2-224-16,-2 0 349 15,10 2-338-15,-9 0 230 16,-1-4-151-16,-2 4 39 16,60-6 460-1,-62 4-264-15,-8-2-88 16,5 0 31 0,12 2-65-16,1 0-111 15,-15 0 96-15,1 0-94 16,8 2 131-16,1 0-141 15,-9-2 100-15,2 2-112 16,0-2 181-16,7 0-154 16,-5 2-5-16,-9-2 92 31,7 0 39-31,1-2-85 0,5 2-6 16,-2 0 89-16,-12 0-133 15,-1-2 36-15,16-2 34 16,11 2 78-16,-20 0-56 15,-3 0-16-15,7-5-7 16,7 5-3-16,-3-2-2 16,-1 2 1-16,-9-2-1 15,12 1 0 1,-33 3 0-16,23-2 0 0,-10 2 0 16,10 0 0-16,3 2 0 15,3-2 0-15,3 0 0 16,-5 3 0-16,2-2 0 15,1 2 0-15,1-1 0 16,-8 0 0-16,3 0 0 16,11 2 0-16,-5 1 0 15,-11-1 0 1,-11 0-138-16,-2 0-649 16,-4-2-1555-16,-7 1-2039 15,-5-2-2056-15</inkml:trace>
  <inkml:trace contextRef="#ctx0" brushRef="#br2" timeOffset="-85064.65">20884 16069 10890 0,'0'3'6343'16,"0"3"-1730"-16,0 2-1308 15,-4 3-1321-15,-2 1-1401 16,2 14-589-16,-5 6-34 16,5 8 177-16,4 4 113 15,2 5 189-15,0 10 336 16,0 1 140 0,5-5-327-16,1 8 92 15,-2-3-54-15,-6 3-176 16,-4 0-295-16,2-3-103 15,-2 3-33-15,2-8-13 16,-11 57-3 0,1-67-3-16,5-5 0 15,0-4 0-15,7-11-190 16,-2-14-34 0,2-9-1771-1,0-10 1087-15,0-30-201 16,7-11-239-16,-5-8 133 15,-2-9 561-15,3 3 284 16,-1-5 587-16,4-2 1046 16,-2 0-211-16,2 0-163 15,-4 5-50-15,-6 4-267 16,-2-7-309 0,4 12-302-16,2-1-58 15,-4 2-327-15,8-2 168 16,0 13 248-16,7-2 203 15,1 1 548-15,8 2 220 16,0 10-281-16,16-3 21 16,1 4-418-16,3 8-180 15,-8 10-66 1,-13 5-25-16,-3 5-8 16,4 4-2-16,0 6-3 15,12 11 0-15,-6 5 0 16,-1 12-1-16,-10-1 0 15,-6 16 0-15,-1-2 0 16,-8-3 0-16,0-2 0 16,-2 5 0-16,4-11 0 15,-8 0 0-15,-2-4 0 16,-4-5-142 0,4 0-119-16,-11 5-63 15,-11-4-148-15,-4 1-118 16,12-3-119-1,-6-5 222-15,-11-4 337 0,13-4 525 16,-13-2 178-16,16-7 218 16,6-3-47-16,5-2-395 15,0-2-157 1,2-3-77-16,2 0-42 16,-1-3-25-16,-4-1-11 15,5-5-648-15,-3-2-1293 16,3-4-792-16,-3 4-692 15,7 2 1610-15,4-2 919 16,7 7 1299-16,1-1 1110 16,2 0 386-16,3 1-198 15,-3 3 11-15,-1 3-335 16,12 2-117 0,1 4-573-16,5 0-322 15,-1 7-219-15,10 8-78 16,-9 4-53-16,-2 0-18 15,-6 11-8-15,1 4-4 16,-2 12-1-16,2-1 0 16,-2 8-1-16,29 60 0 15,-33-61 0 1,4 6 0 0,-1 8 0-16,6-18 0 15,4-1 0-15,3-5 0 16,-9-5 0-16,5-10-931 15,-8-14-3465-15,4-9-4286 16</inkml:trace>
  <inkml:trace contextRef="#ctx0" brushRef="#br2" timeOffset="-84362.46">21482 16425 13036 0,'0'2'3379'0,"-5"7"1108"16,1 1-1621-16,0-1-1037 15,0-1-533-15,2 1-364 16,0 3-123-16,-3 3-382 16,1 2 138-16,8 7-35 15,7 1 42-15,1-2 48 16,14-4-8 0,7 0-132-16,8 0-281 15,-7-6-125-15,-4-2-408 16,-3-3 212-16,7 1-138 15,-8-5-38-15,0-4-466 16,-6-4-452-16,1-7-62 16,-2-8 21-16,-4-7 626 15,-5-6-462 1,-2-3 666-16,2 3 674 16,-4 0 737-16,-4-2-235 15,-4 5-380-15,-4-7-273 16,-6 8-292-16,-2 3 165 15,-14 5 16-15,3 6 27 16,-9 3 178 0,-4 7 273-16,-2 6-331 15,3 7-4-15,2 5-37 16,-7 8 385-16,8 13 689 16,-15 57 917-1,39-33-1562-15,-4 7-339 16,12 6-120-16,4 8-40 15,9-8-15-15,-6 6-4 16,5-8-1 0,3-5-1-16,15 3 0 0,14-15 0 15,-2-13-1322-15,47 30-5863 32,-32-51 369-32,-5-15 314 15</inkml:trace>
  <inkml:trace contextRef="#ctx0" brushRef="#br2" timeOffset="-83581.15">22404 15968 12043 0,'0'0'7739'16,"0"0"-3534"-16,0 2-1419 16,3-2-764-16,-6 0-464 15,-20-2-2894 1,-4 2-791-16,-22 11-1262 0,7-3 657 16,2 5 659-1,12-3 1592-15,5-1 1788 16,1-1 2388-16,12-2-341 15,0 7-753-15,10 10-709 16,10 22-841-16,4 10-632 16,6 10-262-1,1 12-105-15,-9 14-35 0,4 2-12 16,-2 5-1204 0,-6-4-235-16,4 4-520 15,-6-14 545-15,0 8 984 16,-2-20 848-16,0-9 303 15,-6-23 396-15,2-18-73 16,0-14-1131-16,2-4-701 16,-2-4 377-16,-8-23 121 15,-4-22 176-15,-6 1-112 16,-3-7-1253 0,2-2-311-16,-19-38-2351 15,21 53 2699 1,-11-2 909-16,7 8 642 15,7 7 786-15,3 3 38 16,2 3 905 0,1 2-349-16,6-2 53 0,6 2-707 15,11-8-280 1,15-4-275-16,0 12-9 16,1 4 397-16,9 7 909 15,14 7-77-15,11 4-320 16,-13 8-797-16,8-1-244 15,3 6-94-15,-22-8-35 16,-1 9-9-16,-8-4-4 16,-1 10-1-16,-5 11 0 15,-12 19-1 1,-12 4 0-16,-6 3-295 16,-6 5-1005-16,4 3-742 15,-6-11-588-15,4-6-1115 16,6-18-1883-16,4-23 1728 15</inkml:trace>
  <inkml:trace contextRef="#ctx0" brushRef="#br2" timeOffset="-83375.17">22641 16129 30525 0,'0'0'832'16,"4"2"-301"-16,-4-2-225 16,0 4-78-16,2 6-80 15,-4 7-51-15,-2 5-598 16,0-1-4371 0,4-6-7011-16</inkml:trace>
  <inkml:trace contextRef="#ctx0" brushRef="#br2" timeOffset="-82656.66">22958 16768 28155 0,'4'44'2117'16,"-2"16"-504"-16,2-1-1036 16,-6-2-484-16,2-12-452 15,-8-1 1-15,6-8 4 16,0-13 523-16,0-14 134 15,2-7-333-15,2 0-39 16,2-4-21-16,0-30 21 16,0-25 14-16,14-25-436 15,4-6-1788 1,9-11-544-16,3 15-646 16,-2 12 2297-16,4 6 901 15,-1 17 2115-15,4 15 849 16,-11 13-908-1,-14 13 50-15,-6 5-1017 0,2 14-426 16,-8 30-33-16,-16 24 416 16,2-4-55-16,-9-8-455 15,8 0-174-15,7-8-59 16,-3-10-20 0,7 4-252-16,4-14 253 15,13 5-246-15,11-3 300 16,-6-10-22-16,14-4 87 15,9-4-74-15,3-4 45 16,-7 0-66-16,-3-1-22 16,21-1-8-16,-3-6-4 15,-7-1-3-15,1-1 1 16,2-11-1 0,-1-14 0-16,-5-6 0 15,-2-21 0-15,-13-19-22 16,-5-3-1009-16,-16-5-2100 15,-12 3-1403-15,-10-5-947 16,-8 7-823-16,-12 5 234 16</inkml:trace>
  <inkml:trace contextRef="#ctx0" brushRef="#br2" timeOffset="-82505.66">23689 16122 6726 0,'-8'-2'6874'0,"-10"11"2882"16,4 14-4619-16,-1 23-2460 15,7 18-1619-15,6 31-674 16,10 3-272-16,-1 10-80 15,1-13-24-15,-6 6-6 16,2-14-1-16,-4 4-1 16,2-25 0-16,2-11-718 15,0-13-5748-15,12-6-6773 32</inkml:trace>
  <inkml:trace contextRef="#ctx0" brushRef="#br2" timeOffset="-81648.66">20920 17570 23382 0,'0'0'1336'0,"0"4"-161"15,0-1-512 1,2-1-905-16,0 2-449 16,10 0 296-16,2 3 306 15,5-1-117-15,9 0 537 16,6 0 194-16,6-1 394 15,17-5-442-15,8-5 297 16,10-1-206-16,1 2-32 16,9-4-432-1,-18 3-10-15,14 1-39 16,10 0 393-16,6-3-224 16,-3 3 159-16,22-8-221 15,-19-1 40-15,22 0-192 16,1-10 65-16,-101 19-62 15,76-13-4-15,24-2 209 0,2-1 53 16,0 4 206-16,12 0 58 16,-15 4-218-16,17 1-235 15,-7 5-63-15,9 4-14 16,-6 6-4 0,3 7-1-16,8 4 0 15,-2 6 0-15,-27 7 0 16,6 1 0-16,2 3 0 15,-26-3 0-15,51 22 0 16,-97-32 0 0,9 3-5064-1,-52-18-1632 1</inkml:trace>
  <inkml:trace contextRef="#ctx0" brushRef="#br2" timeOffset="-75561.44">10589 5734 8616 0,'0'0'1565'0,"-8"-2"337"0,5 2 366 16,-3-3-307-1,4 3-1143-15,0 0-443 16,0-2-624-16,0 2-758 15,2 0 149-15,-2 0 50 16,2 0 240-16,0 0 115 16,0 2 199-16,2 5 159 15,12-1 230-15,-1 1 22 16,9-1 1374 0,-10-2 295-16,8-2 69 15,7 3-710-15,-8-5 235 16,8 0 192-16,-1-3-542 15,-1 3-507-15,1-2-241 16,-3 2 81-16,2-2 162 16,-1 2-46-16,1 0-96 15,-2 0-354-15,2 2 83 16,11 3-243 0,-10-5 160-16,7 0-164 15,-5 2 269-15,6 0-167 16,-9-2 119-16,9 2 8 15,2 0 90-15,-8 0-135 16,3-2-29-16,-9 2 28 16,20 2-56-16,3 0-19 15,-14-4-63-15,9 0 28 16,5 3-7 0,10-3 37-16,-21 0-5 15,15-3 58-15,0 3-98 16,3 0-37-16,-11-1 86 15,-3 1 50-15,6 4-36 16,5 0-16-16,-9-2-64 16,9 5 92-16,2-3-85 15,-7 2-29-15,7-4-33 16,1 0 67 0,1 0-14-16,1-2 76 15,-2 0 8-15,3 0 106 16,4 0-169-16,-14-2 43 15,6 4 116-15,0-2-138 16,8-2-34-16,-11 0 92 16,12 2-89-16,1-4 30 15,-4 0 51-15,5 2-87 16,-1 0 34 0,-6-3 32-16,-9 3-30 15,21 2 9-15,-8 0 25 16,2 0 92-16,-6 2-175 15,-4-4 81-15,10 2 73 16,-8 0-59-16,11-4-104 16,-3 2 48-1,7 2 123-15,-9-4-66 0,-6 4-41 16,13-3 69 0,-5-1-19-16,-3 2-109 15,0 0 22-15,1-2 72 16,5 2 131-16,0 4-273 15,-6-4 285-15,-2 0-336 16,-1 4 128-16,6-7 3 16,3 5-39-16,5 0 48 15,-7-2 40-15,-13 0 71 16,10 4-135 0,1-4 159-16,-10 4 291 15,18-2-221-15,-4 0 219 16,-16 0-488-16,13 5 159 15,1-5-129-15,-5 2-42 16,0 0 66-16,5 0 107 16,-7-2-107-16,10 2 2 15,9 2 45-15,-23-4 113 16,8 2-201 0,11-2 202-16,-13 2-230 15,5 1 109-15,-5-3 19 16,0 1-14-16,3 4 285 15,1-1 64-15,-7-2-134 16,8 5-163-16,-3-3-18 16,-10-2 91-16,4 0-82 15,7 2-114 1,-4-6-1-16,5 4 146 16,-10 0-155-16,3-2 45 15,-2 3 140-15,1 1 72 16,8-2-74-16,-13-2-54 15,4 4 47-15,-1 0-25 16,2 0-110-16,2-4-21 16,0 7 96-16,0-3-48 15,-8 0 82-15,-7-1 126 16,15 1 129 0,2 0-212-16,-9 0 0 15,6 2 70-15,3-1-79 16,-11-1-311-16,-1 0 124 15,14 5 108-15,-4-7-103 16,-15 6-109-16,20 3 104 16,3-9-162-16,-9 5 364 15,-2-1-242-15,9 2 155 16,-10-2-26 0,-5-1 110-16,18 1-115 15,-11-1 55-15,-4 0-60 16,25 4 21-16,-23-7-38 15,-1 3 130-15,18 3-199 16,-9-2 57-16,-4-1-25 16,0 1 74-16,5-2 48 15,-20 3-105-15,9-5-81 16,12 2 112 0,-8-2 144-16,49 2-92 15,-51-4-29 1,-5 0 127-16,5-2-192 15,-3 2 49-15,7 0-23 16,-15-2-25-16,-6 0-84 16,13 0 109-16,-1-2 12 15,-9 1-33-15,-3 2-87 16,-1-4 36 0,7 5-7-16,5-4-40 15,-13 1-268-15,2-1 73 16,-16 0 289-1,4 2-10-15,-3-4-6 0,17-1 10 16,-13-1 100-16,-2-1-146 16,-4-5 0-16,-4-3-169 15,2-5-34-15,-5 3 44 16,0-6 129-16,0 0 70 16,0-3 262-1,4-4 38-15,-3 0 18 16,-6-3 101-16,3-3-345 15,-6-3 332-15,2 5 74 16,-1-6-228-16,-6-7-114 16,10 9 236-16,-7-4-286 15,-2-3-19-15,2 1-28 16,-2-3 88 0,2 2-124-16,-3 1 210 15,8-7-199-15,-7 4 6 16,-1-1-39-16,6-2 66 15,-8 4-56-15,10-1 40 16,-1 3-46-16,-13-3-98 16,3 7 87-16,6-1 49 15,-13 1 19-15,7 6-49 16,-1-2-3 0,-1 4 131-16,4 5-93 15,-8-3 88-15,-2 4-143 16,4 3-132-16,-7-1-154 15,0-1-31-15,-6 3 279 16,-1 4 68-16,-8-10-11 16,11 7 202-16,-2 3-187 15,0 4 26-15,-13-1-142 16,-9-1 36 0,9 4 137-16,-2 1-63 15,-11 0-30-15,-3 7 174 16,9-5-118-16,-7 3 17 15,-3 4 229-15,-11-5-283 16,49 7 48-16,-27-4-14 0,-15 2 120 16,-3-7-57-16,3 5 19 15,-10 2 184-15,-3-7-202 16,17 7 159 0,-9-3-36-16,-5 1 48 15,10-1-243-15,-21 3-20 16,13-6 188-16,7-1 103 15,-21 0-237-15,12 1 25 16,3 6-78-16,-8-7 124 16,-2 5-2-16,-2 1-44 15,12-1-100-15,-10 4 9 16,-2-4 91 0,-13 2 76-16,13-1-113 15,2-1-76-15,-1 2 193 16,4-3-134-16,-3 5 44 15,-9-2 60-15,24 2 53 16,-28 0-212-16,7-1 283 16,17 2-327-16,-22-3 129 15,15 4 2 1,-5 0-130-16,2-3 177 16,-6 6 144-16,-3-8-241 15,18 7 163-15,-10 1-268 16,6-8 171-16,-6 10-76 15,2-8 236-15,7 3-267 16,-3 3 82-16,1-6-58 16,5 7 88-16,-17-4 9 15,18-1 22-15,2 2-138 16,-15-5 230 0,21 2-223-16,-21 4 6 15,13-6 51-15,8 0 258 16,-5 8-333-16,-11-10-2 15,18 1 69-15,-9 5 206 16,-3-2-239-16,13-2 43 16,-12 4 55-16,-6-2-1 15,22-2-102-15,-8 6-19 16,-11-6 119 0,6 0-63-16,3 5-40 15,-5-1 108-15,6-8-86 16,-4 6 95-16,6-1 11 15,-4-2 47-15,17 0-203 16,-7 7 178-16,-21-4-111 16,19 0-17-16,7 2-46 15,-11 2 36-15,-4-4 203 16,17 0-229 0,-8 0 69-16,-5 2 71 15,4-4 66-15,2 4 239 16,-6 2-216-16,-4-2-193 15,13 0 131-15,-5 2-29 16,-8 2-52-16,4-4-61 16,19 2-71-16,-19 0 92 15,2-2 65-15,-2-2 5 16,13 2 38 0,-13 0 104-16,-6-2-192 15,17 2 187-15,6 2-158 16,-15 3-208-16,-9-10 0 15,16 7 152-15,9 1-64 16,-17-8 61-16,-1 3 32 16,11 2 225-16,6-2-35 15,-4 2-194-15,-26-4-10 16,24 2-16 0,14 2-40-16,-21 0 103 15,-3-3-50-15,9 1-74 16,11 0 250-16,-14 0-253 15,-5-2 49-15,9 0 80 16,9 1-48-16,-8 2 56 16,-3 1-93-16,-8-5-20 15,23 3 113-15,-17 2-72 16,3 0-107 0,-1-4 14-16,6 2 31 15,4 2 176-15,-13 0-155 16,1-3 54-16,5-1-169 15,3 4 122-15,-13-2 106 16,5 2 3-16,-1-2 23 16,11 0-14-16,7 4 31 15,-18-2-34 1,-2-2-81-16,11 2 30 16,5 2 65-16,1 0-100 15,-15 0 67-15,9 1-48 16,6-2 39-16,5 2 50 15,-9 1-105-15,-4 0-67 16,4 1 107-16,13-4 91 16,-5 2-60-16,5 3 57 15,-13 0 149-15,2 3-210 16,0-5-10 0,0-2-116-16,15 4 101 15,5 3 129-15,-2 2-237 16,-3 1-9-16,-2 3 61 15,6 0 102-15,1 0-3 16,-4 1-18-16,-7 8 28 16,6-3-63-16,0 2 63 15,9 3-96-15,-6 4 44 16,8-1-14 0,-2 5 11-16,2 0 5 15,-4-2 57-15,2 1 27 16,2-1-11-16,-1 4 112 15,3 0-144-15,-2 2-41 16,1 0 78-16,-2-2-62 16,3-2 66-16,2 2-63 15,-2 0 10-15,-5 2-33 16,6-4 98 0,3 2-53-16,4 2-40 15,-2-2 170-15,-2 2-153 16,2 0-47-16,7-2 170 15,-5 3-117-15,1-3-87 16,3 0 114-16,0 0-83 16,0 1 191-16,-6 4-14 15,6-3-199 1,5 0 72-16,-8 0 124 16,-1 2 15-16,4-1-130 15,2-2-33-15,-1-1 82 16,-5-4-62-16,0 6 89 15,0-2 34-15,0-8-204 16,4-1-48-16,-4-6 118 16,0 5 103-16,1-7-8 15,1 0 97-15,-2-2-49 16,3 0-71 0,-1-2-36-16,2-3-3 15,2-3 15-15,-2-1-66 16,-1 3 52-16,-3-5-202 15,5 5 133-15,5-3 15 16,5 0 121-16,-6 1-188 16,6-2 214-16,-1-1-94 15,4 0 146-15,-10-2-172 16,16 3-88 0,-1-5 27-16,-6-2 31 15,8-2 11-15,7-2 81 16,-2-1-219-16,-9 3-1522 15,7-2-3941-15,-7 6-5462 16</inkml:trace>
  <inkml:trace contextRef="#ctx0" brushRef="#br2" timeOffset="-70608.48">6703 16245 5701 0,'0'0'2049'0,"-2"0"1834"15,2 0-329 1,0 0 103-16,0 2-548 0,0-2-641 15,0 0-467-15,0 3-695 16,0-2-941-16,0 2-566 16,2 3-737-16,2 4-260 15,7 1 474-15,10 2 510 16,9-5 363 0,8-1 897-16,4-3-274 15,-6-2-63-15,10-2-106 16,4-2 229-16,-4 2-66 15,-6-2-211-15,-2 2-200 16,6 0-170-16,10 4-29 16,-19-2-121-16,7 0-78 15,14 1-119 1,-9 1 106-16,-1 0 54 16,-5-2-75-16,9 2-17 15,-1-2 140-15,-5 3-29 16,-8-5-67-16,11 0 127 15,-7 0 47-15,-9-3-277 16,-3-1 89-16,0 2 106 16,5-2-22-1,3 1-197-15,-8 2-36 0,-7-2-26 16,3 2-196 0,-6 1 120-16,2-3 100 15,1 1 136-15,-2 2 106 16,2 0 4-16,-9 2 10 15,-2-2 269-15,-6 3-158 16,0-2-50-16,4 8-310 16,2 4 216-16,-5 4 318 15,-3 6 31-15,0 2-32 16,-4 9-89 0,-3-2-192-16,-7 4 51 15,6 6-74-15,2-2 159 16,-5 3 150-16,2 1-69 15,-1-2-215-15,6 7 12 16,-6-9 20-16,1 9-85 16,3 0 85-16,0 2-69 15,2-7-123-15,-2-2 108 16,-1 5 4-16,-1-5 79 16,4-2-66-1,-1-4-7-15,1 9-60 16,0-7-4-16,-4-6 127 15,2 2 150-15,4-1-275 16,-4 3 33-16,0 4 14 16,6-4 44-16,-2-1 36 15,0 1 17-15,-2-1 82 16,-4 4-99 0,2-12-7-16,4 1-70 15,4-3 58-15,0 0 127 16,-6 3-323-16,4 4 79 15,-4-3 92-15,0-3-118 16,2-3 119-16,2 0 71 16,-2-2 78-16,0-1-90 15,0 1-42-15,2 2-23 16,-6-4-10 0,0-4-6-16,0 4-1 15,0-4-2-15,6-1-1 16,-2 3 1-16,-4-6-1 15,0-4 0-15,2-2 0 16,-2 0-52-16,-7-1-211 16,1-4 42-16,-10-2-188 15,4-5 224-15,-10 2-266 16,3-6 200 0,-5 2-27-16,3-1 258 15,8-3-37-15,-2 3 79 16,-8 1 113-16,-12 0-90 15,3 5 105-15,11-2-40 16,-1-1 146-16,-12 1-126 16,-6 2 102-16,-3 4 114 15,15-2-7-15,3 2-105 16,-7 0-124 0,-2 2-64-16,-7 4-26 15,15 5-13-15,2-1-4 16,-13 1-2-16,3 4-39 15,-11 0-18-15,17-3-93 16,0-1 270-16,5 0-229 16,-5-3 93-16,-2 3-102 15,3-5 69 1,18-2 135-16,-10 0-204 16,3 0 81-16,4-4-45 15,4 0 44-15,-8 0-132 16,3-4 22-16,1 2-175 15,-4-6-115-15,4-3-145 16,-2-5-469-16,4-8 48 16,1-5 159-16,7-20-378 15,-7 4 101-15,6-1 665 16,5-1 360 0,-8-8 79-16,2 8 821 15,1 1 449-15,-4-1-197 16,7 1 21-16,-2 3-226 15,4 3-270-15,-2-15-145 16,2 9-227-16,-5-3-168 16,5 0-46-16,-5-2 24 15,3 3-33-15,-4 2 29 16,6-1 51-16,2-4-122 16,2 8 56-1,0 2 38-15,-2 2-61 16,0-3-44-16,0 2 194 15,2 8 49-15,0-6 129 16,-2-1-86-16,0 2-34 16,0 9-114-16,0 0 14 15,-2-3-28-15,2 1-105 16,2-8 83 0,7 0-172-16,-7 6 84 15,2 0-207-15,-2-4-64 16,3-2 40-16,-3-2-86 15,6 6 23-15,2-6-126 16,-6 2-271-16,1-2-156 16,0 2 97-16,-1 14-857 15,-2 3-319-15,0 9 455 16,-4 5 213-16,2 5-1126 16,0 0-491-1,-2 0-1994-15</inkml:trace>
  <inkml:trace contextRef="#ctx0" brushRef="#br2" timeOffset="-69691.4">6183 14925 14061 0,'0'0'2215'0,"0"0"296"16,-5 4-403-16,-2 6-578 15,1 7-472-15,-8 53 1906 32,10-26-1999-32,4 16-709 15,2-3-704-15,2 0-1207 16,-2 8-1015-16,8-1 606 15,1 1 321-15,2 1 1211 16,3-7 715-16,1 11 835 16,-4-2-284-16,-2-8-414 15,1 9-250-15,2 1 148 16,-4-7-106 0,-2 3 119-16,-4-2 668 15,-2-1-130-15,1-4 74 16,-1 1-68-16,2-1 477 15,-2 0-132-15,0 5-317 16,-6-3 228-16,8 2 479 16,-4-1-660-16,-6 4-149 15,-1 1-591 1,3 5-31-16,0 7 36 16,-2-7-102-16,-2 4-8 15,0 0 18-15,0 0 28 16,0 5-168-16,2-12 233 15,2 14-99-15,-3-5 77 16,3 1 89-16,-1-1-126 16,5-8-39-16,5 21-35 15,-5-13 34-15,-2 7-11 16,8 0-27 0,-1-1-412-16,5-14 28 15,-6-4-1465-15,2-11-620 16,0-19-1910-16,8-4-2157 15,4-16-744-15</inkml:trace>
  <inkml:trace contextRef="#ctx0" brushRef="#br2" timeOffset="-68442.4">8532 13871 12043 0,'0'4'5685'16,"-2"0"-2106"-16,4 4-878 15,0 7-864-15,-2 4-631 16,2 4-540-16,2 7-386 16,-2 10-147-16,0-2-137 15,-2 7-292-15,-2-3-561 16,-2 13-189 0,0-2 632-16,4 0 424 15,0 17 1069-15,4-9-15 16,5 7-181-16,-9 6 158 15,2 7 5 1,0 5-538-16,-4-1-224 0,0 6-493 16,6-5 194-16,0 10-127 15,-2-14 348-15,0 1-32 16,5 4-1490 0,3 6 960-16,-1-2-86 15,-5 2 496-15,-2-8 6 16,-4-3-310-16,4 5 197 15,-2-6-275-15,-4 8-181 16,0-11 540-16,2 0-154 16,2-2-25-16,-2 3 256 15,2-8 99-15,-3 6-162 16,-1 3-8 0,6-1 172-16,0 3-23 15,3-6-380-15,-7 2 66 16,-1-2 242-16,1-5-379 15,2 5 21-15,5-15 256 16,-3 13 35-16,-2-4-10 16,0-2 39-16,0 6 37 15,10-7-228-15,-8 8-75 16,-2 1 216-16,0-10-167 16,2 12 158-1,6-4 272-15,4-6-478 16,-10 1 213-16,0-5-59 15,0 10 45-15,-2-6 14 16,2-5-100-16,4 5 135 16,-2-2 67-16,-2-7 82 15,3-2 551-15,-1-2-274 16,-4-12-121 0,-4 9-13-16,4-7-226 15,-3-1-194-15,3-8-146 16,-4 5-618-16,2-10-1893 15,0-7-2572-15,2-14-1217 16</inkml:trace>
  <inkml:trace contextRef="#ctx0" brushRef="#br2" timeOffset="-66666.31">6660 16292 10250 0,'0'4'3686'0,"-4"4"701"15,-2-1-610-15,2-3-1352 16,0 3-474-16,-3-3-525 15,3-3-311-15,4 2-486 16,0-1-403-16,0 0-564 16,4 2-266-16,11 5 97 15,5-3-239-15,4-8-403 16,17-4 268 0,5-3 488-16,20 0 320 15,-1 1 48-15,-6 0 414 16,10 1 328-16,5 3 69 15,4 0-199-15,-14 2-264 16,10 0 244-16,-5 0-145 16,2 2-31-16,2-3 179 15,-13 2-316 1,-7 5 141-16,3 2-209 16,-13 0-85-16,-9 1-193 15,6 3 52-15,3-2-539 16,-5 3 50-16,-7 0-79 15,-7-1 130-15,-2 6 158 16,-2-2 41-16,1 7 141 16,-4 0 98-16,-6-1 106 15,-1 7-16-15,-2 3 101 16,-1 6 47 0,-2 0-60-16,-1 8-58 15,0 1-68-15,-6-1 71 16,0 1 86-16,4 3 116 15,-4 1-216-15,-5 8-22 16,7 11-50-16,5-7-104 16,-1 11 199-16,-2-2-234 15,-2 6 116 1,0-2 237-16,4-13-336 16,2 11 124-16,-6-6 149 15,0-7 69-15,8 5-15 16,1-5-154-16,-11 0-32 15,-5 1 136-15,3-3-306 16,2-11-77-16,2 1-152 16,-6-7 67-16,6-8 68 15,-2 2 177-15,4-11-8 16,-6-6 155 0,2-11-124-16,2 1 47 15,0-5-263-15,0 0-192 16,2-2 46-16,-2 0 286 15,-4-9 96-15,-12-9 78 16,-2-6-312-16,-8 3-409 16,3 0-184-16,-1-9 461 15,-5 7 386 1,-11 2 43-16,-6 4 1401 16,7 4-67-16,-9 2 543 15,3 5-512-15,-10 2-295 16,13 2-731-16,-10 2-223 15,0 4-93-15,-5 0-37 16,4 0-13-16,-3 5-6 16,8-1-1-16,11 1 0 15,-11 4-1-15,-1 1 0 16,-14 10 0 0,21-5 0-16,6-5 0 15,-7 8 0-15,-5 3 0 16,14-6 0-16,-7-2 0 15,13 2 0-15,4-4 0 16,-8 2 0-16,7-4 0 16,5-1 0-16,-2 1 0 15,19-11-117 1,-1 0-302 0,2-2-205-16,0-4-466 15,-2-7-296-15,0-12-648 16,4-3 493-16,-5-5-310 15,5-11 983-15,2-3 516 16,-4-8 149-16,-2-2 210 16,4 2 159-16,-4-15 627 15,-1 5 141-15,7-11 130 16,3 2 349-16,-7-9-644 16,-1-9-299-1,1 3-335-15,4-15 115 16,1 5-112-16,-12-7-99 15,3 1 65-15,6 5 361 16,2 1-195-16,-2 8-15 16,-6-2 185-16,6 8-5 15,-4 5-324 1,4 10 49-16,6 15-108 16,-10-2-13-16,2 19 197 15,0 13-59-15,2 10 73 16,-2 7 31-16,2 1 24 15,-2 4-298-15,2 1-860 16,0 6-2979-16,6 28-3870 16,2 8-1806-16</inkml:trace>
  <inkml:trace contextRef="#ctx0" brushRef="#br2" timeOffset="-59223.3">25268 16038 13773 0,'0'2'2846'15,"7"2"338"-15,-5 0-36 16,2 3-1210-16,-6 1-746 15,0 9-849-15,2 8-600 16,-6 3-24-16,1 10 164 16,3 4 68-16,0 15 729 15,-5-4 131 1,10 19-194-16,1-8 146 16,0 1 315-16,-2 1-23 15,3-2-297-15,-5 5-173 16,6-9-132-16,-2-3-293 15,-2 7-103-15,2-10-38 16,-2 4-12-16,-6 5-4 16,2-1-2-16,6 1-1 15,-2 5-108-15,0-9-113 16,4-8-555 0,-10-16-1156-1,4-9-1691-15,-2-17-2010 0,-4-14-2594 16</inkml:trace>
  <inkml:trace contextRef="#ctx0" brushRef="#br2" timeOffset="-58315.6">25148 15959 19410 0,'0'0'2347'0,"0"0"448"15,0 0-283-15,0 0-664 16,0 0-538-16,0 0-381 15,-3 4-372-15,3-4-195 16,0 0-134-16,0 3-77 16,0-3-129-16,3 2-184 15,7-7 79 1,12-5-4-16,20-11-395 16,-17 2-59-16,-1-4-52 15,8-3-191-15,7 0 58 16,-3 8 209-16,4 3 370 15,-1 4 299-15,3 5 294 16,-2 4 311-16,-6 6-114 16,5 7-42-16,0 3-44 15,3 5-38 1,5 5-46-16,-11-5-311 16,-8 4-99-16,-12-2-178 15,-7 2-285-15,-6 13-1601 16,-15 13 418-16,-6-6 226 15,-16 1-360-15,0-4 425 16,5 5 126-16,1-9 437 16,-2 0 1430-16,7-5 876 15,-7 3 354 1,-6-2-12-16,5-2-315 16,9-7-736-16,-3-2-371 15,2-4 52-15,-5-2-465 16,-3-7-101-16,-10 1-67 15,16-5-17-15,4-2-238 16,-1-2 22-16,8 0 269 16,10 0 16-16,4 0-77 15,0 0 107 1,0 0 176-16,0 0-201 16,0 0-214-16,0 0-314 15,2 2 262-15,6 5 200 16,2 5 383-16,18 13 685 15,6 3-62-15,-1 4-555 16,8 4-215-16,-5 2-93 16,-2 9-30-1,19 3-13-15,-3 3-5 16,-9-6-1-16,-1 6-1 16,11-1 0-16,-1-4 0 15,-12-2 0-15,-6-6 0 16,-11-8 0-16,-1-9-1119 15,-12-10-2645-15,-2-7-4110 16</inkml:trace>
  <inkml:trace contextRef="#ctx0" brushRef="#br2" timeOffset="-57630.74">25918 16759 9385 0,'7'17'9987'16,"7"9"-2576"-16,-1-9-4336 16,2-2-1553-16,-4-5-862 15,-5-3-347-15,8-3-112 16,0-4-101 0,2-9-43-16,8-8-219 15,3-6-140-15,1-7-173 16,-1-8-458-1,-6 2-763-15,-10-4 478 0,-5 0-733 16,-4-5 459-16,-2 3 1002 16,-8 2 356-1,-5 2 329-15,-4 4 33 0,-8-6 30 16,-3 14 151 0,5 7 368-16,-1 7 137 15,2 3-340-15,-2 9 256 16,-8 6 754-16,5 9-17 15,-3 10-630-15,11 12-556 16,2 3-225-16,2 11-93 16,5 19-39-16,-3-9-16 15,4 7-5 1,5 5-2-16,-4 0-1 16,10 9 0-16,6-14 0 15,12 0 0-15,1-5 0 16,9-4 0-16,4-14 0 15,12-1 0 1,-13-12 0-16,-1-11-719 0,7-10-1668 16,11-9-1246-16,-12-4-1474 15,-6-13-489-15,15-17-1765 16</inkml:trace>
  <inkml:trace contextRef="#ctx0" brushRef="#br2" timeOffset="-56456.73">26412 15824 18097 0,'0'0'3404'15,"0"0"505"-15,0 0-1518 16,0 0-654-16,-2 10-255 16,-3 16-529-16,5 20-462 15,-3 18-292-15,3 12-128 16,10 7-48 0,0 12-16-16,4 4-5 15,6 7-1-15,-3 0-1 16,6-4 0-16,-2 14 0 15,-4-25 0-15,0-2 0 16,-7-11 0-16,-5-6 0 16,1-17 0-16,0-12-78 15,1-13-345-15,-3-12-87 16,-6-7-616 0,2-9-323-16,0-2 243 15,-7-4 174-15,-3-17 418 16,-3-9 449-16,-3-25-205 15,0-8-441-15,-2-1-858 16,-6-14-522-16,3 20 874 16,2 4 937-16,12-3 617 15,1 8 505-15,2 9 1246 16,4-1 540 0,10 3-672-16,4 6-21 15,11 7-215-15,0 4-620 16,2 10-327-16,-3 5-214 15,-3 8-248-15,11 11-101 16,10 17-58-16,-4 16-32 16,-11-2-14-16,-3 5-3 15,-11 8-2-15,0-2-1 16,-3-6 0 0,7-2 0-16,-7-3 0 15,4-6 0-15,-10-14 0 16,4 1 0-1,-6-21 0-15,-2-2-386 16,0-2 189-16,2-13-158 16,2-21 82-16,-4-6 155 15,2-4 108-15,-2-5 6 16,7 0-138 0,0-6 88-16,-3 9 114 15,4-3-36 1,11 5 64-16,-2-3 187 0,2 5-254 15,5 6 125-15,9-4-8 16,9 2 19-16,-8 6 14 16,-2 9 64-16,-11 7-114 15,-8 8-70-15,-4 4-29 16,-3 2-10 0,0 15-252-16,-8 20-750 15,-8 24 55-15,-8 3 834 16,-5 8-153-16,2-5 302 15,4 0 117-15,1 10 239 16,2-4 179-16,16-7 296 16,0-3-579-16,12-4-198 15,0-13-67-15,1-16-23 16,2-7-7 0,0-13-2-16,7-10-2 15,14-15 0-15,-3-19-1 16,7-11 0-16,-16-21 0 15,-5 5 0-15,-4-9 0 16,2 2 0-16,-13-70 0 31,-6 87 0-31,-8 6 0 16,-7 7-215-16,-4 8-38 16,6 9 14-16,-1 5-629 15,-4 8-886-15,-2 5-938 16,-2 9-4375-16,10 9-1668 15</inkml:trace>
  <inkml:trace contextRef="#ctx0" brushRef="#br2" timeOffset="-56029.73">27642 16260 24471 0,'0'0'2258'16,"0"0"-216"-16,0 0-744 16,0 0-317-16,-22 10-37 15,-29 12-451-15,-11 8-305 16,25 1-392 0,7 3-123-16,2-9 166 15,20-4 84-15,4 7-120 16,16-1 215-1,6 5 233-15,20 0-16 0,8-7-46 16,5-4 24-16,-2 3-259 16,-17-7 12-1,-5-2-143-15,-6 6 226 16,-8 4-531-16,-17 18 255 16,-18 1 235-16,-1 3 460 15,-1-12-105-15,-5 0-223 16,6-15-89-16,0-3-30 15,14-10-130-15,2-3-1078 16,-5-10-1849-16,-12-30-5939 16,8-22-2648-16</inkml:trace>
  <inkml:trace contextRef="#ctx0" brushRef="#br2" timeOffset="-55484.6">27798 16429 19699 0,'6'32'4892'0,"11"23"-951"15,-6 13-2454-15,-5 6-2079 16,6 6-761 0,-3 7 172-16,8 4 644 15,-11-4 495-15,-6-7 851 16,-2-8-131-16,2-19 77 15,-4 2 420-15,2-14-163 16,-2-14-281-16,4-6-155 16,-2-12-260-16,4-5-285 15,-2-4-201-15,0-11 42 16,-2-29 87 0,4-27 87-16,-13-27-144 15,6-12-305-15,5-12-497 16,8 8-1161-16,4-4-1150 15,5 6 1421-15,4 15-24 16,2 5 1464-16,-1 15 1701 16,16 11 590-16,-19 18 105 15,-5 12 460 1,4 8-610-16,-4 16-1135 16,-1 4-391-16,2 8-164 15,6 17-87-15,-15 13-65 16,-6 13-29-16,-6 5-16 15,0 14-5-15,-7-8-3 16,-7 5 0-16,-2 3-1 16,6-16 0-16,2-3 0 15,1 6-20-15,9-17-999 16,0-13-1280 0,-1-8-1874-16,3-11-2176 15,2-4 526-15</inkml:trace>
  <inkml:trace contextRef="#ctx0" brushRef="#br2" timeOffset="-54842.44">28056 16433 8648 0,'19'-6'8391'0,"19"0"535"16,-4 1-4964 0,-2-1-2353-16,14-2-849 15,11 1-454-15,-12 5-206 16,-7 2-62-16,9-2-21 15,-5 2-11-15,-4 2-4 16,-21 0-1-16,-5-2 0 16,-9 3-1-16,-3-6 0 15,-49-13 0-15,-2-4-348 16,-18 4-1581 0,-8 3-533-16,16 9-541 15,-7 5 10-15,11 6 1614 16,17 10 1538-16,12 7 3316 15,18 1-681-15,-1 15 228 16,20 7-1365-16,11 10-1000 16,21-8-426-1,14-5-151-15,-10-8-55 16,7-7-16-16,14-3-6 16,-14-11-2-16,-9-7 0 15,8-10-1-15,0 4 0 16,-15-4 0-16,-9-4 0 15,-1-5 0-15,1-6-286 16,-8 0-292-16,0-6 150 16,5-9 111-16,-4-6 50 15,-11 2 164 1,0-4 118-16,-1 4 66 16,-4 6-175-16,1 7 157 15,1 8 59-15,-2 6 337 16,-4 5 33-16,0 4-203 15,-2-2 21 1,0 0-226-16,2 2-34 16,0 0-11-16,0 4-11 15,2 5-11-15,2-3-7 16,-4 0-4 0,2 3-3-16,-2-7-747 15,2 2-2282-15,0-1-3776 16</inkml:trace>
  <inkml:trace contextRef="#ctx0" brushRef="#br2" timeOffset="-54244.84">28858 16129 8296 0,'0'4'8238'0,"4"4"-878"16,0-1-3651-16,-2-3-1647 15,3 2-852-15,-5 3-386 16,-15 5-267-16,1 8-285 16,-8-1-136-16,-1 6-76 15,1 1-35-15,4 6-14 16,0 19-7-16,16 2-2 16,-4 8-1-1,4 24-1-15,0-17 0 16,10 15 0-16,-4-24 0 15,8 0 0-15,6 1 0 16,12-5 0-16,-3-13 0 16,11-3 0-16,-2-7 0 15,3-15-872-15,1-11-2163 16,4-16-3035-16,-7-10-3005 16</inkml:trace>
  <inkml:trace contextRef="#ctx0" brushRef="#br2" timeOffset="-53840.84">29123 15786 2274 0,'6'25'16970'16,"-6"18"-8762"-16,4 3-4931 15,5 7-1976-15,4 19-801 16,-9 4-338 0,0 3-110-16,2 1-36 15,7 5-11-15,4-3-4 16,2-4 0-16,-4 5-1 15,4-13 0-15,-1 12 0 16,6-16 0-16,-5-4 0 16,-12-7 0-16,10-13 0 15,-7-14 0-15,-6-20-645 16,0-4-1409-16,-4-4-173 16,-2-24-2180-1,-10-34-2101-15,-7-10-156 16</inkml:trace>
  <inkml:trace contextRef="#ctx0" brushRef="#br2" timeOffset="-53506.44">28995 16332 3491 0,'-20'-15'4144'0,"-12"-15"2339"0,4 5 39 16,15 17-2069 0,5 4-1208-16,6 1-1665 15,2 3-483-15,23 3-157 16,17 1-454-16,16 8-277 15,-3 5-134-15,-7-4-49 16,17 10-15-16,-1 1-8 16,-3 8-2-1,-14-3 0-15,-5 5-1 16,6 2 0-16,-25 0 0 16,1 10-708-16,-18-33 512 15,4 19-1317-15,-4 12-141 0,-4-2 536 16,2 3-136-16,-4-3 136 15,2-5 316-15,-2-10 347 16,0-6-120-16,2-8-617 16,0-7-419-16,4-4-1594 15,8-8-502 1,-8-16-835-16</inkml:trace>
  <inkml:trace contextRef="#ctx0" brushRef="#br2" timeOffset="-52802.91">29460 15957 32767 0,'4'17'0'0,"6"28"0"16,-2-1 0-1,8 9 0-15,2 2 0 16,-3-4 0-16,2 4 0 15,2-5 0-15,-9 3 0 16,10 32-3907 0,-10-45 614-16,5 3 101 15,-6-14 2128-15,-5 1 2214 16,5 0 1678 0,1-7 556-16,0 0-1197 15,2-6-1213-15,-2-6-532 16,6-5-192-16,4-10-127 15,5-7-58-15,3-12-34 16,-3-13-18-16,-8-13-7 16,-2-10-4-16,-11 0-627 15,2 4-698-15,1-3-625 16,-1 17 832 0,-6 11 803-16,-2 7 385 15,4 10 1405-15,3 2 239 16,11-1-650-16,16 7-496 15,8 5-316-15,-5 5-155 16,4-4-57-16,17 6-22 16,0-7-14-16,-26-2-4 15,-1-4-1 1,-3-12 0-16,-5-9-1 16,-6-11 0-16,-17-13 0 15,-21-4-1208-15,-9 8-1575 16,-4 3-501-16,-17 14 667 15,-4 16 1928-15,16 16 2186 16,-15 14 1440-16,11 14 987 16,7 21-2463-16,19 6-963 15,10 9-322-15,9 21-114 16,11-11-44 0,20 13-12-16,16-7-5 15,5 9 0-15,-2-17-1 16,7-4 0-16,4 2 0 15,-16-8 0-15,-7-5-2339 16,2-10-8353-16</inkml:trace>
  <inkml:trace contextRef="#ctx0" brushRef="#br2" timeOffset="-51598.68">25016 17549 12652 0,'0'4'6551'15,"2"7"-559"-15,-2-5-3006 16,2-2-1202 0,-2-1-817-16,0-1-302 15,2 2-231-15,3 0-129 16,12 4-90-16,6-1-101 15,-1 2-60-15,7-1-27 16,19-2-14-16,10 3-8 16,1-3-3-16,9-4-1 15,25 4-1 1,-8 3 0-16,-8 4 0 16,12-9 0-16,3 6 0 15,-1-1 0-15,13-3 0 16,-20-12 0-16,100-3 0 15,-91 5 0 1,0-6 0-16,0 12 0 16,-4-11 0-16,9 13 0 15,-7-8 0 1,9 4 0-16,1 7 0 16,-8-3 0-16,13 0 0 15,-6-4 0-15,7 9 0 16,-5-5 0-16,18 4 0 15,-15-8 0-15,-2 2 0 16,18 9 0-16,-30-7 0 16,24 3 0-16,-12-3 0 15,5 2 0-15,-2 2 0 16,-7-5 0 0,11-1 0-16,-12-2 0 15,3 0 0-15,-12-5 0 16,-2 0 0-16,8 0 0 15,2-2 0-15,-4 1 0 16,8 2 0-16,-13 4 0 16,7-2 0-16,3 0 0 15,-12 0 0-15,12 2 0 16,-10 0 0 0,8 2 0-16,-5-4 0 15,-1 6 0-15,-5-4 0 16,0 0 0-16,-4 2 0 15,-13-4 0-15,3 4 0 16,-22 0 0-16,4-4 0 16,-8 4 0-16,-3 0 0 15,-17 0 0 1,-13-4 0-16,-2 2 0 16,-8 2-427-16,-2-2-1745 15,-6 0-5238-15</inkml:trace>
  <inkml:trace contextRef="#ctx0" brushRef="#br2" timeOffset="-2950.31">24942 17470 7911 0,'0'0'1621'0,"2"0"1680"16,-2 3-672-16,0-3-658 16,-2 0-756-16,2 0-413 15,0 0-480-15,0 0-325 16,0 0-301 0,2 0-115-16,0 2-107 15,9-4-514-15,4-2-137 16,11-3 706-16,-4 3 466 15,4 0 1158-15,-1-1 461 16,3 3-238-16,4 2 294 16,6 0 340-16,2 5-143 15,-8 3-523-15,-9 1-560 16,10 1-74 0,12 3-224-16,2-7 259 15,-14 2-217-15,-3-1-86 16,11-5-212-16,-1-4-42 15,2 2-52-15,-8 2-12 16,-7-4-91-16,8 0-18 16,5-3 11-1,4 5 181-15,1-1-69 0,-1-2-5 16,9-3-100 0,38 6-8-1,-53 0 105-15,23-4-10 16,-10 4-18-16,-7 2 167 15,-1 0-163-15,16 2 21 16,0 1-82 0,-10 1-30-16,11-2-9 0,-1 3-4 15,-17-3-1-15,11 0-1 16,13 0 0 0,-11 0 0-16,10-1 0 15,9-2 0-15,-15 4 0 16,14-3 0-16,-6-2 0 15,7 0 0-15,3 0 0 16,-14 0 0-16,19-2 0 16,-3 0 0-16,-3-2 0 15,2 4 0-15,3-7 0 16,-3 3 0 0,-8-3 0-16,19 1 0 15,-11-2 0-15,81-9 0 16,-76 6 0-1,10 7 0-15,-21-3 0 16,10 3 0-16,2 0 0 16,-3-6 0-16,-6 5 0 15,1-3 0-15,9 4 0 16,-4-2 0 0,-4 1 0-16,-3 5 0 15,-9-4 0-15,4 1 0 16,0 2 0-16,-1-2 0 15,19 2 0-15,-17 1 0 16,-1 0 0-16,2-3 0 16,-6 6 0-16,-8-2 0 15,9 2 0-15,10 1 0 16,2 0 0 0,-6-2 0-16,-13 1 0 15,13-2 0-15,-1 4 0 16,2-5 0-16,-3 0 0 15,5 2 0-15,6 0 0 16,-10 0 0-16,-1-2 0 16,46 6 0-1,-56-4 0-15,-21 1 0 16,13 3 0 0,-8-2 0-16,-6 3 0 15,-17-6 0-15,0 6 0 16,-4-5 0-16,-6 0 0 15,-7-2 0-15,0 2 0 16,-4-2 0-16,0 0 0 16,0 0-47-16,0 0 9 15,0 0-88 1,-2 0-100-16,-2-2-48 16,2 2 98-16,-3 0-408 15,1 0-410-15,0 0-410 16,-2-2-1832-16,0 2-2109 15,3-2-1156-15</inkml:trace>
  <inkml:trace contextRef="#ctx0" brushRef="#br2" timeOffset="-1549.1">25135 17708 20371 0,'2'21'3005'0,"-2"13"1036"16,-6 8-1308-16,-5 5-1390 15,7-5-573-15,-5 58-336 16,1-47-389-1,0 10-29-15,6-1-10 16,-5-3-4-16,5-2-1 16,-3-3-1-16,3-1 0 15,-2-10 0-15,4-3 0 16,0-2 0-16,0-4 0 16,-2-11 0-1,4-6 0-15,0-6 0 16,0 0-484-16,-2-7-1431 15,2-4-1800-15,3-3-2438 16,0-20-3448-16</inkml:trace>
  <inkml:trace contextRef="#ctx0" brushRef="#br2" timeOffset="-882.44">25133 17587 24439 0,'-2'0'2978'16,"-2"8"-677"-16,-1 3-920 15,-1 2-591-15,-1 2-357 16,1-1-218 0,0-1-104-16,2-4-59 15,0-3-26-15,4-4-10 16,0 0-8-16,0 1-2 15,-2-2-2-15,2-1-2 16,0 0 0-16,0 0-1 16,0 0 0-1,0 3-1-15,2 3 0 0,-2 0 1 16,2 5-1 0,4 23 0-1,-2-13 0-15,-8 6 0 16,4 7 0-16,0 0 0 15,2-2 0-15,0 4 0 16,2 8 0-16,-2 9 0 16,2-8 0-16,-2 5 0 15,-2 6 0-15,0-3 0 16,16-1 0 0,-10-3 0-16,2 2 0 15,-8-5 0-15,7-6 0 16,-3-5 0-16,0 3 0 15,7-6 0-15,-9-3 0 16,0-8 0-16,-2-2 0 16,2-6-194-16,1-5-838 15,-3-1-1435-15,2-5-1601 16,-2-2-1770 0</inkml:trace>
  <inkml:trace contextRef="#ctx0" brushRef="#br2" timeOffset="532.26">25063 17619 10410 0,'0'0'5275'0,"-2"2"283"15,2-2-2011-15,-2 2-985 16,2-2-867-16,0 0-562 16,0 0-504-16,0 0-74 15,6 2 11-15,16-2-123 16,4-2-229 0,-4-4-119-16,18-3-44 15,3 1-30-15,-3-1-13 16,-9 1-5-16,7 4-2 15,9-1 0 1,-3 1-1-16,-12 6 0 0,0 3 0 16,9 3 0-16,0 1 0 15,-7-1 0-15,-4 1 0 16,8-1 0 0,7 0 0-16,-7-1 0 15,4-3 0-15,1 0 0 16,10-6 0-16,-3 2 0 15,-3-2 0-15,-17-2 0 16,14 0 0-16,43-3 0 16,-62 3 0-1,-4 2 0-15,0 0 0 16,1-1 0 0,-4 2 0-16,-5-4-15 15,-2 3-78-15,0 0 70 16,3 0-38-1,2-4 137-15,-8 1-25 0,0 3-24 16,-4 0-12-16,-2 0-6 16,2 0-4-16,-2 2-2 15,3 2 0-15,-3 4-1 16,7 9-2 0,-7 6 1-16,-2 9-1 15,6 2 0-15,-4 22 0 16,-6-19 0-1,8 7 0-15,-2 0 0 16,5-6 0-16,-10-2 0 16,8 2 0-16,-1 4 0 15,2 1 0-15,-2-12 0 16,0 9 0 0,-4-4 0-16,0 4 0 15,5 0 0-15,-3 0 0 16,1 1 0-16,-3-2 0 15,-10 6 0-15,6-11 0 16,-2-3 0-16,6-5 0 16,0-3 0-16,0 12 0 31,-2-22 0-31,0 2 0 16,0-2 0-16,0-7 0 15,0 2 0-15,2-2 0 16,2-1 0-16,-2-2 0 15,0-1 0 1,0 0 0-16,-5 0 0 16,-3-1 0-16,-3-4 0 15,-4-2-63 1,-7-3-381-16,-4 6 195 16,-8-2-129-16,0-1 75 15,-2 3 114-15,4 0 130 16,-14-2 130-16,4 3 111 15,5-1 56-15,5 0 93 16,-12 2 176-16,-5 0-286 16,1-3-136-16,-5 3-54 15,0 0-19 1,5 0-8-16,9 0-2 0,-3 2-1 16,-26 0-1-1,13 2 0-15,9 0 0 16,-9 0 0-16,-5-2 0 15,17 0 0-15,17 0 0 16,-21 2 0-16,5-2 0 16,8 3 0-16,9-1 0 15,-1-2 0-15,7 2 0 16,6 0 0-16,3-2 0 16,5 0-553-1,1 2-1087-15,4-2-1422 16,0 0-3560-16</inkml:trace>
  <inkml:trace contextRef="#ctx0" brushRef="#br2" timeOffset="2071.65">26436 17553 20660 0,'2'5'3783'0,"1"3"-68"16,6 9-1436-16,-5 2-1096 15,-6 6-559-15,-28 47-1194 16,15-35-1664-1,-2 3-737-15,-6 8-684 16,12-1 887-16,5 4 1444 16,6 4 1947-16,0 2 1852 15,2 4 1046-15,9 7-1109 16,1 0-338 0,3-9-447-16,-3-7-932 15,0-3-308-15,-4-10-249 16,2-10-266-16,-6-12-78 15,-2-4 30-15,-4-9 0 16,4 0-265-16,-2-4 218 16,0 2-6-16,0 1 135 15,0-3 220-15,0 0 143 16,0-3-224 0,3-3 82-16,-6-3-396 15,6-12-1404 1,3 5 683-16,3 5-432 15,6 2 254 1,-3-1 412-16,5-3 174 0,4 4 292 16,3-1 580-16,-1 2 1397 15,13-1 1066 1,2 1-591-16,-2 3-1311 16,7-3-482-16,-1 3-227 15,5 1-83-15,-7 3-38 16,-7 1-12-16,15 1-5 15,14-1-3-15,-21 4 0 16,1 3-1-16,5 2 0 16,16 3 0-16,-5 3 0 15,-12-5 0-15,11 3 0 16,8 0 0 0,-23-4 0-1,3-1 0-15,9-4 0 0,-6 1 0 16,-19 1 0-16,-9-6 0 15,11 2 0-15,-7-4-375 16,-8 2-299-16,-10 0-218 16,4 0-373-16,-4-6 405 15,0-5 316-15,-4-10 213 16,2-7-128 0,-8 7 302-16,6-7 96 15,4-3 159-15,1-5 96 16,-5-13 31-16,7 9 321 15,-3-7-245-15,-2 1 149 16,-2-9-270-16,0 4-15 16,3-2-84-16,-5 0 9 15,-3 2-299-15,6 7 134 16,-3-1-326 0,-3 7 117-16,-1 2 40 15,0 7 93-15,0 1 84 16,2 5-30-16,-2 2-112 15,1 6-9-15,-1 0-96 16,2 6 199-16,-3 1 158 16,-1 2 205-16,-10-1 108 15,-8 5 245-15,-5 2-243 16,7 2-123 0,0 1-191-16,-11-8-95 15,-17 3 148 1,-6 0-101-16,7-4 43 0,-18-1-67 15,1 1-67-15,-3-1 128 16,-14-3 90-16,13 4 172 16,-1-3 387-16,-10 1 53 15,-2 1 9-15,7 1-131 16,17-1-219 0,-3 2-257-16,-1-2-88 15,10 1-34-15,-2 6-9 16,11-5-4-16,6 1-2 15,18 4-664-15,6 2-2322 16,5-2-3447-16</inkml:trace>
  <inkml:trace contextRef="#ctx0" brushRef="#br2" timeOffset="18193.36">25493 17759 9033 0,'0'0'1947'15,"4"6"2242"-15,-2 0-366 16,-2-1-1111-16,0-1-687 16,0-2-800-16,0 0-538 15,2 0-504-15,-2-2-282 16,-2 0-246-16,2 2-398 31,-4-2-461-31,-4 0-69 0,-8 0 786 16,6 0 364-1,-1 2 98-15,7-2-113 16,0 2-29-16,0 1-61 16,-12 1 72-16,6 2 118 15,0-2 180-15,4 0 457 16,1 1 750-16,3-3-403 16,-3 4-93-1,1-2 244-15,2-1-391 16,2 1-167-16,2-2-133 15,0 2-155-15,7 7-110 16,10-3-22-16,5 5-67 16,-12-7-39-1,11 5 4 1,-8-7 29 0,10 1 150-16,-3-1 80 15,-3 0-151-15,4 2-59 16,0-4-86-16,-5 3 154 15,-2 1-162-15,-1 0-49 16,4 1 118-16,-6 3 10 16,11 5-216-16,-8 0 45 15,-1 2 12-15,-4 0 74 16,-1-2 224 0,-6 2 80-16,0-9 128 15,-1 3 5-15,-3-10-170 16,2 4-70-16,-13 12-221 15,5-11-108 1,-5-2 28-16,-2 5 100 16,-7-3 17-16,2 3 76 15,-5 1-95-15,8-1 198 16,-2 3-257 0,-11 1 227-16,6 0 344 15,4-5 4-15,-3 3-45 16,3-5-22-16,2-2-328 15,2 0-23-15,-6-4 23 16,-11 0-38-16,-3-4-23 16,8 0-221-16,-3 2-517 15,-1 4-135-15,14 0 173 16,4-2 320 0,6 2 134-16,2 1 112 15,0-3-114-15,2 0-181 16,2 0-843-16,0 0-658 15,-2-5-824-15,0-7-2374 16,2-10-2087-16</inkml:trace>
  <inkml:trace contextRef="#ctx0" brushRef="#br2" timeOffset="18588.38">25789 17688 13581 0,'-2'7'4421'0,"-5"4"522"16,1 1-1474-16,-9 1-1323 15,-1-4-1049-15,-8-5-428 16,-6 0-92-16,-8 0-517 15,1-6-92-15,-21-4-1145 16,-3 2-622-16,-9-3-3705 16,2 5-4373-16</inkml:trace>
  <inkml:trace contextRef="#ctx0" brushRef="#br2" timeOffset="24167.51">6720 16776 9417 0,'0'0'1638'0,"0"0"1186"0,0 0-536 15,0 0-406-15,0 3-673 16,-4-3-331 0,2 2-471-16,-3-2-364 15,5 0-58 1,0 0 76-16,-4 0-16 15,2 0 36-15,2 0-72 16,0 0 138-16,0 0 12 16,0 0 149-16,0 0-128 15,0 0 17-15,0 0-134 16,6-2-66 0,3-1-27-16,-1-1 13 15,3-2 6-15,1-2 21 16,8-3-4-16,0 0 776 15,2-2 78-15,-5 1-212 16,-5-1-270-16,2-2-136 16,-2-4-18-16,-6 2-121 15,2-2-86-15,-3-6 183 16,8 6-229 0,-7-4 16-16,0-1 158 15,-4 3-226 1,3 0 108-16,-5 0-64 0,-2 6-120 15,-3-8-199-15,7-1 83 16,1 1 46-16,3 4 153 16,-6 0-90-16,0 0-314 15,2 4-306-15,-2 0 319 16,-2 3 118 0,0 3 152-16,0 3 233 15,0 1 273-15,-1 1-615 16,3 4-123-16,-2 0 387 15,-6 3-74-15,0 3 49 16,1 6 59-16,-2 3 173 16,-3-2-158-16,2 4 92 15,3 2-197-15,-2 2 65 16,1-2 82 0,4 2-42-16,4-4 203 15,-2 5-136-15,0 1 636 16,-1-2-161-16,6-2-32 15,1 7-30-15,0-1-240 16,-4-2-87-16,2 0-102 16,-2 3-32-16,0-5-588 15,-4 2 362-15,6-4 352 16,2 4 200 0,-2-1 116-16,2-4-5 15,1 0 191-15,-1-4 94 16,1 2-327-16,-1-4-282 15,2 1-158-15,-4-3-661 16,2 3-97-16,4-3 49 16,8-1 509-16,-8-3 34 15,7 1 135-15,-3-5 170 16,4 0 136 0,-8-2-83-16,14-2 6 15,-2-4 28-15,-1-3-80 16,-4-4-31-16,2-6-33 15,-5-2-103-15,-7 0 38 16,4-2 33-16,-5-3 18 16,2 5 6-16,-2 0 35 15,0-2 211-15,-4 8 135 16,-2 0-135 0,0 0-135-16,0 3-185 15,-2 1-309-15,0-4-366 16,0 9 175-16,4-2-34 15,0 1-219-15,-4 1 166 16,-1 1-188-16,0 3 238 16,1 0 117-16,0 2 266 15,2 0 222-15,-6 2-12 16,4 5-18 0,1 6 516-16,-3 5 303 15,4-1-53-15,0 2-456 16,-2 4-75-16,-1 1-153 15,1-3-38-15,-3 2-119 16,1-3 177-16,2-4 236 16,2 8 108-1,4-10 22-15,0 1-130 0,4 2-179 16,3-2-359 0,-3-2-494-16,3-3-1166 15,-1 1-429-15,1-5-1353 16,-1-1-281-16,-4-4-509 15</inkml:trace>
  <inkml:trace contextRef="#ctx0" brushRef="#br2" timeOffset="25840.92">7247 16552 13581 0,'0'0'3962'0,"-2"0"-831"0,0 0-1154 15,2 0-1194-15,-7-7-2216 16,3 3-2080 0,-4-2 886-16,-3 2-49 15,5 0 1249-15,-9 1 1395 16,2 3 773-16,11 3 763 15,-6-1 1236-15,6-2-888 16,-2 4-653-16,-3 3-73 16,-2 1-330-16,3 2-736 15,-4 5-247-15,-1-2-186 16,7-1 79 0,-5 6-858-16,5-4 339 15,4 1 659-15,2 6 674 16,0-4 382-16,-4 6-12 15,7-3 514-15,1-1-191 16,6-2-517-16,-7-7-333 16,3 1-348-16,2-5-244 15,4 0-1222-15,-8-2 342 16,0 1-472 0,2-5-109-16,6 2 469 15,-6-4 766-15,0-4 200 16,-2-5 44-16,1-13 68 15,-3-1 92-15,-4-7-81 16,2 5-608-16,4-3 468 16,-3 7 851-16,-1-23 2074 15,-2 27-1558 1,-5 3-302 0,1 2-526-16,2 3-48 15,-2 3-121-15,2 4 116 16,0 1 283-16,0 2-402 15,2 1-130-15,4 6-17 16,2 4-87-16,5 10-85 16,-2 5-142-16,-1-6 129 15,-6 4 117 1,4 4 81-16,4-5 292 16,-2-8 52-16,-4-1 95 15,2 0-264-15,-2-3 48 16,4-3 309-16,1-1 298 15,2-2-346-15,1-4-187 16,1-4-734-16,-1-4-496 16,2-5-446-16,-2-4-1170 15,-2 0-88-15,-3 7 1030 16,-3-1 748-16,1 7 687 16,-3 2 312-1,2 2 333-15,-2 8 1566 16,6 7 742-16,3 8-1000 15,-5 3 497-15,-8 5-503 16,2-3 263-16,0-9-581 16,2-7-14-16,0 1-288 15,0-4-498-15,-2-7-437 16,0 2-455 0,0-2 28-16,0-2 59 15,0 0 155-15,-2-13-127 16,-4-5-611-16,0 3 238 15,1-6 39-15,1 4-460 16,0 0-41-16,2 4 491 16,0 3 201-16,4-3 32 15,-2 4 60-15,6-1 24 16,3-1-177 0,-1 3 152-16,-6 1 252 15,9-3 47-15,2-1 36 16,-7 7-94-16,6 0-12 15,-5-1-1134-15,2 3 290 16,-1 4 316-16,2 7 92 16,-3 10 260-16,-5-4 145 15,-4 6 206 1,4 2 307-16,-2 0 601 16,6-6 111-16,0-2-16 15,5-2-273-15,-8-7-507 16,-3-4-533-16,0 3-638 15,2-5-462-15,-2 0 515 16,6-7 471-16,0-9-13 16,4-10 10-16,0 0 74 15,0-3-22-15,-6 3 227 16,4 5-26 0,1-4-235-16,-1 8-505 15,-1 2-21-15,-1 9-435 16,-4 2-354-16,1 4 853 15,1 6 129-15,-4 11 1161 16,4 8 943-16,2 1-351 16,-4 6 1001-16,2-3-552 15,5-1-49 1,2-3-793-16,-7-6-373 16,0-8-296-16,0-3-245 15,2 2-327-15,3-3-459 16,2-2 308-16,-1-10 358 15,5-3 82-15,0-14 150 16,-2-11-608-16,-3 3-374 16,-4 4-304-16,-4 1 351 15,0 10 126-15,1 5-201 16,-6 6 439 0,3 1 749-16,0 6-16 15,5 15 875-15,-1 8 1545 16,-6 6 329-16,-2 2-873 15,1-9-713-15,3-6-523 16,3-13-1291-16,-3-1-1746 16,0-5-2403-16,0-3-3911 15</inkml:trace>
  <inkml:trace contextRef="#ctx0" brushRef="#br2" timeOffset="26020.91">7803 16480 13068 0,'0'24'10694'0,"0"5"-5662"16,0 3-2777-1,-4-4-1312-15,2 1-3148 0,-2 0-5157 16,-4-7-2455 0</inkml:trace>
  <inkml:trace contextRef="#ctx0" brushRef="#br2" timeOffset="26686.03">7861 16669 2979 0,'11'-3'5435'0,"11"-1"2353"16,-8 2-2627-16,-8 2-2631 15,-4-2-967-15,0 2-1002 16,-2 0-1129 0,-8 11-1391-16,-10 1 545 15,2 5 183-15,-8 2 102 16,7 4 545-16,7 0 700 15,4-1 970-15,6-1 739 16,6-2 190-16,6-2-105 16,7 0-633-16,1-7-704 15,0-5-243-15,4-3-269 16,-7-4-35 0,-2-7-453-16,-4-4-1107 15,1-1-1160-15,-4 1 23 16,2-1-401-16,0 7 2036 15,8-2 832-15,8 5 1280 16,8 8 816-16,-9 7 471 16,-3 4 210-16,-3 10-480 15,1 5-109 1,-6 6-144-16,-10 0-998 16,-4 9-697-16,-9-5-70 15,-4 2-103-15,-8-2 76 16,-19-2 279-16,0-6-151 15,-1-2 211-15,5-5-228 16,5-6-99-16,-13-6-34 16,6-9-17-16,1-6-5 15,19-9-2-15,0-12-37 16,0-22-441 0,4-14-1304-16,4 0-265 15,10 0 812-15,10 6 860 16,10-4 863-16,-6 12 626 15,4 3 866-15,26 0-447 16,3 6-1002-16,3 8-346 16,-1 7-124-16,-9 4-40 15,3 4-15-15,-7 3-4 16,-9 7-3 0,-15-1-1-16,-5 4 1 15,4 2-1-15,-3 3 0 16,-4-1-436-16,-4 7-1441 15,0 1-2841-15,-4-1-3753 16</inkml:trace>
  <inkml:trace contextRef="#ctx0" brushRef="#br2" timeOffset="29159.63">6951 16976 2691 0,'0'0'6449'0,"-2"8"567"16,0 2-1941-16,-1 3-1980 15,1 4-1345-15,2 8-1368 16,-4 5-899-16,2 0-339 16,-3-3 217-16,5 11 465 15,9-10 552-15,-2 1 736 16,7 3-263 0,-4-7-315-16,-2-1-277 15,-2-5-25-15,4 0-101 16,-4-8-6-16,-4-7-67 15,0 2-173-15,-2-1-218 0,0-5-624 16,3 1-583-16,-1 2-274 16,0-3 209-16,-2 0-7 15,-4-11-1468-15,-7-10-981 16,1-17 170 0,4 8 812-16,-8-2 1540 15,-13-33 954 1,16 35 1717-16,5 11 398 15,2 0-5-15,0 2 465 16,-7 2-318-16,1 2-8 16,6 7 740-16,1 4-393 15,3-2-323-15,-2 2-208 16,2 0-751 0,-3 2-733-16,3 0-376 15,0 0-579-15,0 0-554 16,0-2 313-16,12 2-16 15,-6 0 690-15,0-3 556 16,5 3 530-16,-3-2 59 16,7 0-47-16,2 0-372 15,3 0-68-15,4-2-12 16,0 1 358 0,-5 2 13-16,2-2 290 15,-8 3-209-15,12-4 172 16,7 0-27-16,10-2-182 15,-10 1-427-15,-11 1-67 16,-2-2-510-16,-4 4 72 16,11-4-200-16,5 3-450 15,-3-1 103-15,-3-1 395 16,-4 1 442 0,-6 4 2-16,-2 3 137 15,-1-3 608-15,9 1 65 16,1 2-178-16,-8-1-162 15,-1 2 83-15,-6-4-274 16,-3 3-94-16,-4 5-27 16,2-2 186-16,-2 0 199 15,-2 10-80-15,-2-4-180 16,0 1 18 0,6 3-323-16,-2 6 7 15,2 3 25-15,2 1 85 16,-2 1 4-16,-4 2 127 15,2 3 7-15,2-19-87 16,-4 10 53-16,-4 5-173 0,-1-7 29 16,5-4 106-1,-3-2 93-15,3-9 45 0,-4 3-337 16,0-7-467 0,-4-4-69-16,-6-5-713 15,2 1-1398-15,1-9 265 16,-4 0 47-16,-10 0 220 15,-11-2 1035-15,10 7 873 16,-1 4 1002-16,1 1 1253 16,6 3 512-16,10 2 762 15,-9 2-293-15,-11-2-3 16,0 3-526 0,5-3-756-16,12 2-835 15,-2-2-263-15,9 2-328 16,-6 0-248-16,-4 2-894 15,7-2-804-15,-1 0-75 16,3-2 943-16,0 3 466 16,7-3 528-16,-2 0 25 15,4 0-70 1,0 0-13-16,0 0-499 16,0 0-715-16,-2 0-737 15,0 0 329-15,2 0 536 16,0 0 335-16,0 0 384 15,0 0 1039-15,0 0 130 16,0 0-204-16,0 0-298 16,0-3-304-16,2 3-216 15,-2 0-178-15,2 0-154 16,-2 0 638 0,2 0 75-16,-2 0-52 15,0 0-40-15,0 0 187 16,0 0 351-16,0 0-31 15,0 0-59-15,0 0-50 16,0 0-109-16,0 0-18 16,0 0-117-16,0 0-55 15,0 0-37-15,0 0-60 16,0 0-40 0,0 0-30-16,0 0-43 15,0 0-8-15,0 0-115 16,0 0-232-16,0 0-164 15,0 0-285-15,0 0-68 16,2 0-128-16,-2 0 381 16,0 0 220-16,0 0 223 15,0 0 423-15,0 0 47 16,0 0-41 0,0 0-86-16,0 0-54 0,0 0-51 15,0 0-1160-15,0 0-778 16,-2 0-1717-16</inkml:trace>
  <inkml:trace contextRef="#ctx0" brushRef="#br2" timeOffset="30526.88">7537 17320 22998 0,'0'3'2020'0,"0"-2"-220"15,4 6-131-15,4 6-696 16,-3-7-1100-16,4 13-937 15,-1-4-200 1,0 6 180-16,-2 4 716 16,-2 3 655-16,1 0 555 15,6 3 86-15,-5-6-37 16,-6-3-229-16,4-5-352 16,2-3-173-1,3-1-406-15,-9-6-636 16,2-3-1501-16,-2-4-439 15,2 4-345-15,-2-4 922 16,0 0 271-16,0-8 294 16,5-5 735-16,-5-2 219 15,0-2 491-15,-5-2 350 16,7 6 252-16,-2 3 338 16,0 1 713-1,-2 3 1151-15,2 6-420 16,-4 0-1699-16,-2 17-96 15,-3 8-475-15,9 9 733 16,0 7 813-16,6-6 1895 16,-8 1-984-16,0-10-818 15,0-16-700-15,2-6-1300 16,0-4 257 0,6-14-440-16,-8-25-1422 15,0-5-1295-15,4 2-1358 16,7 4 1473-16,-13 8-102 15,10 7 663-15,-2 4 427 16,-4 10 1230-16,0 5 2075 16,0 4 783-16,-2 2 408 15,6 11 2216-15,-8 2 236 16,8 2-64 0,-1-1-1257-16,-1 0-1090 15,0-6-982-15,2-1-623 16,0-3-323-16,1-2-215 15,-3-2-529-15,0 0-718 16,-2-2-368-16,0 0-676 16,0 0 684-16,0-4-945 15,-6-13 100-15,3 11 1364 16,1-11-35-16,0-7 186 0,4-3 317 16,0 17 72-1,3 1 1079-15,-1 5 880 16,8 8 307-16,4 11 232 15,34 44 4111 1,-29-27-3743-16,-3-7-1272 16,-6-2-655-16,0-7-272 15,-8-8-124 1,3-2-188-16,-5-6-335 16,7-8-551-16,1-15-849 15,-3-5-1814-15,-12-6-1158 16,3-2-68-16,2-2 394 15,-4 10 1999-15,4 5 1564 16,0 9 1930-16,-6 1 1416 16,2 4 1468-16,-1 7-548 15,3 0-91-15,-5 4-792 16,-1 5 129 0,2 3-1749-16,0-2-64 15,-7 3 20-15,2-3-180 16,7 1-65-16,-2-1-94 15,2-4 44-15,-1 1-124 16,1 1-63-16,2-4-155 16,0 1-70-16,-2-1-26 15,-5 0-75-15,-6-2-283 16,-3 0-871 0,-2 2-574-16,8 2-1586 15,1 2-2359-15,5-2-203 16</inkml:trace>
  <inkml:trace contextRef="#ctx0" brushRef="#br2" timeOffset="47133.54">31334 16141 15439 0,'0'0'2915'16,"0"0"94"-16,0 0-608 15,0 0-707-15,0 0-322 16,0-2-218-16,0 2-85 16,0 0-320-16,3 2-158 15,7 2 42-15,-1 3-347 16,-5-1-104-16,-2 7-13 16,7 2-19-1,1 0 103-15,0 2 71 16,0 2-128-16,2 2-100 15,-2-4-53-15,-3 0-21 16,-1 4-12-16,1 0-5 16,3 7-2-16,5-1-2 15,-5-8 0-15,-5 2-1 16,1 1 0 0,3-1 0-16,1-5 0 15,0 6 0-15,-3-5 0 16,-7 1 0-16,3 2 0 15,-1-4 0-15,2 0 0 16,0 5 0-16,-2-5 0 16,-4 4 0-1,2 1 0-15,0-2 0 0,-4 2 0 16,-2 0 0-16,1 1 0 31,5-1 0-31,-3 4 0 0,-1-6 0 16,2 2 0-16,-4-2 0 15,0 5 0-15,-2 1 0 16,1-2 0-16,3-4 0 16,1 4 0-16,3-14 0 15,-6 6 0-15,0 0 0 0,0 3 0 16,4 2 0 0,-1 1 0-16,1-2 0 15,0 0 0-15,0-2 0 16,6-4 0-16,-2-1 0 15,3 9 0 1,-7-8 0-16,-1-7 0 16,1 1 0-16,2-1 0 15,0-2-175 1,0 1-1312-16,2-5-2183 16,-2 0-2637-16</inkml:trace>
  <inkml:trace contextRef="#ctx0" brushRef="#br2" timeOffset="47679.52">31205 15362 32415 0,'-4'7'163'16,"-6"8"-70"-16,2-1-46 16,-4 3-21-1,4 6-14-15,2 1-813 0,6-5 118 16,4 0-194 0,6 2 490-16,6-2 424 15,2 0 311-15,2-4 299 16,-4-4 55-16,-1-1-194 15,-2-1-256-15,2-3-124 16,-3 0-37 0,-6-3-72-16,-4-2-10 15,-2-2-2-15,-4-10-2 16,-10 3-162 0,-7-1 25-16,-13 5-122 15,-6 8-263-15,6 7-990 16,9 3-1627-16,9 2-2975 15,6 2-3213-15</inkml:trace>
  <inkml:trace contextRef="#ctx0" brushRef="#br2" timeOffset="48912.6">31728 16156 673 0,'4'2'8550'0,"5"2"633"16,-5 3-3265-16,3-1-2214 15,-3 0-1709-15,0 1-841 16,2 6-399 0,-1 1-353-16,-3 5-185 15,-4 7-100-15,-7 8-208 16,7 6-291-16,-10 55-320 15,7-48 599 1,-1 10 247-16,-5 3 139 16,-1-8 222-1,-2-3-246-15,4 8-139 0,4-10-79 16,2-9-26 0,-7 2-9-16,9 0-4 15,4-12-1-15,-2-7 0 16,-4-9-1-16,8 1 0 15,3-6 0-15,-5-3 0 16,-2-2 0-16,8-6 0 16,4-15 0-16,2-20 0 15,-2-5 0-15,3-5-100 16,-6-8-813 0,1-6-964-16,-2-1 787 15,1-3 405-15,-1-3 462 16,-2 8 257-16,-10-3 20 15,0 8 255-15,2-5 323 16,0 15 112-16,-9 5 80 16,5 8-148-16,0 7-228 15,2 8-86-15,2 11-124 16,-1 3-29 0,3 5-90-16,0 0-42 15,0 6-6-15,9 16-22 0,3 20-24 16,3 7-14-16,5 10-7 15,-8 0-3-15,7 9 0 16,-8-4-1 0,1 1 0-16,5-1 0 0,0-1 0 15,4 0 0 1,-3-5 0-16,0-10 0 16,6-3 0-16,-1 1 0 15,-11-16 0-15,0-7 0 16,-4-3 0-16,0-10 0 15,5-4 0-15,0-4 0 16,6-12 0-16,1-20 0 16,-4-18 0-16,-8-10 0 15,0-3 0-15,-6-20 0 16,2 9 0 0,-4-23 0-16,-4 11 0 15,0-9 0-15,0 1 0 16,0 3 0-16,-4 9 0 15,1 4 0-15,3 13 0 16,-3 16 0-16,1 19 0 16,4 15 0-16,2 9 0 15,0 4 0-15,4 22 0 16,4 20 0 0,8 7 0-16,0-9 0 15,2-8-2080-15,-8-9-3762 16,-4-13-3729-16</inkml:trace>
  <inkml:trace contextRef="#ctx0" brushRef="#br2" timeOffset="50861.12">32465 16109 14702 0,'0'0'2891'16,"2"-1"353"-16,4-2-727 16,1-3-881-16,-3 2-750 15,-2 2-324-15,0 0-279 16,-2-1-357-16,-8 3-540 15,-17 9-389-15,-1 8-335 16,0 2 74-16,-11 10 863 16,-1 3 908-16,-11 7 405 15,13 3 29-15,10-4 524 16,5 8-255 0,6-5-216-16,11 3-36 15,6-6 126-15,4 2-352 16,-1 1-357-16,8-6 112 15,3 0-175-15,10-4 49 16,1-3-124-16,9 2-135 16,2-7-63-1,-14-9-26-15,1-7-7 0,5-1-3 16,0-2-2 0,-7-4 0-16,2-6-1 15,-4-1 0-15,-1-11 0 16,-2-10 0-1,-3-2 0-15,-7 3-576 0,14-11-495 16,22-44-2292 0,-33 47 2622-16,-1-9 361 15,-5 4 407 1,-5 2 378-16,-20-26 2033 16,6 31-1311-1,2 1-418-15,-6 8-270 16,1-3-61-16,4 4-169 15,5 1-34-15,2 5-143 16,-1 1 49-16,-1 0-105 16,6-7-343-1,0 13 305 1,-2-3-3-16,-3 6 102 16,2 3-43-16,1 0 138 15,4 4 19-15,0-2-47 16,0 2-34-16,-2 0-26 15,2 0-10-15,0 0-11 16,4 5-7-16,0-1-6 16,-1-3-5-16,-1 4-2 15,1 3 1 1,3-3-3 0,-4-1-1-16,-2-4 0 0,0 2 1 15,0-2-1 1,0 2 0-16,2-2 0 15,2 0 0-15,-4 0 0 16,0 0 0-16,2 0 0 16,-2 0 0-16,2 0 0 15,-2 0 0-15,0-2 0 16,0 2 0 0,0 0 0-16,0 0 0 15,0 0 0-15,0 0 0 16,-2-4 0-16,0-4 0 15,-2-5-600-15,0-4-647 16,-5-9-606-16,-10 1-539 16,-2 1-897-16,-11 4-2314 15,-16 3-1498-15</inkml:trace>
  <inkml:trace contextRef="#ctx0" brushRef="#br2" timeOffset="51443.62">32719 16776 30685 0,'0'0'786'0,"5"5"-268"16,-1-1-215-16,-2 2-110 15,6 2-63-15,2 4-57 16,-3-7-39 0,-5 2-16-16,-4 1-118 15,-7 3-144-15,1-1 419 16,-9 1-74-16,2-2-54 15,1 1-23-15,11 1-13 16,10 4-5-16,5 1-2 16,-6-3-3-1,6-4 0-15,-10-7-1 0,0 2 1 16,-4 0-1 0,-22 5 0-16,-16 6 0 15,13-5 0-15,9-6 0 16,8 1 0-16,6 3-680 15,8-2-4202-15,18-1-7387 16</inkml:trace>
  <inkml:trace contextRef="#ctx0" brushRef="#br2" timeOffset="52599.75">31209 17437 27770 0,'-6'0'1773'0,"4"0"-599"16,0 0-494-16,2 0-186 16,0 0-171-16,15 0-59 15,4-4-117-15,13 1-65 16,5 2-47-16,11 1-20 15,19 1-8-15,-12 2-5 16,-7-1-1-16,12 4-1 16,12-2 0-16,6 3 0 15,-12-1 0-15,8 1 0 16,21-2 0 0,-14-2 0-16,21-3 0 15,-9 4 0-15,4-2 0 16,-16-2 0-16,8 2 0 15,-7-2 0-15,17 2 0 16,-33-2 0-16,6-4 0 16,-13 2 0-16,-21-5 0 15,-14 3 0-15,1-4 0 16,-6-1 0 0,-13 1 0-16,-8-4 0 15,-10-5 0-15,-10-5 0 16,-16 1 0-16,-23 0 0 15,-9 4 0-15,3-4-239 16,-22 2 23-16,-4 0 175 16,4 8 393-16,-9 5-249 15,-14 6-73-15,15 0-22 16,-5 8-6 0,15 13-1-16,11 7-1 15,12-5 0-15,-10 5 0 16,27-1 0-16,10 0 0 15,5-1 0-15,8 0 0 16,-1-3 0-16,8-2 0 16,7-6-721-16,-1-2-4783 15,5-9-4751-15</inkml:trace>
  <inkml:trace contextRef="#ctx0" brushRef="#br2" timeOffset="67528.89">12380 8921 3235 0,'0'0'1892'15,"0"0"-175"-15,0 0 42 16,0 0-452-16,-2 3-33 15,-4-3-912 1,0-3-67-16,-8 3-127 16,-2-4 58-16,7 2-132 15,-4 2 85-15,0 0-172 0,3 0 206 16,-10 2 297 0,2 2-21-16,5-4 1400 15,7 5 26-15,4-5-938 16,2 0-163-16,15 2 963 15,15 4 263-15,-3-4-720 16,-8 2-456-16,6 3-354 16,-5-1-453-16,0 5-491 15,0-1-445-15,-6 8-884 16,-3 3-20 0,-5-2 52-16,-4-2-595 15,0-5 673-15,-2-4 574 16,4-1 701-16,-2-5 1325 15,1 2 1203-15,-1-4-291 16,-2 0 123-16,0 0-192 16,0-4-1073-16,-13-6-267 15,1 1-124-15,3 0-43 16,3 3 66 0,-5-5 67-16,0 3 97 15,3-2-65-15,4 1-415 16,-2 0-495-16,-2-1-1327 15,-2-1-230-15,2 7 805 16,-2-2 552-16,5 4 336 16,1 0 167-16,0 4 333 15,4 0 427-15,2 4 586 16,2 3 304 0,1-3-18-16,-1 0-8 15,8-2-334-15,-6-1-569 16,4-1-235-16,-8-2-365 15,2 0-696-15,-2-6-1122 16,2-9-3000-16,-4 0 683 16,0-4 760-16,0 11 2061 15,-2 3 2041-15,-8 5 73 16,-8 19 1408 0,4 15 1681-16,1 2 74 15,4-2-1126-15,-1 0-1238 16,5-11-283-16,1-4-599 15,4-8-301-15,2-3-202 16,0 1-80-16,3-7-462 16,-3 0-118-16,8-13 0 15,-1-10-1073-15,-1-9-517 16,1-4 15 0,1 5 948-16,-4 6 619 15,-1 10 439-15,-2 5 260 16,-1 5 230-16,-2 3-177 15,2 11 757-15,-9 18 1103 16,0 3-394-16,1 6-741 16,2-8-514-16,2-2-126 15,0-7-365 1,0-4 106-16,2-5-308 16,4 1-226-1,2-11 116-15,4-4 62 16,0-4 175-16,4-15-89 15,14-11 53-15,5-6 259 16,-3-9 144-16,-2-4-90 16,-7 11-395-16,-9 19 209 15,-3 9-29-15,-2 5-228 16,-7 7-399 0,0 4-354-16,-7 22 516 15,-8 10 687-15,-2 4-73 16,-2 2 781-16,2-4 321 15,9-8-685-15,0-7-166 16,6-14-350-16,4 1-150 16,4-6 89-16,4-5 349 15,10-21-275-15,-4-9-242 16,1-20-127 0,-4 6-307-16,-4 9-253 15,3 13 623-15,-4 8 96 16,-4 9-114-16,-4 6 106 15,0 0-124-15,-2 15 125 16,0 6 121-16,-2 8 354 16,-2 7 1492-16,4-4 497 15,0-11-649-15,2 2-967 16,4-7-379 0,-2-6-1107-16,0-6-2949 15,0-4-4495-15</inkml:trace>
  <inkml:trace contextRef="#ctx0" brushRef="#br2" timeOffset="68811.41">11698 8983 17168 0,'0'0'487'0,"-6"2"326"0,4 0-525 15,-7 4-151 1,1 7-212-16,4 4 4 16,-2 4 316-16,2 3 778 15,-2 1 294-15,6 0 93 16,-4-4-714-16,0-8-420 15,2-2 29-15,-2-5-116 16,4-1 142-16,0-4-32 16,-2 2 233-16,0-3-451 15,0-4-392-15,2-13-649 16,2-11 19 0,2-4-657-16,-4-10-1076 15,-2-3-560-15,2 5 931 16,0 10 1728-16,-6 11 1152 15,-1 7 1773-15,3 6 77 16,4 3-1136-16,-4 6-317 16,-7 15 1056-16,5 12 673 15,8 0-1210 1,4 8-716-16,-4-2-286 16,0 0 140-16,5-5 171 15,-5-5-197-15,2-3-551 16,-8-4-144-16,4-4-719 15,-2-9 135-15,2-2-334 16,0-1 199-16,0-3-681 16,-7-21 163-1,5-9 721-15,-2-16 1107 16,2-12-220-16,4 12-934 16,4 3 288-16,-6 18 341 15,0 8 29-15,-2 6 524 16,2 7-168-16,0 2-67 15,-4 6-105-15,-9 21-60 16,5 7 357-16,0 9 243 16,-8 1 319-16,4-4-237 15,4-4-39 1,8-15-476-16,0-2-281 16,0-4-157-16,-2-7-57 15,0-4 50-15,2-2-86 16,-7-13-1203-16,0-18-645 15,7-7 1121-15,-4-9 1321 16,2-12 119-16,8-5-225 16,3 26 899-1,-2 23 210-15,-5 7 423 16,-2 6-705-16,0 2-302 16,-11 31 69-16,-6 21-231 15,0 2-633-15,5-3-1534 16,0 6-1356-16,10-12-2416 15,7-5-3763-15</inkml:trace>
  <inkml:trace contextRef="#ctx0" brushRef="#br2" timeOffset="70214.55">13802 9171 8488 0,'0'0'1513'0,"0"0"-404"16,-6-6-97-16,2 6-245 15,0-2 776-15,-10 2 594 16,0 4-67-16,-1 9-533 16,0 1-783-16,-8 10-432 15,4 1-277-15,8 0-324 16,3-1 91 0,8-18 377-1,6-8 1460-15,22-21 410 16,2-13-1390-16,-9-11-1010 15,-7 5-372-15,-3 2-981 16,-2 1 60-16,-5 29 1119 16,-2-13-178-16,-2 6 1079 0,4 6 223 15,-4 5-72-15,-4 1 785 16,-6 5-384 0,-16 20-14-16,-2 3 104 15,5 5 105-15,7 1-364 16,0-4-394-16,2-3-250 15,7-16 86-15,7-4-249 16,-2 3 37-16,0-4-235 16,2-1 147-16,4-8-58 15,11-13-32 1,1-2-254-16,0 2-366 16,-6-1 232-16,9-1 323 15,-8 4 79-15,-5 8 473 16,-4 5 596-16,1 6-518 15,-6 6 237-15,1 26 251 16,-4 8 540-16,-5 0-482 16,5 3-364-16,6-9-223 15,-2-9-382 1,6-8-208-16,5-4-255 16,-3-4-279-16,2-8 369 15,13-7 187-15,-5-11 26 16,-4-6-266-16,9-1 282 15,-4 8-101-15,-2-4-33 16,-5 10 209-16,1 4-304 16,-4 3 6-16,-1 10 574 15,-2 10 340 1,0 8 244-16,-8-3 76 16,0-1 42-16,2-5-569 15,2 0-263-15,4-6-169 16,4 0-87-16,3-5-516 15,6-5 38-15,2-9 232 16,0-10 115-16,2-2-178 16,-5-4 761-1,2-1 220-15,3 3 167 0,-6 6-435 16,-6 7-61 0,-3 3-418-16,-6 7 61 15,-6 13 63-15,-9 23 221 16,4-2 24-16,-2 3 13 15,5 0-300-15,2-12-1175 16,4-10-1206-16,4 0 22 16,6-1-2545-16</inkml:trace>
  <inkml:trace contextRef="#ctx0" brushRef="#br2" timeOffset="71197.1">14780 9235 21524 0,'0'0'1588'0,"0"2"223"16,-8 8-242-16,1 7-477 15,1 7-584-15,-4 1-491 16,-1-8-177-16,2 6 81 15,3 0-24-15,0-6 216 16,2-8-313-16,4-5-572 16,-2-2 515-16,2 0 440 15,0-2 29 1,2-8 66-16,4-18-227 16,6-5-412-16,-1-10-502 15,2 10-114-15,0 8 369 16,-1 6 492-16,1 8 157 15,-9 7-230-15,1 4 387 16,-3 21 421-16,-13 11 1473 16,-4 2-322-16,7-4-466 15,-1-6-406 1,1-5-300-16,8-9-375 16,-2-3-450-16,0-7-435 15,2 0-16-15,4-2 112 16,2-8 158-16,7-12-312 15,12-16 289-15,-2 9 339 16,-1 1 423-16,-8 3 398 16,-3 6 220-16,-1 7-355 15,-10 7-204-15,0 2-240 16,0 1-10 0,-10 14-116-16,1 20-66 15,-11 2 487-15,-2 2 64 16,10-6-320-16,10-8-116 15,4-12-41-15,0 1-17 16,2-7-7-16,0-6-3 16,15-15-2-16,4-19-1 15,-2-1-1 1,1-4-1-16,-10-5 0 16,-6 12 0-16,-4 13 0 15,1 11 0-15,-3 1-442 16,0 7-92-16,-11 13-2954 15,-3 31-1549-15,1 1-986 16,9 6-603-16</inkml:trace>
  <inkml:trace contextRef="#ctx0" brushRef="#br2" timeOffset="72218.48">15849 8934 3748 0,'0'0'9182'0,"5"5"-2605"0,-5 0-2321 15,0 8-1598-15,-7 11-1100 16,-2 5-1424 0,11-1-447-16,0 3-405 15,-6-1 599-15,2-7 5 16,0-10-610-16,2-4 180 15,0-5 126-15,2-4 1020 16,6-6 346-16,12-18-196 16,-5-3-633-16,4-5-48 15,0 0-191 1,-9 7-154-16,-2 12 365 16,2 7 159-16,-8 6-319 15,0 9 151-15,-14 26 273 16,-2 6 804-16,0 1-60 15,-2-6-624-15,14-13-215 16,0-6-271-16,0-4 138 16,6-5-363-16,5-4 163 15,8-8-65 1,-1-15-268-16,6-8-393 16,-10-5 411-16,12-4 376 15,-9 6-360-15,-5 9 224 16,-2 6 338-16,0 9 262 15,-6 6-366-15,2 15 490 16,-8 17 406-16,-10 6-186 16,6-9-324-1,2 3-201-15,0-13-51 16,6-8-152-16,0-5-73 16,0-4-134-16,0 0 67 15,4-6 77-15,4-9-286 16,2-3-386-16,6-6 25 15,-4 5 130-15,1 0-364 16,-2 2 94-16,3 3 275 16,-1 3 109-1,-3 3 64-15,-6 6 208 16,6 6 411-16,-4 15 508 16,-4 11 949-16,-4 8-472 15,-2-4-452-15,-8 0-613 16,2-6-67-16,6-7-83 15,4-8-185-15,4-6-140 16,2-3-505-16,8-6-636 16,-2-15-2700-1,2-12-4774-15</inkml:trace>
  <inkml:trace contextRef="#ctx0" brushRef="#br2" timeOffset="73183.46">16920 9194 12652 0,'0'0'4674'0,"0"0"-659"16,0 0-1035-16,-4 0-541 16,0 3-676-16,-3 7-536 15,-3 5-759-15,-1 8-1047 16,-3 7-37 0,2-5 175-16,12-10-723 15,2 0-531-15,8-5 341 16,-4-5 1160-16,6-5-154 15,7-11 552-15,9-14 113 16,-4-7 190-16,-6 5 649 16,-1-3-440-1,0 4-953-15,-10 16 23 16,-3 6 449-16,0 2-328 16,0 6 53-16,-6 25 986 15,-2 14 77-15,-7 3-144 16,-4-3-441-16,5-11-255 15,8-11-99-15,4-9-256 16,0-3-69-16,2-3-4 16,18-6-172-16,0-15 315 15,-4-10-19 1,2-5-46-16,4-6 212 16,-5-4-127-16,3-2-146 15,-2 12 69-15,-2 9-94 16,-8 12 513-16,-4 8-283 15,-2 5-18-15,-4 15 247 16,-4 15 764-16,-4-2-447 16,0-1-298-16,3-12-173 15,5 0-42 1,3-4 165-16,1-9-300 16,6 3-254-16,7-11 16 15,4-9 294-15,-4-12-109 16,7-13 442-16,5-7 931 15,3-5-9 1,4-3-681-16,-11 9-178 0,-10 25-225 16,-9 8-33-1,-4 5-37-15,-2 4-11 0,7 17-4 16,-9 12-7 0,-15 7-6-16,2 0-2 15,2-2-1-15,-1-4-461 16,4-7-1792-16,6-6-3623 15,0-6-3896-15</inkml:trace>
  <inkml:trace contextRef="#ctx0" brushRef="#br2" timeOffset="78400.31">18349 8915 21620 0,'0'-2'995'0,"-4"-7"-518"16,-5-1-226-16,1 1-204 15,-18 1-241-15,3 6-356 16,-6 0-170 0,-3 2 386-16,4 4 227 0,1-2 182 15,9 2 19 1,8-2 285-16,10-2 355 16,0 0-53-16,22 7 515 15,4-3-40-15,9-4 104 16,-1 0-387-16,-4 0 83 15,-4 0-185-15,7 4-349 16,-11-1-292-16,-12-2-147 16,-6 2-439-1,0-1 18-15,-8 6 110 16,-16 7 64-16,-7 0 37 16,-15-5-127-16,-9 5-517 15,19-8-51-15,12-3 357 16,6 2 182-16,6-2 150 15,6-4 193-15,-2 3 247 16,4-3 476-16,4 0 344 16,18 1 238-16,13-1 51 15,5 0-459 1,-8-1-371-16,-11 1-230 16,-13-3-155-16,-4 3-121 15,1 0-85-15,-12 7 35 16,-14 6 307-16,-7 3 360 15,4 1-143-15,0-4-257 16,13-4-119-16,7-1-41 16,2-4-17-16,10 7-6 15,5-3-6 1,4 1-4-16,8-3-2 16,-9-2-488-1,-12-1-1271-15,2-3-2612 0,-6 0-2286 16</inkml:trace>
  <inkml:trace contextRef="#ctx0" brushRef="#br2" timeOffset="79113.28">19322 8877 2466 0,'0'0'10155'0,"5"0"-3986"0,-5 0-2891 15,0 0-729 1,-7 2-543-16,-23 2-733 16,-3 3-643-16,-11 3-920 15,8 1 91-15,2 2 174 16,17-5 146-16,8-1-112 15,9-6 32-15,5 3 227 16,16 3 184-16,21-5 12 16,2-4 28-16,-5 0 318 15,-3 4-25-15,12-4-284 16,-19 4-279 0,-13-2-93-16,-8 2-31 15,-8-2-196-15,-19 13 54 16,-21 8-79-16,-6-2 135 15,-1 4-28-15,11-6 11 16,14-6-408-16,14-5-114 16,4-1-1-16,8 3 641 15,18 2 782 1,13-1-253-16,7-3-293 16,-10-4-290-16,-10 5-34 15,-12-5-15-15,-3 0-5 16,-7 2-2-16,-20 16-1 15,-3-4-1-15,-3-1 0 16,1 2-1-16,12-9 0 16,3 1-595-16,4-2-1210 15,3-2-1993 1,6 4-3163-16</inkml:trace>
  <inkml:trace contextRef="#ctx0" brushRef="#br2" timeOffset="83811.51">20597 8511 18610 0,'-4'-15'4502'0,"-9"-17"-1926"16,2 3-1199-16,-4-7-554 15,-1 2-628-15,-2 2-172 16,-2 0-221-16,-6 1-536 16,1-1-420-1,-3 2-93-15,-10 3-272 16,8 7 748-16,-11 4 577 16,-4 3 38-16,11 5 380 15,-10 8 839-15,-1 8 412 16,1 5-373-16,-1 10-109 15,13 6-281-15,8 10 150 16,0 5 51-16,-11 9 156 16,-1 4-484-16,7 4-197 15,-1-1-89-15,-2 10 110 16,8-9-391 0,-4 7 336-16,2 1-239 15,7 2-79-15,3 5-24 16,2-2-9-16,12 2-2 15,6 2 0-15,10-8-1 16,6 0 0-16,2-4 0 16,-1-1 0-1,9 1 0-15,-3-9 0 16,19 0 0-16,4-6 0 16,-8-15 0-16,-9-6 0 15,5-7 0-15,13-8 0 16,-6-11 0-16,-7-6 0 15,10-9 0-15,8-12 0 16,-3-5 0-16,-11-12 0 16,5-9 0-16,10-8 0 15,-21 2 0 1,-6-8 0-16,-5 2 0 16,-2-11 0-16,-2-3 0 15,-7 4 0-15,2-4 0 16,-8 1 0-16,-6-2 0 15,-4 6 0-15,-8-6 0 16,2 4 0-16,-12 4 0 16,-3-4 0-16,2 9 0 15,0 10 0 1,-9-2 0-16,-17 6 0 16,5 5 0-16,4 12 0 15,-11 0 0-15,-19 0 0 16,15 11-1449-16,-10 6-6026 15,-11 7-7886-15</inkml:trace>
  <inkml:trace contextRef="#ctx0" brushRef="#br2" timeOffset="86433.97">7641 10545 5637 0,'0'0'4991'0,"0"2"-1364"16,-5 6-844-16,3 9-779 15,2-8-1170-15,-2 10 302 0,0 5-500 16,2 5-256-16,0 9 440 15,-2 15 516-15,2-4 184 16,6 8-523-16,-4 6 237 16,1-4-133-16,1 5 134 15,0 1-316-15,-2-5-415 16,3-3-142 0,-5-6-176-16,-3-13-235 15,1-8-620-15,2-12-1338 16,-2-11-1594-16,2-3-1767 15,-2-6-2192-15</inkml:trace>
  <inkml:trace contextRef="#ctx0" brushRef="#br2" timeOffset="87269.59">7649 10378 20179 0,'0'0'1934'0,"0"0"-364"16,0 0-184-16,0 0-423 15,0 0-153-15,7-2-34 16,7 0 4-16,10-5-334 16,5 1-295-16,-5 2-17 15,-4 0-125 1,-2 1-84-16,5 3-47 16,2 0-81-16,3 3 96 15,1-2 1-15,5 6 21 16,-13-3-129-16,-3 0-61 15,2 3 16-15,0-1 153 16,-10 2 102-16,3-1-59 16,2 1 29-16,-2 5-31 15,-1-1 96-15,-2 1 16 16,0 9 162 0,-4-5-291-16,2 4 41 15,4 2 91-15,-1 4 79 16,-4 1-72-16,-3-1-120 15,0 7 127-15,2 0 217 16,-1 4 207-16,-1 5 103 16,-2-3-39-1,4 2-12-15,-4 2-133 16,0 5 17-16,3-6-232 16,1 3 25-16,-6-2 40 15,-2 1-215-15,0-11-9 16,-5 0-18-16,3-5 44 15,-4-3 126-15,4-1-69 16,4 0-166-16,-2-3 27 16,-3-5-193-1,-7 4-229-15,-30 17-565 16,12-21 287 0,0-2-248-16,-3-5 404 15,-6 3 242-15,-11-5 430 16,2-5 708-16,15 1 227 15,7-4-279-15,-4 0 146 16,-5 2-178-16,1-4-432 16,2-2-168-16,3 1-75 15,7 2-147 1,4-2-516-16,-2-1-1716 16,1 2-2434-16,-6 2-2822 15,6-2-797-15</inkml:trace>
  <inkml:trace contextRef="#ctx0" brushRef="#br2" timeOffset="87737.58">7676 10354 18065 0,'0'0'1165'0,"0"0"-585"15,0 0-778-15,-6 13-276 16,4 13 225-16,-4 5 236 16,-2 10 314-16,5 12 531 15,6 8 1304-15,-1 11 569 16,-9 8-818 0,5-1-447-16,2 5 71 15,0-1-147-15,2-7-608 16,-2-4-344-1,0-7-93-15,0-12-337 0,-2-8-27 16,-2-22-293-16,0-8-871 16,-3-9-1048-16,1-8-1496 15,-13-34-4532 1,11-16-2171-16</inkml:trace>
  <inkml:trace contextRef="#ctx0" brushRef="#br2" timeOffset="88616.42">7793 10384 32543 0,'0'2'-13'0,"-2"9"-482"16,-12 12-178-16,-25 7-382 15,-3-5-873-15,10-6-382 16,11-4-557-16,8-5 1313 16,4 1 446-1,7-2 854-15,13 1 2006 16,10-1 514-16,20-7-54 16,3-9-85-16,-3-1-446 15,-1-2-354-15,-5 1-674 16,-7 1-395-16,-14 3-159 15,-10 3-59-15,-4 2-65 16,-26 4-713-16,-11 5-993 16,-1 6 478-1,-8 6 367-15,-1-2 374 16,7 0 447-16,23-6 226 16,9-5 410-16,3 1 629 15,12 5 435-15,16-1-704 16,19-4-455-16,3-8-291 15,-5-5-115-15,9-2-41 16,-7 0-18-16,-4-1-7 16,-10 1-2-1,-18 2-115-15,-8 1-735 16,1 3-327-16,-3 7-212 16,-26 21-204-16,-17 1 130 15,-1 9 240-15,11 5 292 16,1-7 640-16,-11 4 983 15,11-2 1254-15,10-11 249 16,8-6-447-16,10-8-596 16,10-2-560-16,20 0-217 15,14-11-196-15,-10-9-114 16,10-10-35 0,15-6-18-16,-4 3-10 15,2 1-2-15,-11 4-100 16,-6 2-639-16,-17 9 334 15,-13 4-51-15,-6 4 134 16,-6 11 187-16,-23 16 324 16,-7 11 444-1,-7 5 189-15,-14 3-485 16,12-7-236-16,18 1-69 16,8-1-22-16,4-18-8 15,1 0-2-15,8-6-1 16,6-2 0-16,4 0-1 15,2-5 0-15,0-1 0 16,20-3 0-16,3-2 0 16,1-4 0-16,-2-2-1036 15,-6-2-2590-15,0 2-4442 16</inkml:trace>
  <inkml:trace contextRef="#ctx0" brushRef="#br2" timeOffset="108135.13">25511 190 20884 0,'-2'-4'3823'0,"2"-6"-2069"15,2 1-649-15,-2-2-572 16,0 1-1081-16,-4-3-902 15,-6 0-457-15,-5 3 792 16,-4 1 924-16,-13 3 871 16,-8 2 416-16,-17 0 408 15,36 4-584-15,-7 6 41 16,-10 9 80 0,0-3-589-16,0 5-109 15,6 0-231-15,9 2 111 16,6 2-301-16,9 3-26 15,4-3 57-15,-1 0-25 16,3 9 0-16,4-7 143 16,13 2 198-16,13 5-65 15,5 2-259-15,27-2 96 16,-20-5-147 0,11 4 188-16,14-1-139 15,3-3 60-15,-11 5 62 16,-2-1-107-16,0-3 321 15,-23 0-18-15,2-1 78 16,-16-2-251-16,-2 2-14 16,-8 3-77-16,-10 1-16 15,-15 1 10-15,-4-2 24 16,-9-1-9 0,-21-1 39-16,-10-7 34 15,6-7 91-15,-9-1-64 16,-14-13-47-16,19-7 145 15,-14-5-172-15,12-8 105 16,9-5-92 0,-1 0-320-16,-13-9 64 0,28 6-49 15,4 2-1067 1,-6 3-1048-16,10 4-2903 16,0-4-3175-16</inkml:trace>
  <inkml:trace contextRef="#ctx0" brushRef="#br2" timeOffset="108702.71">25275 99 12043 0,'0'-2'941'16,"-2"-8"542"-16,-3-1 214 15,3-4-761 1,2 5-215-16,-2 1 540 16,4 1 271-16,-4-1 933 15,-2 7-742-15,-5 6 270 16,-6 20-220-1,-3 12 202-15,-4 17-547 16,4 12-894-16,-2 5-356 16,-5 10-119-1,8 9-41-15,-6 9-13 16,-1-1-4-16,3-2 0 16,-2-12-1-16,18-11 0 15,1-9 0-15,-4-7 0 16,2-15-909-16,6-11-1406 15,0-11-1882-15,-2-10-1042 16,-2-5-507-16</inkml:trace>
  <inkml:trace contextRef="#ctx0" brushRef="#br2" timeOffset="109036.71">25412 110 28699 0,'-6'0'293'0,"-20"8"-468"16,8 14 341-16,-10 22 284 16,5 19 344-16,11 16 231 15,16 16-400-15,-16 21-224 16,12 12-33 0,-6 1-276-16,-2 14-70 15,-37 8-16-15,1-22-1034 16,-9-9-7231-16</inkml:trace>
  <inkml:trace contextRef="#ctx0" brushRef="#br2" timeOffset="110336.58">24681 1439 9065 0,'0'0'5676'0,"0"0"-2113"16,16 5-223-16,0 0-1720 15,4 6-815-15,-3 6-829 16,17 13-1767 0,6-3 519-16,-7-3 961 0,7-1 462 15,3 4 1216 1,17-8 1570-16,1-2-795 16,13-10 80-16,21-14-682 15,-22-7-988-15,26-14-158 16,-21-8 5-16,2-4-121 15,-16-9-199-15,17-6-54 16,-8-8-18-16,-1-7-5 16,9-6-1-16,-24-9-1 15,-17-4-46 1,5-8-365-16,-11-3 66 16,-7 0 532-16,-4 12 250 15,-19 1-311-15,3 4-90 16,-7 7-25-16,-2 9-8 15,-7 11-2-15,-12 4 0 16,-19 13-926-16,6 14-3597 16,6 12-5580-1</inkml:trace>
  <inkml:trace contextRef="#ctx0" brushRef="#br2" timeOffset="110838.58">24729 1348 32767 0,'-26'-13'0'0,"-18"-27"0"16,-1 2 0-16,9-15 0 15,2-6-102-15,-13-2-1453 16,-5-10-369 0,20 8 835-16,-1-4 800 15,-4-6 263-15,25-5 595 16,14-15 589-16,33-15-25 15,33 7-837-15,0 3-1918 16,24 15-2421-16,-11 16-4506 16,-34 20-255-1</inkml:trace>
  <inkml:trace contextRef="#ctx0" brushRef="#br3" timeOffset="198694.9">25859 3968 13068 0,'0'0'301'15,"0"0"-86"-15,0 0-42 16,0 0-126-16,0 0-67 16,0 0-63-16,0 0-189 15,0 0 64-15,4 0 0 16,-4 0 128 0,2 5 288-16,0-1 681 15,2 2 1031-15,5 5 315 16,-9 1-753-16,2 6 245 15,5 0-120-15,-7 8 176 16,2-5-706-16,-4 8-337 16,4-3-402-16,-6 4-51 15,6 2-49 1,-2 1-99-16,-2 6 110 16,-5-10-277-16,7 5 89 15,-2 4-34-15,-3-2-91 16,8 0 150-16,-1 0-182 15,-4 34 232 1,-1-36-124 0,6 2 67-16,-3 4-159 0,-3-2 161 15,-1 0 29-15,4 0-29 16,-2 1-85 0,4-2 3-16,-6-1 56 15,0 1-107-15,2 5 49 16,4-6 40-16,-4 2-59 15,4 0 259-15,-4 38-233 16,0-36 15 0,0-4-125-1,-1 1 82-15,6-1-62 16,-3-3 106-16,2 7-10 16,4-6-25-16,-2 4 178 15,-4 3-171-15,-2-8-14 16,2 3-25-16,2 3 122 15,-2 3-140-15,0-8 21 16,0 4 82-16,4 4-22 16,-4-6 9-16,-4 7 102 15,2-7-191-15,2 0 75 16,2 4-63 0,0 0-28-16,-4 2 126 15,2-6-122-15,2 5 5 16,-2-1 252-16,0-3-203 15,4 2-24-15,-4 3 259 16,3-6-263-16,1 4 200 16,3-2-222-16,3 5 4 15,-4-5 79 1,-8 0-82-16,6 0 287 16,-2 6-319-16,2-1 43 15,-6-3 209-15,2 0-223 16,0 5 240-16,2-3 72 15,-2 1-87-15,2 1 10 16,-4 9 83-16,4-7-155 16,-2-3-56-16,8-1 98 15,-6 2-139-15,6-1 5 16,-8-3 21 0,0 5 165-16,0-3-345 15,4 5 137-15,-4-10-42 16,2 8 1-16,0-1 137 15,-2 3-42-15,0-1-117 16,0-7-97-16,2 7 68 16,2-3 111-16,1 3 123 15,-3-8-132 1,0 11 29-16,-4-3 31 16,4-1-87-16,0-3 46 15,-2 7-3-15,2-3 39 16,-6-1 15-16,6-9-167 15,-4 8 7-15,4 5 161 16,-4-5-94-16,-4-1 24 16,1-1 67-16,5 5 27 15,0-5 27-15,2-4-65 16,-2 3-5 0,-4-1-23-16,2-4 86 15,2-1-59-15,4-3-116 16,-2-2 45-16,-4 0 106 15,0 3-43-15,0-7-19 16,-2 3-116-16,2-5 111 16,4 1-89-16,-2-10 14 15,4 0-14-15,-8-5 13 16,4-3-8 0,2-1-152-16,2-2-76 15,-4 0 33-15,0 1 99 16,0-1 100-16,4 0-39 15,-1 0 68-15,1 1-7 16,4-1-102-16,5-2 82 16,-4 0 7-1,-1 0 81-15,2-2 49 0,0 3-33 16,-4-3 129 0,8 1 87-16,8-2-42 15,-1 1 123-15,11 0-82 16,-1 0-15-16,-6 0-208 15,-1-3 221-15,1 1 44 16,7 2-1-16,6-2-31 16,-7 2-193-16,3 0 17 15,-4 2-14-15,5-6-93 16,13 4 33 0,-8-2-26-16,-7 2 65 15,6-2-28-15,9 2 49 16,-3 2 171-16,-5-2-93 15,-2 2 25-15,9 0-40 16,-1 0-141-16,-3 0 5 16,-1-2 2-16,-6 0 94 15,11 3-52-15,-3-2 170 16,-8 2-76 0,13-2-16-16,0 2-74 15,-1 1 113-15,-6-4 34 16,11 0-214-16,5 5 35 15,-13-4 50-15,5 4-58 16,1-3-3-16,8-2 40 16,-15 2-28-16,9 2-8 15,13-4-4-15,-19 0-1 16,3 2-1 0,10-2 0-16,-3 2 0 15,-6 0 0-15,12 1 0 16,1-1 0-16,-14-2 0 15,11 2 0-15,-1 0 0 16,-15 0 0-16,12-2-41 16,6 5-38-16,-5-4 12 15,0 3 43-15,11-1 123 16,-17-1-191 0,3 2 182-16,9-2-290 15,-15-2 256-15,12 2-34 16,4-2-14-16,-3 0 57 15,1 5 43-15,-3-3-114 16,-5 2 45-16,2-2-190 16,13 2 268-16,-7-2-185 15,-12-2 126-15,11 4-162 16,-1-5 173 0,-9 2-147-16,21-1 156 15,-15 3-12-15,-4 1-44 16,13-4-13-16,-10 0-7 15,9 4-1-15,4-2 0 16,-6 1-1-16,-7 1 0 16,1-2-291-16,11 0 314 15,-6 2-15-15,-5 0-6 16,3 0 62 0,-7-1-22-16,4-1 56 15,12 0-147-15,12-2 121 16,-9 2-51-16,-19 0-15 15,11 0-3-15,-3 1-2 16,-13 1-1-16,19-2 0 16,-7 4 0-16,4-4 0 15,4 2 0-15,-8-1 0 16,5 1 0 0,3-2 0-16,-1 0 0 15,-7-2 0-15,1 2 0 16,-7 3 0-16,8-4 0 15,3 4 0-15,-15-3 0 16,8-2 0-16,7 2 0 16,-11 0-20-1,-3 0 33-15,17-4-8 16,-19 7-44-16,-1-5 64 16,19 1-14-16,-13-1-28 15,-7 0 31-15,62 0-7 16,-63 0-6-1,-2-1-1-15,6-2 0 16,-1 3 0-16,-3 0 0 16,1-2 0-1,5 0 0-15,-7 4 0 16,-7-4 0-16,3-2 0 16,9-1 0-1,-13 5 0-15,-6 0 0 0,0-1 0 16,-1 1 0-16,9-3-728 15,-1 7-2405-15,-11 3-5297 16,-6-1-1869-16</inkml:trace>
  <inkml:trace contextRef="#ctx0" brushRef="#br3" timeOffset="199411.95">33273 8756 24952 0,'0'0'2430'0,"-2"2"-902"16,2-2-475-16,2 7-386 15,3-3-725 1,1 2-771-16,3-2-50 16,6 5-276-16,5 4-39 15,4 1 358-15,6 2 420 16,-5-2 385-16,5 3-112 15,-8 2 280-15,8 3-280 16,0 1 216-16,-1 2 338 16,3-4 151-16,-8 3-60 15,1-1-492-15,-3-2-5 16,-10-2-1093 0,5 4-394-16,-4 1-1036 15,-7-8-312-15,-6 1 64 16,-4 9 763-16,0-3 864 15,-9-1 720-15,-16 1 341 16,-8 4 474-16,-7-1 271 16,0-3 2100-16,-3 0 504 15,-13 2 188-15,3-3-1309 16,13-1-714 0,10-2-1119-16,-9-2-166 15,14 0-1575-15,4-5-3556 16,4-1-4213-16</inkml:trace>
  <inkml:trace contextRef="#ctx0" brushRef="#br3" timeOffset="200603.13">33108 8691 18546 0,'0'0'3443'0,"0"0"-483"16,0 0-798-16,0 0-480 15,6-2-244-15,-3 2-653 16,-3-3-336 0,0 3-91-16,2-1-42 15,0 1-93-15,3 1-60 16,11 10-41-16,6 2-58 15,3 2-33-15,3 2-17 16,-2 2-8-16,-6-1-3 16,-5-5-2-16,2-2 0 15,2 0-1 1,-1-1 0-16,0-2 0 16,-2 3 0-16,0-3 0 15,-2 3 0-15,7 0 0 16,-5-3 0-16,-2 3 0 15,-2-3 0-15,2 1 0 16,-8-3 0-16,-4-2 0 16,2-2 0-1,0 1 0-15,-2-1 0 16,-2-2 0-16,0 0 0 16,3 2 0-16,-1-2 0 15,-2 0 0-15,2 4 0 16,-2-2 0-16,6 3 0 15,-2-4 0-15,-2-1 0 16,-2 3 0-16,2-3 0 16,-2 0 0-1,0 0 0-15,0 0 0 16,0 0 0-16,0 0 0 16,0 0 0-16,0 0 0 15,0 0 0-15,0 0 0 16,0 0 0-16,0 0 0 15,0 0 0-15,0 0 0 16,-2 0 0-16,0 0-165 16,2 0-631-16,0 0-1518 15,-4-3-4533-15</inkml:trace>
  <inkml:trace contextRef="#ctx0" brushRef="#br3" timeOffset="201939.36">26517 7999 4036 0,'0'0'962'0,"0"0"-1729"16</inkml:trace>
  <inkml:trace contextRef="#ctx0" brushRef="#br3" timeOffset="202671.91">26541 8032 9993 0,'0'0'4594'16,"-2"3"-1352"-16,2 3-1336 15,2 4-676-15,0 3-430 16,-4 8-1007-16,-5 5-91 16,2 1 199-16,3 5 32 15,9 4 299 1,0-4 801-16,-5 2 256 16,-2 0 24-16,0 2-143 15,-2 1-382-15,0-5-307 16,4 2-101-16,-2 0 15 15,-2-2-243-15,2 4 9 16,-3-4-113-16,3-5-168 16,3-1-40-16,-3-1 157 15,-3 15 132 1,3-19-98 0,0-4 97-16,0 0-269 15,5-4-835-15,-1-7-2094 16,0-2-2439-16</inkml:trace>
  <inkml:trace contextRef="#ctx0" brushRef="#br3" timeOffset="204645.17">26543 7982 10090 0,'0'0'796'0,"0"0"-209"16,0-3-44-16,2 3-179 15,2 0-143-15,2-1-69 16,-2 2-50-16,5-1 185 15,-3 3 933-15,18-1 1236 16,-2-2-255-16,4 0-582 16,-2-2 729-16,-1 2-102 15,3 0-815-15,-2 0-720 16,4 0-408 0,-1 0-198-16,5 2-22 15,-4-2-118-15,6 0 19 16,-3 0-63-16,3 2-11 15,0 0-97-15,1 0 127 16,0 0 34-16,-7 1 51 16,2-2-67-1,3 4-14-15,-5-3 121 16,4 2-34-16,-6-2-71 16,2 4-13-16,-9-1-2 15,11-1-136-15,-6 0-11 16,3-1 143-16,-2 1-3 15,0-2 223-15,-1 2 82 16,-7-4-29-16,-4 0-122 16,16 2-17-16,-5-2-60 15,12 2 11 1,-3-2-108-16,-5 0-2 16,-10 0 64-16,6 0 163 15,2 0-248-15,-7-2 28 16,-1 2 23-16,2-4-38 15,3 2-620-15,-4 0-276 16,-4 2 164-16,-3-4 401 16,2 1-62-1,0 1-1-15,-4 2 192 16,-3-2 144-16,-4 2 65 16,1 0-105-16,0 4-235 15,0 0 468-15,-2 5-31 16,-2-1 49-16,-2-1-12 15,-2 5 57-15,2 1-5 16,4 2 30-16,2 2 69 16,-4 2 419-16,2 0-130 15,-4 2-161-15,0 3 290 16,4 1-117 0,0-2-257-16,2 3 191 15,0-3 163-15,-2-2-69 16,1 0-211-16,1 0 18 15,2 5-290-15,-6-7 23 16,2 0-100-16,-4-2 143 16,4 0-134-16,3-4 26 15,-1 1 13 1,-2 1-38-16,2 0 40 16,-4 0-102-16,-2 2-54 15,7 0 130-15,-3-3-104 16,2-1 84-16,-2-4 28 15,-2-1-41-15,0 2 58 16,2 1 106-16,-2 2-126 16,2-7-54-16,4 3 51 15,-2 1 87 1,-4-3-147-16,0-1 81 16,0-2-43-16,0-2 138 15,0 1-178-15,0-2 49 16,2 2 38-16,-2-3 106 15,2 2-33-15,-2-2-14 16,0 0-90-16,0 0-72 16,-2 0-90-16,2 2 1 15,-6 2-42 1,-2-2 30-16,2-2 94 16,2 2 38-16,-3 0 124 15,-6 1 51-15,-2-1-103 16,5 0 47-16,2-2-16 15,-10 2-34-15,6-2-54 16,-3 2-28-16,-6 0 77 16,2 3-170-16,6-5 74 15,-12 0-56 1,-3 1 74-16,9-2-58 16,2 1 127-16,-6 0 33 15,-1 0-3-15,6 0-34 16,-8 1 18-16,1-1 42 15,-9 3-29-15,6-3-88 16,14 0 111-16,-3 1 85 16,-1-1-2-1,-2 0-82-15,-8 0 97 16,5 0-85-16,-5 0 89 16,2 0-86-16,-1 0 49 15,6 0-31-15,2 0-33 16,3 0-90-16,-10 0 34 15,0 0 102-15,3 0 17 16,-1 0 55-16,2 0-42 16,6 3-28-16,-4-3-44 15,-8 4-151 1,3-2 69-16,-7 1-60 16,2-2 102-16,7 4-113 15,3-3 118-15,2 0 37 16,-6-4 4-16,3 4-67 15,-9 0 37-15,4-2-2 16,6 0-18-16,1 0-118 16,-2 2 98-1,-2 0 20-15,3-2-7 16,-5 2-73-16,2-2 156 16,-4 0 142-16,7 0 35 15,-3 2 138-15,12 1-142 16,3-1 124-16,-5-2 24 15,9 0-195-15,0 2-53 16,-2-2-83-16,-6 0-268 16,4 2-352-1,2-2 68-15,2 2-156 0,-6 0-64 16,3 1-557 0,5-3-358-16,-1 0-1463 15,3 0-2083-15</inkml:trace>
  <inkml:trace contextRef="#ctx0" brushRef="#br3" timeOffset="-213562.98">26714 8358 11147 0,'0'0'1058'15,"-3"0"16"-15,3 0 51 0,0 0-76 16,0 0-419 0,0 0-440-16,0 0-169 15,0 0 49-15,-4-2 167 16,4 2 14-16,-2-2 213 15,2 0 307-15,2 0 109 16,-2-6 794 0,0 4-399-16,4-5-16 15,-1 2-413-15,-3 1 149 16,2-2 99 0,1-1-288-16,1 5-262 15,0-5-123-15,2 3-78 16,0-2-189-16,0-1-56 15,-3 3-112-15,1-5 20 16,7 3-106-16,-1-5 42 16,1 5 60-16,-3-1-1 15,0 3-30 1,6-3 59-16,-2 3 106 16,-2 2 229-16,-1-3-85 15,2 1-34-15,1 0-141 16,5-3-302-16,-2 3 132 15,4 0 128-15,-9 3-65 16,4-3-58-16,-2 4 42 16,3-2 9-16,6 4 53 15,-4-3-87-15,-5 3 83 16,6-1-81 0,5 2 35-16,-8-1-319 15,2 3 215-15,-5-1-5 16,6 0 162-16,28 6-224 15,-27-3 113 1,31 3 92 0,-28-4-57-16,-1 5 65 15,-2-1 210-15,0 3-73 16,7 1-140 0,-1-1-160-16,1-2 37 15,-4 3 15-15,-2-1 42 16,-6-5 48-16,-3 1-21 15,4 1 127-15,-2 1-121 16,-1-3 45-16,-1-2 36 16,0 1-8-16,-1 0-340 15,-4 0 16-15,-4-3-18 16,2 0 175 0,-4-2-140-16,3 2 120 15,-3-2 76-15,3 2 85 16,-3-2 31-16,2 0 101 15,-2 0 1-15,0 0 85 16,0 0-120-16,0 0 48 16,0 0-130-1,0 0 14-15,0 3-89 16,-2 1 89-16,-1-2-90 16,-2 6 74-16,-1-2-150 15,0 1 160-15,2 2-125 16,2-3 50-16,-4 2 17 15,-1 1-122-15,3-1 65 16,-3 3 76-16,-1 0-44 16,2-5-21-16,1 2 97 15,1-2-111-15,-2 3-22 16,-2-2-126 0,3 1 129-16,-4 2-62 15,-5 1 38-15,-1-3 0 16,0-1 26-16,-4 1 48 15,7-3 101-15,-4-1-25 16,0 0 66-16,0-2-110 16,2 0 86-16,-3 1-143 15,-2-2 19-15,2-1-4 16,5 3 43 0,-4-2-69-16,2-1 10 15,-8 0-33-15,4 0 106 16,-3-1-149-16,7-2 142 15,2 3 34-15,-5-1-26 16,0-4-128-16,9 5 56 16,-7-4 106-16,-9 2-79 15,2 0-60 1,0-3 38-16,3 1 51 16,-2 0 43-16,4 0-111 15,5-1-19-15,-2 4 33 16,4-4 34-16,2 1-27 15,1 2 15-15,-8-3 128 16,-2-1-5-16,5 2 64 16,-6-2-42-16,2-1-95 15,-8 1-85-15,12-1 154 16,3 1-125 0,1 2-32-16,-2-2 36 15,-4-5 101-15,6 7 98 16,4-1 242-16,-4-3 336 15,2 2-25-15,-2 4-210 16,6-3-151-16,-2 1-88 16,0 0-4-16,-2 0-89 15,2 1-66-15,2 2-130 16,2 1 36 0,-2-3-45-16,2 2-38 15,0 1-116-15,0-3-222 16,-3 3-754-16,3 0-746 15,0 0-1197-15,0 0-2593 16</inkml:trace>
  <inkml:trace contextRef="#ctx0" brushRef="#br3" timeOffset="-212336.94">26991 8164 21685 0,'0'0'917'0,"0"0"-794"16,0 0-224-16,2 6 85 16,-4 0 70-16,-4 3-32 15,-7 3-10-15,2-1 388 16,1-2 181-16,2 5-7 15,4 1-112-15,2 6 962 16,2 1-371-16,6 1-245 16,2 0-275-16,2 0 197 15,1-2-278-15,2-1 23 16,2-4 54 0,-1-3-122-16,6-2-87 15,-6-5 8-15,-1 0-23 16,-4-3-103-16,3-6 26 15,-1-1-111-15,3-2-47 16,10-11-29-16,4-4-23 16,-7 0-46-16,-7 2-193 15,6-5-204 1,-4 1-302-16,-5-3-92 16,-4 8 210-16,-3-1 34 15,-2 2 69-15,-6-2 159 16,-5 2 127-16,2 2-11 15,-3 4 69-15,-4 1-183 16,-8 1-4-16,3 3 122 16,4 4 246-16,0 0 37 15,-3 4 22 1,-2 4-37-16,1 2 110 16,5 7-176-16,-12 6 121 15,0-1-73-15,8-1 56 16,-1 2 206-16,6-6-104 15,6-1 222-15,1-1 17 16,4-2-113-16,4-1-172 16,-2 3-120-16,4 0 83 15,3-3-30-15,-3-3-37 16,0 1-124-16,3 3-110 16,7 2-25-16,1-7 83 15,-5 0 13-15,2-4 223 16,8-6 117-16,0 0 699 15,-8-11-176-15,-3 0-201 16,-1-2-213-16,-2 2-168 16,3 2-105-1,-4 1-81-15,1 1-14 16,0 3-390-16,-2-1-139 16,-4-1 262-16,0 1-454 15,-4-3 109-15,0-1 257 16,0-4 350-16,4 6 45 15,-4-6 762 1,4 13-241-16,-5 2-187 16,0 0-613-16,-3 6-206 15,-4 7 39 1,-7 6 128-16,-1 0-48 16,0-2-974-16,4 4-1441 15,4-2-2387-15,6-9-2895 16</inkml:trace>
  <inkml:trace contextRef="#ctx0" brushRef="#br3" timeOffset="-195117.64">27886 8056 8936 0,'0'0'1471'0,"0"0"-385"16,0-2-502-16,0-1-342 15,3-1-478-15,-3 2 105 16,-3-6-922-16,1 2 111 0,0-1 317 15,-2 1 308-15,-2 1 282 16,-9 3 120-16,4 2 348 16,-5 2 1017-16,0 3-3 15,6-1-609 1,-13-2 993-16,-5 2 22 16,-2-1-392-16,3-3-423 15,-1 0-280-15,2-3-301 16,-4 3-135-16,-2 3-180 15,-1-2-80-15,0 2-109 16,8-1 81-16,2 0-87 16,-1-2-110-16,-6 2-130 15,-8-4 44-15,5-2 130 16,-3 0 68 0,6-1 12-16,-9 1 59 15,-5 4 47-15,4-7-22 16,13 7-117-16,5 0 108 15,-13-2 3-15,-1 0-23 16,-5-2-28-16,11 2-11 16,0-2 85-16,2 2-35 15,0-1-86-15,1-1 121 16,1 0 35 0,16 2-61-16,-4 2 88 0,-2-4-67 15,-1 0 18-15,6 1-25 16,-4 1-22-16,9 0-68 15,-6 0-75-15,0 0-114 16,4 2 38-16,-6 0-148 16,-6 0 43-1,7-2 104-15,7 2 36 16,-2 2 57-16,2-2-404 16,0 2-285-16,-2-2 100 15,0 4-14-15,-4 1 237 16,3 1 263-16,3 0 93 15,-5 5 45-15,3 1 105 16,-5 3 61-16,9-4-55 16,2 4 240-16,0-7 300 15,-4 9-13-15,1 0 473 16,-2 4 209 0,5 0-285-16,-2-4-510 15,0 4-150-15,0 3-172 16,4-1-5-16,4-2-41 15,-2 0 102-15,-4 0 65 16,6 1-166-16,0 1 102 16,0 2-274-16,-2 1 25 15,3-1 63 1,0-4-22-16,1 2 58 16,0 1-77-16,0-1 102 15,1-4-238-15,-3 2 120 16,-2 1 42-16,-2-3 2 15,2-1 1-15,-2-1 65 16,2 1-47-16,0 0 8 16,0 4-12-16,1-5-53 15,-6-5 125-15,3-1-139 16,0-5 65 0,-2-3 530-16,2-2 162 15,2 2-72-15,1-2-127 16,-3-1-210-16,0 0-95 15,0 0-21-15,0 0-63 16,0 0-74-16,0 0-177 16,0 0-17-1,4 0 36-15,-2 0 14 16,7-1 44-16,3-3 8 16,8-1 71-16,-8 1 111 15,9 2 163-15,5 0-186 16,-10 2 38-16,4 2-73 15,-4-2-5-15,10 2-13 16,14 2-7-16,-2-4-104 16,-10 2 70-1,4 1-79-15,2-3 74 0,3 1-81 16,5-1 35 0,-14 3-3-16,0-2-32 15,1 4 23-15,3-1-28 16,0 0 9-16,8 1 75 15,-6-1 16-15,-5-2-84 16,-3 0 34-16,-1 2 33 16,7-2 52-16,2 1-32 15,-7-1-15-15,5 0-151 16,-8-2-67 0,9-2 64-16,5-3 118 15,-4 5-353-15,3 0 162 16,-15 0 80-16,2 0-162 15,8 5-780-15,10-5 452 16,-4 2 359-16,-17 4 124 16,0-2 157-16,1-1-40 15,-4-2 47-15,12 4-9 16,-2-3-6 0,-7-2-3-16,-1 2 63 15,-2-2-129-15,-12 0 38 16,-1 0 35-16,-3 0 391 15,0 0-255-15,2 0 94 16,-4 0 346-16,0-2-96 16,0-6-495-16,-4-3-99 15,0 0 384 1,1-3 10-16,-1 1-74 16,2-2 21-16,-2 0 97 15,0-2 171-15,2-4 40 16,-2 4-120-16,-2-6-291 15,-4-5-262-15,4 3 3 16,2 0 155-16,2-5-105 16,2 0-84-16,0 1-35 15,0-5-149-15,4 0 157 16,-8 4 111 0,6 0 43-16,0-1-127 15,-2 1-87-15,2 3 174 16,-2-5-86-16,0 9-58 15,0 1 265-15,-2 1-8 16,0 5 71-16,-2 3 6 16,0-4-22-16,2 4-20 15,2 4-93-15,0 1 88 16,0 2 22 0,-2-1 40-16,-1-1-103 15,3 6 28-15,0 2 1 16,-2-4-62-1,2 2-208-15,-11-2-547 0,7 1 405 16,-2-1-491-16,-3 4 178 0,-5 2 84 16,-2 0 210-16,0 2 167 15,-6 1 68-15,2 1 119 16,-10 0 64 0,-15-4-43-16,14 1 53 15,14-1-34-15,-12-4 26 16,-14-1-4-16,-5-3-46 15,7 2 21-15,9-2 7 16,-2 2-14-16,-10-3-103 16,3 3 37-16,1-1-238 15,-2 3-347-15,-3 0-335 16,-1-2-100 0,3 0-115-16,5 0 605 15,-12 0 311-15,-35-5 604 16,44 7 46-1,-5-3-219-15,-1 1 1 16,5 0-157-16,-2 2 39 16,17-2-471-16,-3-1-83 15,0 3-412-15,-1 0 585 16,5-2 321 0,5 0 395-16,-2 2 177 15,6-2-136-15,11 4-60 16,-1 0 66-16,-4-3 136 15,1 3 20-15,0-2 254 16,7 2-121-16,1 0-59 16,2 0-258-16,0 0-29 15,-2 0-264 1,2 0 61-16,2 0-107 16,3 0 20-16,1 2-80 15,-4-2-1-15,0 0-19 16,-2 0 141-16,0 0 136 15,0 0 805-15,0 0-137 16,0 0-21-16,0 0-28 16,0 0-156-16,0 0-282 15,0 0-11-15,0 0-313 16,0 0 69 0,0 0-136-16,2 3 72 15,-2 3-125-15,-4 0 17 16,2 0-42-16,4 5-1 15,-2-3 115-15,-4 5 76 16,-3 2 35-16,3 0-43 16,4 8 169-16,0-1 1 15,-7 5 56 1,3-4 223-16,6 7-184 16,0-1-126-16,-2 3-190 15,0 2-17-15,2-4 96 16,-2 1-58-16,7 1 138 15,-7 4 130-15,0-6-101 16,0-7-111-16,2 0-42 16,-4 1-37-16,0-5 63 15,0-2-272 1,2 0 138-16,0-1-105 16,0-3-137-16,2-2-222 15,0-1-365-15,-2-5 6 16,0-1 232-16,0-2 124 15,0-2 201-15,0 0 56 16,0 0 94-16,-2-9 422 16,2-10-135-16,-5-2-75 15,5 0-13 1,3-2-189-16,-3-7 114 16,-7 3 53-16,5 1-63 15,4-1 216-15,0 3-301 16,-4 1-1-16,0-6-153 15,-8 1-207-15,10 0 60 16,-2-8-310-16,0 5-285 16,4 1 128-16,6 2-114 15,-2-1-1579-15,-6 0-2942 16,0-6-3066 0</inkml:trace>
  <inkml:trace contextRef="#ctx0" brushRef="#br3" timeOffset="-178538.85">28026 7988 1794 0,'0'0'6506'0,"0"0"-2088"16,0 0-1279-16,0 0-1346 15,0 0-513-15,0 0-729 16,0 0-678-16,0 0-803 15,0 0-28-15,-4 0 599 16,4 0 516-16,0 0 495 16,0 0 287-16,6 4 195 15,-2 7 267 1,-4 4 212-16,0-1-591 16,0 5 71-16,-2-6-309 15,2 2-163-15,0 2-114 16,2 2 7-16,-2 0-264 15,2 2 50-15,-2 2-98 16,-6 5-331 0,-2-5 53-16,2-3 108 15,4-2 48-15,-1 0 41 16,1 0 49-16,2-1-180 16,-4 5 171-16,6 1 143 15,0-2 32-15,-2 0-129 16,0-6-80-16,0 2-107 15,-2 0 7-15,-4 2 134 16,4-2-133 0,-3-2 94-16,1-1-152 15,2 1-15-15,4 0 52 16,0-2-19-16,-2 2-54 16,0-1-200-16,0-3 81 15,0-7 95-15,0 5-150 0,2 3-24 16,-2 1 239-16,-2 4 10 15,0-6-110-15,0-1 117 16,2 1 88-16,2-5 59 16,-2 3 129-1,0-3-30-15,2 0-55 16,-2 1-53-16,2-3-74 16,3 2-76-16,-1 3-18 15,-2-1-151-15,2 3-50 16,-2-5 114-16,-2 4 105 15,0-5 83-15,0-1 16 16,0 2-33 0,3-1 59-16,-3-3-71 15,0 0 130-15,0 0-39 16,2 0 60-16,2 0-133 16,-2 3 14-16,0-4-307 15,0 4-38-15,2-1-373 16,2 0 351-16,10-1 23 15,2-6 233-15,-2-1-55 16,5 0 63-16,-1-2 86 16,-4 1 18-1,-2 3-17-15,2-2-23 16,-4-2-14-16,-6 3-7 16,7 1-2-16,8 4 115 15,8 3-255-15,-5-3 232 16,1 0-153-16,3-6-41 15,-2-1 20-15,-8 5 45 16,-1-4 162-16,9 0-113 16,-3 0-77-16,2 0 50 15,-5 0 173 1,1-1-251-16,-5 3 96 16,0 4-4-16,-2-2-47 15,-2 0 67-15,12-4-10 16,-7 4-7-16,-4-2-63 15,0-3 86-15,3 3 145 16,6 2-147-16,-4-2 18 16,-7 2-39-1,4 0 58-15,-4 2-7 16,-3-2-106-16,7 0 1 16,-6 0 27-16,3 0-65 15,5 0 66-15,6 2 10 16,-4-4-43-16,1 2 43 15,-4 0 148-15,0 0 36 16,-8 0-35 0,-4 0 5-16,4 0-75 15,1 0-2-15,-1 0-55 16,5 0-105-16,-6-2-108 16,3 2-204-16,6 0 8 15,-4 2-228-15,-6-2-103 16,-2 0 122-16,6 2-222 15,-5-2 270-15,-3 0 374 16,-2 3 50-16,2-3 113 16,-2 0 417-1,0 0 362-15,0 0 56 16,0-7 119-16,-2-5-324 16,2-4-252-16,2 2-185 15,0-1-84-15,-2-6 6 16,2 2-79-16,3-5-41 15,-1 8 78-15,-4-8-58 16,2 5 52 0,6-27-94-1,-5 21 98-15,3-1 78 16,-2 0-174-16,0 3-44 16,0-4 100-16,-2 1-5 15,-4 5-36-15,2 0 99 16,4 0-119-16,-4 2 12 15,2 0-94-15,4-5-37 16,-2 7-130-16,-4 1-86 16,2-4-245-1,-4 4-23-15,0-1 209 16,2 0-18-16,2 2 246 16,4-2 200-16,-2 4 8 15,-2 3 77-15,0 3 100 16,-2 3 33-16,0 0 167 15,0-1-349-15,0 1 5 16,0 3-33 0,0 1-16-16,-2-3-30 15,0 1 136-15,-2 0-87 16,-2 2 2-16,4-2 24 16,-3 2-7-16,-2-2-16 15,-5 0-14-15,-1-1 23 16,-4 1-3-16,0-2 15 15,-5 4-26-15,8 0 156 16,-2 4-316-16,-6-4 74 16,-11 0 101-1,-1-2-60-15,4 0 31 16,0 2 48-16,9 0-48 16,7 0-3-16,-12-2 10 15,-4 0 8-15,-5 0 79 16,1-2-43-16,8 4-17 15,3-4-24-15,5 1 69 16,8-3-44-16,-13 4-5 16,0-3 13-16,0 1 6 15,-1 2 19 1,0 0-7-16,8 0-5 16,-7 0-17-16,12 0-67 15,-2 0 126-15,1 2 184 16,-10-3 145-16,4-1-47 15,-2 4-5-15,-7-4-59 16,7 2-107-16,6 0-100 16,1 0-12-1,-10-2-115-15,12 1 68 16,3 1-69-16,-2-2 74 16,-6 2-60-16,2 0 91 15,-6 0-62-15,6-3-17 16,1 5 259-16,7 0-169 15,0-2 140-15,-5 2-246 16,2 0-25-16,7 0-97 16,-6 0-592-1,-4 4-229-15,-2-1 455 16,6 1 522-16,2-2 186 16,4 0 270-16,2-2-25 15,-3 2 63-15,-1-2-165 16,2 2-112-16,2-2-135 15,0 0-65-15,0 0-48 16,-2 0 8-16,2 0-112 16,0 0 24-1,0 0 58-15,0 0 38 16,0 0 99-16,-2 0 24 16,0 0-110-16,2 0-1 15,0-2 24-15,-2-2-46 16,2-5-5-16,0 1 11 15,0-2 64-15,2-1-22 16,0-2-12-16,0 1 69 16,-2 1-11-1,0-2 40-15,2 3-20 16,-4-5-41-16,-2 2-55 16,2-2 79-16,-1 0-67 15,-1-2 215-15,6 3-19 16,-2-3 111-16,-2 2-51 15,2-2-125-15,-2 0-161 16,-2 2 89-16,2-4 32 16,-1-4 69-1,3 8 66-15,-2-4 91 16,0 2-112-16,2-2-7 16,4 4-78-16,-1 0 93 15,-1-8 19-15,-4 2-225 16,4 2 41-16,-4-2-94 15,-1 2 35-15,1 4-45 16,-2-2 24 0,0 2 11-16,4 0-24 15,0 3 18-15,2-3-22 16,-2 2 64-16,-2 0 97 16,0-4-117-16,-2 0 14 15,2-3-8-15,2 4-21 16,-4 4 7-16,4-1-134 15,-4-2-148-15,0 3-1 16,2-3 1-16,0 2 140 16,2-2 96-1,2 5-4-15,-4-1 54 16,0 2 1-16,-2-1-45 16,0 0 79-16,2-1-15 15,0 1-23-15,2 1 57 16,2 0 34-16,0 3 35 15,-2 2-138-15,-2 0 18 16,2 0 34-16,0 1 86 16,0 1-155-1,0 0-90-15,2 0-65 16,-2-2 108-16,0 4-23 16,0 0 152-16,-2-3 141 15,2 3 70-15,2-1-169 16,-2 1-168-16,0 0-2 15,4 0 170-15,4 4-45 16,6 0 10-16,0 0 7 16,-1 2 193-1,-2 3-210-15,14 1 88 16,-15-3-52-16,8 2 45 16,7-1-111-16,11-2-8 15,-2-2-41-15,-11 1-15 16,-4-1 92-16,15 0-1 15,2-2-43-15,8-2 0 16,-6 4 169-16,-18 0-290 16,11 3 166-1,9-1-24-15,7 1-132 16,-9-5 34-16,-12 4 240 16,-8-2-239-16,12 3 15 15,13-1 32-15,-1-2 37 16,-10-1 140-16,-11-3-122 15,-7 4-30-15,12-2 173 16,6 2-304-16,-3 0 220 16,-5-4-270-1,-1 0 99-15,9 0-392 16,-4-2 151-16,-12 0 134 16,4 2-5-16,4 0 43 15,-4-2 185-15,-5 2-108 16,-7-2 81-16,-2 2 39 15,-2 0 115-15,0 0-218 16,-4 0-214-16,0 0-170 16,0 0 36-16,0 0 84 15,0 0 104 1,0 0-64-16,0 0 176 16,6 2-97-16,-2 6 345 15,-4 3-15-15,4 2 157 16,-4 6 202-16,4 6 80 15,2 0 65-15,-2-1-71 16,2-1-123-16,-1 3-75 16,-5 1 74-1,0 5-143-15,2 23-114 16,-2-30-151 0,4-2-14-16,-1 3-6 15,-1-5-35-15,4 4-72 16,-2-1 89-16,0 3 25 15,1-5-7-15,-3 1 65 16,-4 0-156-16,2 7 168 16,-3-5-115-1,1 3 53-15,2-1 24 16,2-6-157-16,-8 3 5 16,4-1 125-16,4-2 109 15,-6 0-183-15,0 0 146 16,4 0-180-16,0 5 47 15,4-9 88-15,-4-5-68 16,-2 1 114-16,-2 0-160 16,-1 0 152-16,1 1-37 15,4-1-22 1,-2-2-11-16,4-1-5 16,-2 1-3-16,4 1-2 15,-4-5-1-15,-2-1-1 16,4 3 1-16,-2-1-1 15,3-2 0-15,-3 1 0 16,0 2 0-16,2-1 0 16,0-2 0-16,0 0 0 15,-2 3-14-15,0-1-7 16,-4 1 37 0,2 2-154-16,6 1 136 15,-6 3-29-15,2-2 106 16,-5 3-128-16,5 1 57 15,3 3-2-15,-3-4-50 16,-3 6 122-16,3-8-163 16,3 2 43-16,-3 0-89 15,-5 4 114-15,3-4 26 16,0 4 93 0,0-2-243-16,-1 4-78 15,3-1 151-15,5-2 103 16,-1-2-33-16,-4-3-30 15,-2 5 15-15,2-2 40 16,-4 0 148-16,1-2-225 16,1 0 102-16,2 0-146 15,0 2 77 1,2 0-114-16,-2-2 112 16,0-2-31-16,0-3-33 15,0 3 97-15,0 4-82 16,-2-7 81-16,0-2 8 15,2-3 68-15,-2-1-121 16,0 0-21-16,0-4 26 16,2 0 61-1,0 0-120-15,0 0 130 16,0 2-54-16,0-2 56 16,0 0-87-16,0 0 12 15,0 0-130-15,0 0 12 16,-12 0-301-16,-4 0 241 15,-2-2 108-15,-1 2 149 16,-1-2-121-16,-2-2 89 16,0 0-25-16,1 0 105 15,0-3-200 1,-9 1 107-16,5-3 52 16,-9 3-64-16,4-3 7 15,13 7 2-15,-1-2 1 16,-6-2-101-16,-6-2-95 15,-7-1-215-15,0 2 134 16,3 3 128-16,11-4 74 16,-8 0 37-1,-2-1 5-15,-3 2 112 16,2 3-46-16,3 0-18 16,-3 2 29-16,-4 0-25 15,4 0-47-15,-4 0-41 16,13-1 147-16,1 1 129 15,-1 0 101-15,-1 0 130 16,-8 0-230-16,11 0-71 16,0 0-72-16,-2 2-86 15,9 0-33 1,0 2 73-16,3-2-68 16,3 2 95-16,-1 0-49 15,2-2 2-15,-1 4-28 16,-6-2-83-16,6 1-33 15,6-3-2-15,2 0 68 16,2 0 91-16,0 0 37 16,0 0 50-1,0 0 142-15,-2-3 282 16,2-5-175-16,6-7-139 16,-2-2-159-16,6-4-91 15,-2-2-64-15,-2 1-111 16,2-5-170-16,-1 0-23 15,-3-3 228-15,-4 0 29 16,0 3 263-16,0-3-222 16,-2-8 118-16,2 6-58 15,-2 2 83 1,-3 1 109-16,3-1 12 16,-2-8-84-16,4 5 16 15,2-3-48-15,-6 1 71 16,-6 0-155-16,4-6-88 15,4-3 42-15,-6 2 0 16,4 6 114-16,-2-5-145 16,6 1 74-1,-2 2 107-15,-2-4-72 16,0 0 48-16,4-1-19 16,0 1-27-16,-2 6-48 15,-3-2 74-15,-1 2-44 16,-3 0 75-16,-1 2-44 15,-1 4-54-15,-1-2 86 16,1 3 73-16,4 1-183 16,5 1 95-16,2-1 45 15,2-1 90 1,0 3-51-16,-4 3-139 16,-2 4-356-16,2 0-73 15,6 4-139-15,-2 4 202 16,-2 1 205-16,0 4-29 15,2 1 47-15,-2 3-35 16,-2 0-121 0,2 0-51-16,2 2 211 15,0-2 98-15,10 0 38 16,-2 0 76-16,0 6 123 16,3-2 44-16,7 2-33 15,4 3-17-15,4 1-148 16,-13 0 141-16,4 1-37 15,-2-7-198-15,15 3 92 16,12-4-59-16,-5 4 150 16,-13-3 139-1,-2 4-83-15,14 3 122 16,11-5-295-16,0 0 114 16,-17-2-131-16,14 5 142 15,9-3-143-15,-6-2 128 16,-1 0-192-16,1 2 186 15,11-2-235 1,-16-4 163-16,-9 0-155 0,10 2 163 16,10-4-91-16,-16 4 107 15,-8 0-234 1,-1 0 239-16,2 0-240 16,-5 0 121-16,7 2-139 15,-10-4 235-15,-8 0-117 16,-8-1 112-16,1 2 11 15,-7 1 103-15,-2 0-152 16,2 0-70-16,-2 0-220 16,0 6-126-1,0 2-86-15,-4 5 88 16,-3-3 182-16,5 6 104 16,2 3 183-16,-6 4 208 15,0 0 318-15,-2 7 37 16,-2 6 121-16,2-2-414 15,-2 10 66-15,6-10-393 16,6 8 172 0,-4-2-218-16,2 1-11 0,-5 1 92 15,1 0 17 1,0-2-31-16,0 3 161 16,6-1 105-16,0-2 131 15,-4 0-233-15,4 3-108 16,2 3 446-16,-2-1 71 15,0 2-207-15,1-5-142 16,-1 0-34-16,6 3 32 16,-8-5 57-1,2-4-161-15,2 0 51 16,0 4-149-16,-4-2-6 16,0-4-1-16,4 6-2 15,4-8 92-15,-6 6-697 16,0-4-724-16,-2-6-533 15,8-5-2017-15,-4-2-1899 16,-4-6-1626 0</inkml:trace>
  <inkml:trace contextRef="#ctx0" brushRef="#br3" timeOffset="-177633.73">28189 8301 14061 0,'0'0'2437'15,"0"0"164"-15,0 0-344 16,0 0-451-16,0-2-518 16,2 0-308-16,0-5-592 15,1 2-442 1,-3-2-532-16,4-4-375 16,-2 1 368-16,4-5 184 15,9 0 264-15,4 2 123 16,5 1-5-16,3-3 266 15,-6 4-70-15,0 3-76 16,1 1-335-16,0 1 128 16,-15 6 69-16,10-4 157 15,12 0-118-15,7 4 409 16,-4 2 4-16,-15 4-57 16,-2 3-121-16,0 8-36 15,-1 4 90-15,-12 0 408 16,4-4 4-16,-2 4-184 15,-4-8-293-15,2-1-92 16,0-5-225 0,2-3-835-16,-4-2-892 15,4 2-2301-15,2-1-1767 16</inkml:trace>
  <inkml:trace contextRef="#ctx0" brushRef="#br3" timeOffset="-177127.72">28125 8295 21556 0,'-2'2'2486'0,"4"7"-1127"0,14 11-496 16,0 6-199-1,-2 1-242-15,6 3-218 16,6-8-4-16,11-4 98 16,46 12 855-1,-55-21-464-15,14-3 140 16,-12-4-136-16,1-4-18 15,12-4-268-15,-15-7-256 16,-16 2-93-16,6-6-162 16,9-4-1038-16,-4-2-1535 15,-2 2-2092 1,-3 0-2579-16</inkml:trace>
  <inkml:trace contextRef="#ctx0" brushRef="#br3" timeOffset="-176356.01">28348 8202 2883 0,'0'0'3307'0,"0"0"254"15,0 0-466-15,3 0-1020 16,-3-2-835-16,2 2-531 15,-2 0-576-15,0 0-1132 16,-2-3-39 0,-8 10 279-16,-6 14 166 0,-8 26 2544 31,27-29 467-31,5 0-416 16,7-6 1532-16,-5-1-1165 15,14-7-582-15,-1-8-131 16,-17-5-562-16,16-7-501 15,-2-1-141-15,-4-2-699 16,-10 2-1077-16,-8 2 227 16,0 4 596-16,0 1-423 15,-4 3-176 1,-10 5-1014-16,2 4 260 16,-3 7-1177-16,6 1-1838 15</inkml:trace>
  <inkml:trace contextRef="#ctx0" brushRef="#br3" timeOffset="-174913.94">28185 7478 14093 0,'0'0'2696'0,"0"0"-841"16,0 0-699-16,0 0-243 15,0 0-600-15,0 0-296 16,0-4-17-16,6-7 15 16,3-2-22-16,-1 1 251 15,12-1 379-15,0-2 1196 16,0 5-271 0,5-3-103-16,3 3-535 15,-12 5-509-15,-2 3-258 16,0 2-67-16,-4 4-139 15,5 9 25-15,11 6-110 16,-12 2 37-16,0 2 57 16,6 1 29-1,6 1 201-15,-9-6-39 16,-5-4 167-16,-3-6-185 16,2 1 9-16,-9-4-69 15,0 3 18-15,0-1-317 16,0-1 58-16,0-1 43 15,-4 2-363 1,2-5 348-16,2-3 41 16,-2 0 36-1,0 0 129-15,0 2-15 16,0-2-20-16,0 0-288 16,0 0-175-16,0 2-254 15,2-2 223-15,-2 0 34 16,0 0-387-16,2 2-219 15,-2 0 168-15,-4 6 0 16,2 5 241-16,4 8 290 16,-8-2 339-1,-2-2 294-15,-3 5 77 16,-6 1 165-16,-2-4-170 16,-5 0 252-16,-8-9-548 15,16-1-399-15,-5-3 208 16,-5-6-23-16,-8-6 396 15,-8-3-194-15,11-5 43 16,5-5-160-16,5-2 58 16,6-5 203-16,2-4-251 15,7 1-340 1,2-1 223-16,0 3 117 16,-1 1 69-16,0 7 419 15,5 0 506-15,-2 4-491 16,0 5-1151-16,0 1-181 15,0 3 12-15,2 4-908 16,0 2-334-16,-4 14 73 16,0 16 850-1,4 6 1462-15,8 0 2630 16,5-4-358-16,2 0 562 16,-2-13-829-16,16-2-824 15,16-11-734-15,6-10-529 16,-19-5-140-16,-12-5-406 15,2-8-388-15,-5 1 380 16,-11-4 235-16,-10-3-69 16,-13 3-14-1,4 8-34-15,-6 6-153 0,-19 9-853 16,-5 9 858 0,5 5-512-16,4 24 614 15,30-16 1329 1,0-4-68-16,4 1 988 15,6-2-44-15,14-6 197 16,12-5-707-16,-1-8-585 16,-3-5-464-16,-12-3-208 15,-10 3-79 1,2-6-27-16,-4 3-17 16,0 0-8-16,-2 4-4 15,0 4-3-15,-2 0-87 16,0 0-417-16,0 4-697 15,0-3-1100-15,-12 12-1936 16,-14 14-3311-16</inkml:trace>
  <inkml:trace contextRef="#ctx0" brushRef="#br3" timeOffset="-171444.85">27941 7177 8808 0,'0'0'4072'0,"0"0"-1338"16,0 0-990-1,0 0-721-15,0 0-526 0,0 7-136 16,0 8 17 0,-2 8-285-16,4-2-49 15,2 7 49-15,2 3 5 16,-6 7 603-16,2 3-76 15,0-1 971-15,4 6-221 16,-2 3-814-16,-6-2-391 16,2-1-143-1,0 11 45-15,-4-6-107 16,6-2 1-16,-2 2 163 16,4-3-62-16,-4 1-182 15,4-5 132-15,0 3-10 16,-2 2-85-16,-6-5-8 15,-2-2-183-15,0 7 222 16,0-7 49-16,4-3-1 16,-6 1-39-1,6 4 178-15,4-3-9 16,0-4 16-16,-2-5-72 16,8 30-222-1,-8-37-388-15,0 3-765 16,-6-7 500-16,6-4 421 15,6 2 259-15,-6-5 674 16,2-3 300-16,0-5-226 16,-2 3-46-16,0-3-159 15,-2 1-270 1,2-5-193-16,2 0-179 16,2 0-381-16,-4-2 204 15,0 0 264-15,6 0 544 16,-2-4-180-16,5-1-98 15,-1-1-155-15,3 2-576 16,-7 2 223-16,17-5-693 16,9 5 346-1,8 2 102-15,7 5 418 16,-19-1 77-16,-2 2 433 16,6 0-75-16,10 3-102 15,0-1-22-15,4 1 185 16,-18-5-87-16,14 1 302 15,11-1 111-15,-4-4 251 16,-20 0-99-16,18 1 346 16,3 2-481-16,1 1-777 15,-2 2-604 1,-5 1-662-16,0 3-271 16,-1-3 119-16,-9 1 8 15,-10-1 423-15,6-3 724 16,1-2 1090-16,3-2 480 15,-10-5-437-15,1 5 307 16,-9-1 64-16,0-6-342 16,-4 1-340-16,-4-1-1105 15,-2-1-153 1,-2 0 8-16,-2-1-216 16,5 1 234-16,-8-3 395 15,3 0 310-15,0-3 346 16,3-5 61-16,-3-1-85 15,4-5-2-15,-4-7 198 16,2 3-72 0,0-3-25-16,3-6 90 0,1 6 347 15,-2-15 543 1,-2 7-202-16,7-2-432 16,-7-5 39-16,-4 1-532 15,6-7-446-15,2 4 78 16,-4 3 206-16,5-7-64 15,-7 4-62-15,-3-2 156 16,8 5-62-16,10-52 202 16,-17 54-97-1,0-5-86 1,4 1-96-16,0 9-8 16,-4-3-245-16,-2 2-150 15,2-4-574-15,-1 5-81 16,-8 2 559-16,9 1 405 15,2 6 137-15,0-2 15 16,-4 2 45-16,2 5 51 16,2 1-27-16,-4 6-77 15,0 3-3 1,-7-2-53-16,9 8-270 16,-2-1 80-16,0 3 86 15,-1 3 247-15,1 0 141 16,-1 2 243-16,3 2 693 15,-6-3-13-15,2 2-377 16,2-2-138-16,-4 3 106 16,-4-4-175-16,-2 2-285 15,-3 0-88-15,-7-2-200 16,0 2-278 0,4-3-515-16,-14 1-974 15,-15 0 764-15,-1 4 275 16,35 0 566-16,-19 2-143 0,-21 0-216 15,-19-2 206-15,15 2 490 16,-16-2-160-16,-3 0 8 16,-17 2 117-1,18 3 161-15,12-1 152 0,49-4-297 16,-61 4 391-16,15-2 19 16,22 2 1054-16,1-1-820 15,-4-3-538-15,15 1-1451 16,5 2-2448-16,14-1-3384 15</inkml:trace>
  <inkml:trace contextRef="#ctx0" brushRef="#br3" timeOffset="-166618.42">28820 7220 833 0,'0'0'2818'0,"0"-2"-214"0,2-3-265 16,2 1-466-16,-2 2 341 16,3-2 388-16,-3 0-870 15,-2 4-432 1,2 0-298-16,0 0-303 16,-2 0-306-16,0 0-85 15,0 0 537-15,-2 6 471 16,2-2 345-16,-2 0-341 15,0 3-341-15,-3-1-295 16,5-4-283 0,0 6-55-16,0-3-229 15,2 1 3-15,-2 3 0 0,-2-1-44 16,2 5 153 0,-6 2 17-16,2-3 108 15,0 5-115-15,2-6 135 16,-3 4-189-16,1-1 48 15,0 3-1-15,2-4-60 16,0-2-8-16,-2 1 31 16,-3 1-149-16,5 0-7 15,-3 0-63 1,1 1 57-16,2 1-16 16,2-2 20-16,4 2-61 15,-4-7 12-15,0 5 64 16,2-2-112-16,-4-1 29 15,2 1-75-15,0-3 37 16,4 3 86-16,3-3 120 16,0 1-202-16,-1-3 85 15,-4-2 192 1,4 0-50-16,9 3 11 16,7-5-144-16,-10-2 27 15,-4 2-110-15,10-4 19 16,-2 4 33-16,3 0 0 15,-12-2 41 1,16 0-76-16,-3-4 36 16,0 2 49-16,-5 0-86 0,0-1 17 15,-9 3 11 1,3-2-91-16,-5 2-196 16,-2-2-244-16,0 2-284 15,4 0 124-15,-4 0 118 16,5-2 122-16,0 2 243 15,-1-2 179-15,-2 2 29 16,0 0 89-16,-4 0 28 16,0 0-46-1,0 0-53-15,2 0-24 16,-2 0 27-16,0 0-3 16,0 0 8-16,0 0-58 15,-6 0-108-15,0 2-333 16,-5-2-440-16,-2 0 38 15,-10-2-21-15,6 0-52 16,-6-2-330-16,13 2 726 16,0-1 267-16,-6-3 83 15,3 2 156 1,0-3 1004-16,1-3 343 16,-5-3-129-16,4 0 239 15,0-6-551-15,-1-4-364 16,5 6-319-16,3 0 11 15,-3 0-185-15,-1-2 104 16,-5 1-152-16,7-2 145 16,5 1-128-16,3 2-138 15,7-8 148 1,1 4 66-16,1 2-21 16,-1-1 41-16,-2 4-256 15,-4 3 271-15,0 5 71 16,1 1 0-16,-3 7-138 15,-3-2-50-15,3 2-93 16,0 0-284-16,0 6 152 16,-2 7 515-16,0 4-24 15,-6 4 46 1,4 0 41-16,-1 0 25 16,3-6-108-16,2 0-96 15,-2-5-81-15,4-1-387 16,0-5-16-16,15 1 127 15,11-14 58-15,2-4-494 16,-3-10 7-16,-8-4 988 16,10 4 119-1,-5 6-160-15,-3 4 169 16,-10 7-269-16,-1-1 73 16,-10 7-234-16,-8 4 1 15,-26 11-30-15,6 6 130 16,-10 0-151-16,3-2 88 15,11-8-164-15,7-2-506 16,6-5-1180-16,11-4-577 16,30 2-2537-16,8-8 989 15,-14-7 1722 1,3 2 2496-16,-13 1 3794 16,2 1-875-16,-8 7-337 15,-6 2-1299-15,-6 0-274 16,-14 13-404-16,0 4-523 15,-9 4-195-15,3 5-611 16,12-10-672-16,10-3-982 16,-2-1 359-16,6-5 154 15,0-1 682 1,4-1 830-16,11-5 516 16,-2-3 17-16,-2-1 1425 15,-7 0 222-15,-4 2-525 16,2 0-535-16,4-1-635 15,-8 3-294-15,0 11 721 16,-8 4-5-16,0 6-155 16,-1-6-330-1,1-5-263-15,1 1-607 16,3-5-779-16,-2-3-1592 16,-9-6-4583-16</inkml:trace>
  <inkml:trace contextRef="#ctx0" brushRef="#br3" timeOffset="-161155.74">29097 7133 12460 0,'0'0'2699'0,"-4"0"-1452"0,4 0-535 16,0 0-414-1,2 0-98-15,-2 0 294 16,2 0-39-16,-2 0-159 16,0 0 192-16,0 0 97 15,0 0-143-15,0 0 4 16,0 0 88-16,0 0 417 15,0 0 4-15,0 0-230 16,0 0-199-16,7-2 84 16,1 4 560-16,-4-2-707 15,-2 0-90-15,7 0 23 16,3 2-45-16,10 0-174 16,-1-2-191-16,0 2 24 15,4-4-5-15,-7 4-34 16,0-2 112-16,-4 4-32 15,8-1 64-15,6-3-252 16,3 4 184-16,-3-4 6 16,2 0 189-1,-7 0 56-15,-12 0 332 0,-2 0-154 16,7 0-318 0,-1 0-32-16,8 0-73 15,3-3-112-15,5 2-98 16,-3 2-188-16,-9-2 281 15,2 1-120-15,2-5 112 16,11 1 73-16,-12 0-120 16,-3 2-47-1,4-2-155-15,-2 1 137 16,0 1 29-16,-10 0-160 16,8 2 114-16,2-4 61 15,0 4-177-15,1-2 447 16,-12 0-263-16,-2 2-140 15,5 0 65-15,-11 2-304 16,4 0 198-16,1 4 96 16,-1 1 128-16,1-1 69 15,-3 2 36-15,-2 1 341 16,0 2 504 0,0 1-439-16,-2-1-80 15,2 2-121-15,2-1 209 16,-6 3-161-16,4 2 21 15,2 11 27-15,-2-3 74 16,4-4-1-16,0 4-63 16,-4 3-101-1,0-1 212-15,-4 1-136 16,8 4-159-16,-4-3 58 16,2-5-112-16,0 5-100 15,3 3 6-15,-1-2 58 16,-6 5 83-16,0 0-98 15,0-8-21-15,4 0 167 16,3 1-224-16,-5-3 145 16,-4 5-163-1,4 0-589-15,-4-9 264 16,-2 0 197-16,6 1 64 16,0-4 98-16,-2-1 60 15,0-2-218-15,-2 2-114 16,4-2 69-16,-4 0-58 15,0-5 84-15,2 1-304 16,0-7 80-16,-3 4-68 16,-3 1 112-1,-7-3 154-15,-1-2 136 16,-12-4 38-16,-6 3 47 16,1-1-51-16,5-4 34 15,1-1 219-15,4 1-157 16,-14-4 1-16,2-2 32 15,-7 1-20-15,12 1 21 16,0-1-57-16,-7-3 48 16,1 4-130-16,2-1 39 15,2 1 53 1,9 2-65-16,-7 1 197 16,0-1-335-16,4 4 32 15,-4-2 24-15,-5 0 9 16,7 2 84-16,7 0 66 15,-9 0 36-15,-2 0-40 16,8 0-20-16,-4 4 64 16,1-1 60-1,5 1-60-15,6 0-10 16,-3 0-32-16,8-2-19 16,1 2-35-16,6-1 10 15,-4 3 55-15,-3-2-72 16,3-2-215-16,0 2-864 15,-1 1-501-15,7-3-405 16,-2-2-1331-16,2 0-692 16,2 0-1513-1</inkml:trace>
  <inkml:trace contextRef="#ctx0" brushRef="#br3" timeOffset="-160032.42">29995 7996 3491 0,'0'0'1075'15,"0"0"33"-15,0 3-56 16,-2-1-243-16,2 2-200 16,-4 0-156-1,2-2-113-15,2 2 213 16,0 3 411-16,4 3 246 16,-2-1 186-16,0 1 542 15,0-3-432-15,0 3-73 16,0 3-289-16,-2 2-293 15,0 4-11-15,0 0-400 16,4 0 38-16,2 11-321 16,1-3 1015-1,-7-4-285-15,2 5-286 16,0-3-30-16,9 1-288 16,-9 4 314-16,-4 3-348 15,2-7-183-15,-2-5-186 16,2 2-243-16,4 5 44 15,0-1-34-15,-2 1 191 16,1 4 196-16,-3-11-222 16,-5 6-612-1,5 5 166-15,0-7 1006 16,5 3-58-16,-10 1 118 16,3-1-299-16,-2-4-93 15,6-6 76-15,0-1-139 16,-2-4 56-16,2-3-101 15,0 1 72-15,1-3-464 32,-1 1-500-32,-4-2 187 0,-3-1-307 15,-1 2-741-15,-7 1-250 16,0-3 440-16,1-4 773 16,-14 0 179-16,-8-2 380 15,1-2 265-15,1 0 74 16,-2 0 713-16,-4 0 427 15,-15 2 38-15,8-2-308 16,13 0-348-16,-20-1 102 16,-5-1-109-1,10 4-7-15,1-2-322 16,-5 0 183-16,9-2-87 16,-7-1 88-16,-3 4 413 15,13-4-228-15,-10 1-63 16,11 2 11-16,8 0-205 15,7-2-107-15,12 1-200 16,1 1-1308-16,0 2-1170 16,0-6-2448-1</inkml:trace>
  <inkml:trace contextRef="#ctx0" brushRef="#br3" timeOffset="-158306.64">29044 7156 9065 0,'0'0'3730'16,"0"0"-904"-16,2 0-676 16,-2 0-960-16,0 0-659 15,2-10-583-15,5-9-684 16,-4-2 66-16,5-1 367 15,-4-3 363-15,4-5 488 16,-4 5 53-16,0-7 352 16,-6 2 114-1,4-3 773-15,1 5 89 16,1-6-259-16,0 9-670 16,7-11-443-16,-7-3-363 15,-2-1-191-15,-2 3-346 16,2-38-1676-1,0 37 1337-15,-4 2 238 16,2 2 184-16,-4 7 314 16,8-5-101-1,-2 0-10-15,1 3-92 16,-6 1-568-16,3 5 418 16,0-2-295-16,0 5-30 15,-2-1-79-15,-6 2-69 16,0 0 192-16,1 0-132 15,0 2 76-15,7 4 375 16,-2 1 460-16,-4 3 403 16,4 5 108-1,2 0-57-15,-2-1-162 16,2 4 483-16,0 1-110 16,0 0-218-1,0 0 115-15,2 0-179 0,-2-3-114 16,0 1-151-16,2 0-61 15,2-2-15-15,0 2 73 16,1-3-197-16,1 4 128 16,3-2-65-1,-3 3-63-15,3 4 61 16,5 1 103-16,12 1 123 16,-12 2-15-16,8 3-363 15,3 0 231-15,-8-3-294 16,4 1 138-16,3 1 48 15,-12-2-40-15,14 1 26 16,21-2-87-16,-10-5-68 16,-5-2 67-1,-4 0-45-15,4 0-110 16,-1 0 97-16,15 2 26 16,-14 0-28-16,-2-2-224 15,1 0 129-15,10 2-148 16,3 2-244-16,-14-2-471 15,-2 4 141-15,1-1-1585 16,-3 2 1392-16,2-3 489 16,-4 6 312-1,-2-4 91-15,-5 1 89 16,-5-1 97-16,-2 1-101 16,0 1 37-16,-6-2 115 15,-2 3-102-15,-2-1 66 16,2 1 203-16,0 1 665 15,0-1-462 1,4 1 36-16,-4 3-147 0,0 0 62 16,-4 4 43-16,7 0-171 15,-1-3 215 1,-8 3 68-16,1-2-140 16,3 4-302-16,-4 2 80 15,0-1-230-15,4 3 88 16,0-2-6-16,-2 0-22 15,2-4 82-15,0 4-77 16,-4 1 106 0,0 1-16-16,2 0-25 15,0 0-132-15,2 3 213 16,2-1-73-16,-2-16-81 16,4 7-189-16,-8 4 132 0,0 1 5 15,0 4 89-15,0 2-167 16,0 1 276-16,0 0-56 15,-2-3-7-15,4-4-72 16,-2 2 38-16,0 3 87 16,4-1-64-1,-11 5 29-15,-2-1 282 16,5-5 129-16,3 1-166 16,-1-8 79-16,0-2-59 15,2-4-300-15,0-5 24 16,4-2-467-16,0-2-853 15,0 0-909-15,-2-2-2511 16</inkml:trace>
  <inkml:trace contextRef="#ctx0" brushRef="#br3" timeOffset="-147437.2">29044 6004 15791 0,'2'0'787'16,"0"3"398"-16,-2-3-118 16,0 0-382-16,0 0-209 15,0 0-326-15,0 0-279 16,0 0-7-16,2 2 51 15,0-2 18-15,4 2 440 16,0 4 357-16,2 1 894 16,-4 1-264-1,-2-6-671-15,2 7 456 0,3 5 4 16,-7-3-500-16,2 6-98 16,-4 2-323-16,2 2-114 15,0-1-92-15,-5 5 23 16,10 0-110-16,-3 1 70 15,0-3 81-15,-2-15-53 16,-2 11-43-16,2 9 5 0,-5 0-32 16,14 1 1-16,-7 3 93 15,-4-7-51 1,-2 5 140-16,4-1-99 16,-7 1-62-16,9 2 8 15,3 2 41-15,-1-5-2 16,-8 1-36-16,2 4 203 15,2-2-168-15,2 4 113 16,0-1-46 0,-2-7-42-16,-2 8 137 15,2 0 21-15,0 6 13 16,2-1-23-16,-4-7-181 16,4 6 200-16,-4 0-269 15,4 6 105-15,-2-12-56 16,0 2-132-16,4 2 93 15,1 3 60-15,-5 1 121 16,0-6-15-16,-7 7-15 16,7-3 63-1,0 4-183-15,0-6 22 16,-2 0-10-16,4 2-137 16,-2 3 57-16,0 1-55 15,2-8 62-15,7 4 211 16,-9-2-335-16,-2 7 130 15,2-7 19-15,4 4 82 16,-6-3 106-16,4-3-143 16,-2 6 133-1,6-8 28-15,-4 2-171 16,-2-1 136-16,0 6-419 16,2 1-43-16,-4-10-140 15,7 4 79-15,-3-6 217 16,-2 2-100-16,-2-1 300 15,2-1-67-15,0-5 230 16,0 0 142-16,0 3 4 16,4-1-115-16,-2 1-243 15,-11 0 14 1,5-3-215-16,0-8-5 16,0 2 182-16,8-2-84 15,-2-2 2-15,0-1 173 16,0 1 284-16,3-2-307 15,-3-2 107-15,2 1 79 16,0-1-55-16,-4 2-200 16,2-1 10-16,-2-8 20 15,4 7 22-15,1-2-191 16,1-3-135-16,1 0-114 16,-1 3-78-16,6 1 264 15,8-1 181-15,-6-3 85 16,1-2 55-16,7 0-47 15,-8-1 3-15,-2-1 4 16,10 0 85-16,-1 2-190 16,11 0 127-1,-2 0-102-15,1 1-45 16,3-3-1119-16,-4-2 461 16,8 0 476-16,-4-2 276 15,3 4-111-15,-11-2 70 16,4 0 58-16,-3 0 181 15,-1 2-244-15,-3 0-6 16,3 3 79-16,-6-4 70 16,2 4-200-16,-3-1 73 15,0-2 15 1,4 2 176-16,-14-4-194 16,6 2 30-16,3-2 34 15,2 3 116-15,-6-3-139 16,1 0 301-16,-8-3-9 15,8 1 38-15,-3-2-324 16,0 2 10-16,-4 0-13 16,2-2 97-1,-6 1-258-15,0-1-206 16,7 0 176-16,-5 0-89 16,-4 2-59-16,0-2-29 15,1-3 173-15,-1 1-165 16,0-5-143-16,0-1-750 15,-2 3 547-15,0-4 178 16,4-4 246-16,0 0 40 16,-1 1 35-1,-1-4 64-15,-2 4 21 16,0-1 56-16,-2-5 44 16,2 1 72-16,-3 2-79 15,-1-2 77-15,-2-6-12 16,10-3 137-16,2 2-50 15,-8 1 34-15,-2-3-198 16,4-2 126-16,2-1 3 16,-2-1-74-16,0 0 5 15,0-4-72 1,0 2 63-16,2-7 241 16,3 5 528-16,-5-2-50 15,0-2-437-15,2-5-77 16,4 5 245-16,0 0-263 15,0-5 97-15,-1 1-150 16,-5-1 24-16,7 2-109 16,-1-1-62-1,-8-5-63-15,0 5-84 16,0 3 31-16,0-3 6 16,2-3-16-16,2 5-22 15,-2 4 50-15,2-1 112 16,-2-10-92-16,-7 11 27 15,14-2 105-15,-5-1 2 16,-2-3-155-16,-2 3 135 16,2 1-6-1,-4 2 112-15,-1 0-222 16,0-3 24-16,7 3-8 16,-4 4 92-16,0 0-39 15,-4 0 3-15,4 2-73 16,0-2 117-16,4 2 13 15,-2 1 5-15,-2 3-89 16,-4-2 35-16,8 1-41 16,4 1 21-1,-10 0 8-15,-2 1 39 16,3-26-31 0,8 31 11-16,-5 3-144 15,0 0-77-15,0-2-554 16,0 2-21-16,0 2 444 15,0 2 50-15,-5 6 271 16,3-2 287-16,2 7-257 16,-2-3-232-1,2 3 15-15,-2 4 121 16,2-3 313-16,2 1 21 16,-4 0-60-16,2 4-96 15,0-2 82-15,0 0 193 16,0 2-86-16,0-2-69 15,2 2 43-15,0-4-19 16,-2 4-89-16,0 0-192 16,0 0-309-16,0 0-92 15,-2-2-334 1,2 2 287-16,-13-5 19 16,3 3 241-16,-3 0 199 15,5 0-14-15,4 0 24 16,-18-2 86-16,6 0-66 0,-12-3-17 15,9 5 76-15,-3-4-28 16,-11-1-14-16,5 3-114 16,2 0 2-1,-5-2 52-15,4 3 7 16,-1-3-31-16,-3-2 163 16,15 3 52-16,-15-1 483 15,-5 2-48-15,-4 4-80 16,6-7-236-16,6 3-229 15,3 4-89-15,-1-2-284 16,-12 2 113-16,9 0-426 16,-18-4 245-16,24 0 217 15,6 4 218-15,-9-3 456 16,-3 1-133 0,-1 0-17-16,-2 0 250 15,7-4-363-15,8 6 146 16,6-2-161-16,-5-1-208 15,-6-1 17-15,0 2-477 16,2 0 114-16,-3 0 153 16,8 0 141-1,0-1-51-15,3 6 345 16,2-6-13-16,6 3 26 16,2 0 35-16,0 0 60 15,2 0-162-15,18 0 133 16,15 0 141-16,13-1-215 15,-16 1-268 1,-4 0 81-16,3-3-103 0,11 1 80 16,9 0 280-1,-9 2 418-15,-18 2-179 16,25-4-170-16,3 2-53 16,-5 4-192-16,-1-1-10 15,7 1-97-15,44 6-152 16,-61-8 270-1,-6 1 196-15,22-3 166 16,-9 4-77-16,-14-4 32 16,-6 0-430-1,4 2-37-15,39-4-263 16,-32 2 120 0,-13-2 36-16,-3 2-71 15,-2 0-147 1,-12 0 3-16,2 2 42 15,-2 0-26-15,4 2 102 16,0 4 133-16,-6 1-29 16,-4 8-103-1,2 0 144-15,0 2 28 16,6 30 47 0,-2-22 96-16,-2 5 199 15,7 6-65-15,1-4-350 16,-3 8 76-16,-7-6 147 15,6 3 63-15,4-2-15 16,-1 2-156-16,1 1 183 16,-2-2 72-1,-2 4-272-15,-2-2 137 16,3 7-99-16,-2 2 20 16,1-1-114-16,-4 3 37 15,-2 2-107-15,8-4-196 16,-2-7-166-16,-4-2-1269 15,-2 3-2085-15,4-16-3792 16</inkml:trace>
  <inkml:trace contextRef="#ctx0" brushRef="#br3" timeOffset="-139093.22">30011 6128 9577 0,'0'0'131'0,"5"-7"-321"16,-3 1 350-16,0 1 519 15,-2 1-169-15,-2-2-514 16,-5-1 16-16,3 6-141 15,-18-2 138-15,-8 3-23 16,-4-4-11 0,-3 2 165-16,13 0 975 0,8-2-286 15,2 2 1502 1,-25-5 757-16,1-4-1182 16,-2 5-718-16,17 0-380 15,-7 0-370-15,3-1-302 16,-13 1-262-16,0 4-212 15,1-2-58-15,14 1 211 16,-2 2-43-16,-20 2 54 16,11-5 111-1,-2 0 74-15,10-1-77 16,7-1 71-16,-9 0 69 16,3 0 261-16,-1-1 45 15,10 5-340-15,-4-4-19 16,8 2-27-16,3 1-137 15,4 2-235-15,5 1-283 16,0 0 84-16,0 0 162 16,0 8 230-16,6 5 445 15,2-3 26 1,-4 3 32-16,5 10 417 16,0-8-494-1,-3 0-67-15,0 0 152 16,-8 6-119-16,0-2 500 15,-3 4 114-15,0 2-114 16,10 5-188 0,3 2-84-16,-3-3 145 0,-1-1-134 15,-4 1 244 1,8 39 57 0,-4-38-631-16,-2 4-192 15,6-5 188-15,-8 3-208 16,4 2 54-16,2 0 98 15,-2-24-37-15,-4 18-7 16,0 2 30-16,2 4-23 0,-6-1 117 16,4 3-170-16,4-4 57 15,4 6-51 1,-4-8 53-16,-8 4 5 16,2 2 20-16,4 0-85 15,-2-7-15-15,0 1 82 16,0 2 54-16,4 2-66 15,-6 4-30-15,1 0 99 16,1-2-183-16,0-4 56 16,-5 3 134-1,3 4 1-15,0-6-40 16,2 1-143-16,4-2 232 16,0 2-174-16,-4 4 185 15,-2-6-113-15,4 0-80 16,0 1 76-16,0 2-42 15,-2 6 21-15,0-2 101 16,-1-3-127-16,1 2 269 16,-2 0-287-16,4 4 92 15,0-6-135 1,2 2-74-16,-4-2 10 16,2 3 227-16,6 3 61 15,-3-11 87-15,-3 1 4 16,4 5-24-16,4-2-262 15,-8 3 213-15,-4-4 94 16,4-4-333-16,-2 2-92 16,0-1-36-16,4 3 125 15,-4-2-88 1,0-3 1-16,4 1 211 16,-2 0 215-16,0-5 6 15,0 5-200-15,-2 1-223 16,0-5-2-16,-3-5 64 15,-3 7 220-15,-5-5-355 16,7-6 224-16,3 0-273 16,1 0 119-16,2-6 108 15,2-3 47 1,1-2-165-16,-1 3 229 16,-2-5 53-16,0-2-16 15,2 4 0-15,-2-4-28 16,0 5-151-1,0-3-72-15,4 1-66 0,-1 0 175 16,3 0-120-16,-2-3 94 16,11 0-73-16,13-2 52 15,1-2 98 1,5 0 83-16,-6-3-129 16,-10 5 178-16,2 0-25 15,5 0-109-15,13 3-7 16,6 1-122-16,-12-4 73 15,-5 2 60-15,11-2 104 16,9 0-307-16,2 0 174 16,-7 4 26-16,-8-2 28 15,4 3-63 1,9-1 52-16,-5 2-20 16,-10-4 65-16,0 1-153 15,5-2 80-15,-5-1-58 16,11 0 107-16,-5 0-51 15,-19 0 64-15,-6 0-126 16,-5 3 281-16,3-3-78 16,-3 0-68-16,0 0-248 15,4 2-223 1,-6-2 84-16,0 0-76 16,-4 0-125-16,-2 0-238 15,-2-5 235-15,-6-3 123 16,-3-5 228-16,0-3 79 15,1-6 160-15,6 1-205 16,-5-2 203-16,1 0-211 16,-1-7 109-1,7 7 51-15,-9-13-85 16,5-3 56 0,2 2-51-16,4-6 92 0,-4 1-1 15,4-9-19-15,0 2-28 16,8 3 9-16,-10-3 64 15,-2-4-76-15,6 2 11 16,2 3 124-16,-2-9 54 16,2 0-112-1,-6-1 66-15,11-3-80 16,8-3-157-16,-15 3 96 16,0-7 10-16,11 7 4 15,-3-2-41-15,3-5 29 16,0 7 93-16,-7-3-115 15,0-2 2-15,5 3 65 16,-4-3-105-16,-1 5-309 16,2 2-372-1,-6-1-926-15,-2 1 989 16,2 0 267-16,3 10 299 16,3-6 77-16,-6 6 112 15,-8 0-19-15,-3 3-147 16,11 2 104-16,-2 1-39 15,-4 5-205-15,-2 0-327 16,0 0-202-16,4 6-272 16,-5 3-725-1,7-1-66-15,-2 5 985 16,4 5 464-16,-4-3 275 16,-3 2 109-16,-1 10 767 15,0-1 391-15,-2 1-171 16,4 4-41-16,-3 2-108 15,2-2-175-15,5 5-261 16,-2-2-172 0,0 2-59-16,0-3-48 0,-2 3-81 15,2 0 55-15,-2 0 296 16,0-2 57 0,4-1-153-16,-9 1-86 15,1-2-108-15,-3-1-293 16,0 1-352-16,-11 0-812 15,-4-1-560-15,0 3 531 16,-1-4 584-16,-5-1 643 16,2 3 218-1,16 2 8-15,-23 0-62 16,-3-5 16-16,-8 0 187 16,11 5 375-16,13-6 389 15,-21-1 68-15,-6-1-374 16,15 1 105-16,6-2-187 15,-10 5-188-15,2-3-298 16,1 2-58-16,7 4 264 16,-7 0-223-16,9 3-34 15,22 2-44 1,-10 2 14-16,1 0-24 16,4-2 119-16,9 3 352 15,-4-3 660-15,2 0-214 16,1 0-364-16,-3 5 336 15,0 6-119-15,2 2-277 16,0 11-429-16,4 3-64 16,2 5-87-1,-9 2-171-15,2 2-266 16,-3 12 44-16,2 3 178 16,4 6-57-16,2 2 193 15,-4 7-40-15,-4 6-616 16,3 8-336-16,1 5 514 15,-1 2-722-15,-7 8-902 16,8 5-434-16,-1 3 1955 16,-11 12 517-1,5 3 56-15,4-6-314 16,1 9-69-16,-4-3-818 16,12-10-139-16,8-10 402 15,1-3-2962 1</inkml:trace>
  <inkml:trace contextRef="#ctx0" brushRef="#br3" timeOffset="-137744.18">29553 4517 21845 0,'0'0'1185'16,"2"-4"-1711"-16,0 1 655 16,0 1-569-16,2-4-95 15,8-3-197-15,4 5 280 16,2 0 194-16,-5 0 406 15,4 0 162-15,2 1 183 16,5 6 637-16,-4-3 497 16,17 1-99-1,1 2-281-15,-15-3-397 0,7 6-35 16,12 13-329 0,-14-11-570-1,14 5 43-15,-23-2-22 16,-1 4 31-16,-10-11 21 15,4 11-108-15,3 2-13 0,6 0-38 16,-6 2 62-16,-1-1 23 16,-2 2-157-1,0-1-24-15,-2 0 126 16,1 2 20-16,-9 5-316 16,1-1-42-16,-8-2-2 15,-2 6-198-15,-11 3-183 16,0-6-527-16,6-3 626 15,-3 3 356-15,5-5 270 16,-14-2 250 0,8-2-68-16,-20 0 1021 15,8-9-315-15,-1 3-401 16,13-9-203-16,-9 2 143 16,-7-4-294-16,2 0 1 15,-14-4 41-15,2-5-5 16,13 3 267-16,-3-3 31 15,-9 5-43-15,-5-4-152 16,-1-1-65-16,21 9-48 16,4-2-115-1,-8-2-116-15,5 2-1689 16,7 2-2264-16,4-2-1231 16</inkml:trace>
  <inkml:trace contextRef="#ctx0" brushRef="#br3" timeOffset="-135626.19">29977 4737 8872 0,'0'0'5608'0,"0"0"-2351"16,0 0-1642-16,0 0-2960 31,-12 11-923-31,2 1 1237 0,3 3 491 16,3-9 311 0,6 9 226-16,-4 0 187 0,6 6 2165 15,-8-2-30-15,6 7-256 16,-4-3 236-16,4 0-987 15,-2 3-424-15,7-3-507 16,-7-4-191-16,8 4-109 16,-10-6-30-1,4 0-26-15,-6-2 82 16,2 1-209-16,-5 1 81 16,10 1 74-16,-3-1-73 15,6-5 118-15,-12 5-175 16,8 0 71-16,-7-4 34 15,5 0 88-15,-10 1-255 16,7-5 120-16,-3 6-55 16,6 0 22-16,-11 2-191 15,5-7-148 1,0 5-19-16,6-7-354 16,-6 0-262-16,0 1 874 15,-2-5 756-15,2 1 75 16,0-1-107-16,0 0-127 15,0 2-38-15,1 1-236 16,1-3-86-16,2 5-485 16,-3-1-676-1,3-2 50-15,0 3 499 16,-4-1 146-16,2 1 497 16,-5-1 702-16,3-1-262 15,2 1-150-15,-7 9-13 16,4-7-597-1,1-1-993-15,4-3 605 16,0-3 257-16,2-2 60 16,-4 2 1153-16,-2-2 7 15,0-2-100-15,-1-2-326 16,0-1 11 0,-7-4-125-16,10 4-188 15,-5-1-130-15,-10-1-292 16,8 4-272-16,3 0 20 15,-2 0-232-15,-10-1 385 16,-3 2 382-16,15 1 198 16,1-3-72-1,-20-1 68-15,-3 2-93 16,5-2 1-16,10 0-148 16,-4 1 78-16,9 1-71 15,-8 0 71-15,8 0-99 16,-12 0 51-16,1 0-18 15,2 0 25-15,-2-1-72 16,-7 3 32-16,3-1 154 16,10-4-133-1,-2 5 133-15,1-2-248 16,-4 2 104-16,-5 0-7 16,2 0 50-16,-2 0 91 15,-1 0 27-15,7-2-66 16,0 0 30-16,0 0-86 15,4-1 5-15,-4 3-75 16,-3-1 109 0,8 1-110-16,-9-3 160 15,-5 1-177-15,0 2 196 16,22 0-83-16,-2 0-44 16,-7 2-179-16,7 1 48 15,-5 3-695-15,4 0 279 16,-5 3 177-16,3-1 285 15,0 1 53-15,-5 1 680 16,3 1 43-16,6-1-195 16,-1 3-155-1,2-1-91-15,-1 4-10 16,3-6-3-16,0 3-32 16,0-3-101-16,6-1 75 15,-2 2 322-15,0-5-86 16,0 0-151-16,4 2 19 15,2 1 32-15,1-2-24 16,5-1 40-16,1 0-119 16,4 1-132-1,5-3-36-15,-8 0-222 16,9-2 193-16,7 0-204 16,0-2 124-16,1 2-36 15,9-2 208-15,-10 0-191 16,-11 3 2-16,11 1 21 15,8-4 165-15,0 2-305 16,-13 0 211-16,9-2-114 16,-2 4 241-1,-2 0-329-15,9-1 122 16,11 1-18-16,-31-2 61 16,2 2 115-16,8 0-61 15,7 0-107-15,5 1 46 16,-3-5 116-16,-9 4-15 15,-9-4-6-15,-2 0-63 16,4-2 84-16,1 2 28 16,7 0-128-1,-7-2-140-15,-4 2-44 16,-5 0-233-16,0 2-479 16,-6-2 260-16,-6 0 77 15,-2 0 165-15,2 2-64 16,0-2-148-16,-2 0-34 15,0 0 836-15,2-2 494 16,3-9-365-16,-1-1-388 16,-8-1 96-16,1 0 9 15,1-4 114 1,0 3-253-16,4-3 118 16,-4 0 15-16,2 4-39 15,2-4-38-15,-6 0 14 16,-8-2 38-16,3 2-11 15,9 4-320-15,0 3-269 16,-7-3-160 0,5 7 11-16,-4-3-494 15,-4 1-1336-15,1 6-707 16,7 2-1549-16</inkml:trace>
  <inkml:trace contextRef="#ctx0" brushRef="#br3" timeOffset="-135075.61">29734 5651 12268 0,'-8'-2'4158'16,"-7"4"-2761"-16,0 3-846 16,1 3-339-1,2 5-375-15,4 2-11 16,-6 2 446-16,3 3-123 16,7 4 811-16,6-1-48 15,9-2-150-15,-1 0 992 16,-2-6-207-16,8-2 135 15,15-5-466-15,-5-10-249 16,6-4 294-16,-8-9-122 16,-8 2-490-16,3-3-201 15,-3-4-295 1,-5 4 17-16,-13-5-139 16,2 3-112-16,-7-7-691 15,1 2-953-15,-6 4-304 16,-5 6-2025-16,-13 5-3861 15</inkml:trace>
  <inkml:trace contextRef="#ctx0" brushRef="#br3" timeOffset="-134324.62">28898 5689 13100 0,'-4'0'2391'16,"-2"0"-3038"-16,-4 3-288 16,-6-3-46-16,2 4-500 15,-4 2 535 1,6 2 611-16,-1 3 185 16,1 4 268-16,3 2 933 15,4-2 253-15,5 2 1572 16,14 0-29-16,11-1-773 15,7-7 198-15,2-9 105 16,10-13-319 0,1-6-670-16,5-10 128 15,-11 1-59-15,-19 5-661 16,-7-3-455-16,-17-7-180 16,-21-3-91-16,-11 8-42 15,-19 4-683-15,10 14-1657 16,-1 19-1264-16,-26 5-5660 15</inkml:trace>
  <inkml:trace contextRef="#ctx0" brushRef="#br3" timeOffset="-121743.74">28991 5624 2883 0,'0'-3'2125'16,"2"-3"-854"-16,-4-2-222 15,-2-3-310-15,2 1-500 16,-2 1-90-16,2 0 145 15,0 3 172-15,0 0 800 16,0 2-427-16,-4 2-397 16,-8 2-98-16,-2 6 448 15,-6 6-103 1,-11 4-300-16,11 0 2049 16,-1-1 55-16,2 0-858 15,-2 4 151-15,14-12-1162 16,-4 7 664-16,7 5-105 0,4-6-199 15,0 2-345-15,4-3-63 16,2-1-96-16,2-1-146 16,0 1-56-1,6-4 103-15,-2-3-153 0,13-2 1 16,13-8-146 0,2-5-468-16,9-1 41 15,-1-4-181-15,-9-3 330 16,-7-2 103-16,-16 0 351 15,-18-6-15-15,-2-5 380 16,-12 0 510-16,-7 5-372 16,-5 5-341-16,4 10-485 15,6 10-1386-15,-6 8-1899 16,-18 24-6600 0</inkml:trace>
  <inkml:trace contextRef="#ctx0" brushRef="#br3" timeOffset="-116316.05">28983 5967 10826 0,'0'0'3246'16,"0"-4"-824"-16,0-1 1651 16,4 3-2868-1,4 0-851-15,1 2-558 16,-5 0-255-16,16 9-458 15,-14-1 713 1,-6 2 160-16,-2 3 214 16,0 4 84-16,4 4 1085 15,-4 3-197 1,6-3-77-16,-2-2-415 16,0-2 26-16,-2-2-272 15,0 6-139-15,0-4-75 16,0-5 8-16,4 7-183 15,-4 2 43-15,-4 3 173 16,-2 3 44-16,-1 1 95 16,12 2-257-16,-5 3-7 15,2 6-116 1,4-2-51-16,2 8 35 16,-6-5 74-16,8 4-87 15,-2 1 102-15,-4-1-253 16,-2-8-1834-16,-4-4-3310 15,-2-8-2021-15</inkml:trace>
  <inkml:trace contextRef="#ctx0" brushRef="#br3" timeOffset="-115704.5">29209 5963 20499 0,'0'0'12'16,"9"-7"-131"-16,-3 1 181 16,5-1-86-16,14 1 78 15,-1 6-63-15,3 0 285 16,9 4 357-16,10-2 1179 15,-1 0-439-15,-1 0 401 16,20-6-640-16,2-4 251 16,-14 0-263-16,4-1 72 15,-3-4-588 1,-15 0-101-16,-15 3-246 16,7-1-135-16,-12 5-75 15,-4 2-27-15,-6-3-12 16,2 7-202-16,-3-2-285 15,-7 2-271-15,2 0-231 16,0 2 195-16,2 3 349 16,-2 3 246-1,-4 5 427-15,0-7 677 16,-4 5-122-16,6 2-90 16,-3-1-407-16,3 3-167 15,0 4-1876-15,11 2-4075 16,6 2-7645-16</inkml:trace>
  <inkml:trace contextRef="#ctx0" brushRef="#br3" timeOffset="-111385.18">29771 5664 2851 0,'2'-2'25'0,"6"-4"-206"16,-4 3-9-16,-4-3 102 15,4 0-396-15,5 1 339 16,-7 1 432-16,0 0 239 15,3 0-88-15,-3 0-196 16,-2-1-45-16,-2 1 643 16,0 2 276-16,4 0-17 15,-2-1-322 1,-5 2 58-16,3 1 329 16,0 0 274-16,-3 0-51 15,-1 1 946-15,-8 4 61 16,-10-1-615-16,1 0-731 15,-9 3-239-15,12-3-425 16,4 2-79-16,-1 3-89 16,2-1-203-1,9 1 51-15,2 4 893 16,2 1 42-16,0-1-59 16,-1 0 295-16,6-3-445 15,1 3-342-15,-2-4-178 16,0-1-22-16,-2 2-267 15,17 12 165 1,0-10-51-16,-3 1-37 16,2-5-92-1,7-1-86-15,0-3 47 0,-6-4 168 16,3 0 68 0,-8-4 93-16,4-7-114 15,-2-1-493-15,-6-12-3 16,7-1 169-16,-11 4 223 15,-4 4 42-15,8 0-71 16,-6 4-81-16,-2 1 21 16,5-4 22-1,-3 4 15-15,-2-1-202 16,-9-2-98-16,-7 7 460 16,-3 2-90-16,-11 6 100 15,-2 4-140-15,-4 2 325 16,15 1-227-16,-1-1 72 15,8 2 73-15,4-3 183 16,5-1-342 0,1 4-123-16,4 1-483 15,6-1-3406-15,7 1-6258 16</inkml:trace>
  <inkml:trace contextRef="#ctx0" brushRef="#br3" timeOffset="-104021.66">29508 4906 8936 0,'0'0'1138'15,"2"-2"-79"-15,-2 0-282 16,-2 0-341-16,2-2-208 16,0-1-477-16,-4-1-518 15,0-1 193-15,-16-1 410 16,6 4 589-16,-4 2 168 15,6 2 155-15,-15 2 354 16,1 5 1231-16,0-3-271 16,8 4-480-1,-4-2-558-15,14 1-395 16,6 1 636-16,-5 5 43 16,3 4-62-16,10 2 4 15,3-2-346-15,44 14-104 16,-15-28-858-1,-2-6-56-15,-8-5-537 16,-10-2 395-16,8-3 373 16,-9-2 407-1,-2 2 61-15,-6-17 412 16,-14 18-800 0,-6-1-275-16,-6 7 23 15,-3 1 26-15,-10 10-112 16,13 1 103-16,4 3 19 15,0-1 119-15,3-1 34 16,8-6-193-16,-5 6-269 16,7-5-1018-1,3 0-4141-15</inkml:trace>
  <inkml:trace contextRef="#ctx0" brushRef="#br3" timeOffset="-103338.66">29624 4430 13325 0,'0'0'2547'15,"0"0"-1092"-15,0 0-560 0,0 0-1112 16,-15 0-1774 0,-3 4 245-16,-20-2 360 15,10 0 1029-15,5 1 475 16,3-3 423-16,6 1 906 15,4 4 498-15,-2 1-202 16,10-2-507-16,0 5 354 16,4 2 213-1,2-5-466-15,6 0-69 16,4-2-412-16,5-4-241 16,0-4-270-16,2-7-98 15,-1-3-250-15,-4-9-283 16,-8 1 538-16,-1 5 409 15,-2 0-128-15,-5 9 6 16,-8-3-225-16,4 5-354 16,-12 2-68-1,-6 6 87-15,-9 8 193 16,11 6-155-16,4 0-331 16,12 1-1313-16,6-2-2582 15,16 2-5436-15</inkml:trace>
  <inkml:trace contextRef="#ctx0" brushRef="#br3" timeOffset="-102140.66">29561 4394 8808 0,'0'0'3696'16,"0"-2"-1372"-16,-2-1-349 15,4 2-746-15,-2 1-929 16,0-3-831-16,4 2-642 15,4-2 412-15,4 1 239 16,0 4 521-16,-4-2 440 16,7 4 695-1,2 0 189-15,0-1-289 16,15 1 23-16,2 0-446 16,-5 1-130-16,-7-3-144 15,2 4 902-15,-10-2-495 16,-2 0-181-1,-3 3-214-15,12-1-195 16,-2 5-113-16,7-1-162 0,-1 1-20 16,-2-3 130-1,-2-4-27-15,-11 3 51 16,8 1 59-16,-6-1-130 16,1-1 206-16,-9 1-156 15,22 1 140-15,-14-2 0 16,2 3-4-16,-2-1-106 15,7 3-110-15,-6 0 2 16,-3-1 27-16,1 0-2 16,-1 3-35-1,-4-5-37-15,3 3 16 16,-2 2 98-16,-5-5-32 16,0 1 92-16,0-1-155 15,0 1-312-15,0-1 64 16,2 5 255-16,-4-4-2 15,4 1-436-15,-4 3 101 16,4-3 213-16,-2 5 150 16,1-2-22-1,-3-1-10-15,-5 4 96 16,1-4 23-16,0-1-73 16,-6-1 25-16,4 3 7 15,-5 4 127-15,2-7-157 16,3 1 78-16,-3-1-168 15,3-3 89-15,2 1 31 16,0-1 0-16,-11-1 76 16,6 1 104-1,-18-6 287-15,10 4 87 16,-8-1-552-16,3 3 51 16,-4-1-232-16,-7-2 329 15,-7 2 70-15,10-2 737 16,5-1 49-16,-13-3 319 15,-15-4 197-15,-47-13 301 32,43 8-1206-32,2-4-910 15,30 5-2136-15,-5-1-5404 16</inkml:trace>
  <inkml:trace contextRef="#ctx0" brushRef="#br3" timeOffset="-95618.26">29270 6085 24215 0,'0'-4'565'0,"0"-2"1624"15,0 3-1558-15,0 3-324 16,0 0-218-16,6 7-233 16,8 14-126-16,-10-12 171 15,7 16-461-15,1 11-402 16,-1 12 450-16,4 1 582 16,-9-9 906-16,4 11 354 15,12 0 434-15,8 0-219 16,-16-9-548-16,1 9-593 15,11 0-255-15,-1-1-95 16,7 3-35-16,10 3-12 16,-6-10-5-16,-4-3-1 15,-5-1-1164 1,-11-15-4562-16,-2-1-4107 16</inkml:trace>
  <inkml:trace contextRef="#ctx0" brushRef="#br3" timeOffset="-94351.56">29347 6244 3075 0,'0'0'5728'0,"0"0"-1375"16,0-2-1227-16,-2 0-553 15,2 0-867-15,0 2-1356 16,0 0-680-16,0 0-642 15,26 4-1340-15,18-6-549 16,7-3-1623-16,-7 4 380 16,-10 1 3742-1,-15 0 2831-15,-17 1 820 16,-10 6 1899-16,-35 1 648 16,-18 11-1524-16,-7 9-1132 15,7-3-1805-15,19-1-759 16,10-3-678-16,8-2-719 15,12-9-80-15,3 3 34 16,7-2 280-16,17-1 238 16,11-6 265-16,0-6 24 15,0 2 252 1,10-6 317-16,1 0-25 16,-8 2-189-16,-8-1-364 15,-4 3 1-15,-13 2-97 16,2 7-55-16,-4 9-31 15,-6 8 4-15,-17 3 310 16,-11-1 98-16,-6-1 588 16,5-6 153-1,15-4-411 1,8-7-433-16,6-3-183 0,4 1-4 16,12 4 151-16,33-5-102 15,12-10-122-15,-8-1 287 16,-16 0 211-16,-9 2 90 15,1 1-226-15,-14 6-140 16,-9 3-81-16,-11 17 92 16,-14 15-34-1,-59 45-17 1,29-41-18-16,13-12-262 16,16-5-3169-16,7-6-5289 15</inkml:trace>
  <inkml:trace contextRef="#ctx0" brushRef="#br3" timeOffset="-93739.99">29489 7222 20820 0,'0'0'1976'15,"-17"2"518"-15,-23 6-570 16,-21-4-971-16,-12 5-680 15,16-1-312-15,9-3-614 16,18 1 109-16,18-4-202 16,9 0 57-1,16 2 421-15,31 7 1114 16,5-6-96-16,8-5-93 16,-4 0 291-16,-4 0 639 15,-30 4-744-15,-11-2-287 16,-6 0-137-16,0 13-104 15,-16 8-125-15,-16 2-98 16,-19 1-52-16,13-1-26 16,17-8-9-16,9-4-34 15,2-3-442 1,6 7-18-16,10 2 423 16,28-4-256-16,8-6 246 15,-4-5 392-15,-14 0 21 16,-14-2-125-16,-6 0 35 15,-1 0-106 1,-5 13-42-16,-11 11-42 0,-29 1-27 16,-5 3-16-1,10-7-31-15,-1 0-1022 16,8-3-2318-16,11-10-3288 16,13-1-1096-16</inkml:trace>
  <inkml:trace contextRef="#ctx0" brushRef="#br3" timeOffset="-93000.59">29357 8138 17905 0,'-14'0'5984'0,"-7"-4"-2830"16,-3 2-1766-1,-6 2-2584-15,-3 0-2442 16,1 0-542-16,13 0 848 16,10 2 1884-16,9-2 913 15,12 4 325-15,21 1 2916 16,7-8-327-16,2 3-812 15,5-6 1060-15,-13 2-203 16,-13 2-325-16,-10-1-389 16,-3 3-307-16,-3 0-709 15,-5 0-406 1,-3 0-511-16,-20 15-1235 16,-8 2 215-16,5 4-346 15,1 3 144-15,12-3 667 16,4-6 678-16,5 2 352 15,6 4 742-15,17 2 348 16,23-2 167-16,3-2-241 16,1-4-434-16,6 0-255 15,-12-2 28 1,-21-5-387-16,-7 1-122 16,-12 3-44-16,-34 16-19 15,-12 1-21-15,-11 1-9 16,10-8-3-16,13-6-1 15,13-3-1-15,9-5-16 16,9 5-366-16,12 4 75 16,18 2-573-16,18-4-1088 15,-9-7-932 1,-12-1-3386-16,-4-3-2546 16</inkml:trace>
  <inkml:trace contextRef="#ctx0" brushRef="#br3" timeOffset="-88475.49">25952 3613 12684 0,'-2'-2'5593'0,"2"-9"-2616"16,0 5-880-16,0 0-626 16,2 1-628-16,4-1-1200 15,-6 4-496-15,0 2-627 16,0 0-346-16,-4 14 453 15,-17 22 958-15,-11 20 766 16,0-3 704-16,13 0 1899 16,3 10-273-16,0-6-982 15,-6 2-95 1,0 11-371-16,-1-11-679 16,-5 1-304-16,-4-3-229 15,18-15 84-15,1-1-104 16,-4-4-58-16,4-5 90 15,7-15-68-15,4-10-33 16,4-6-122-16,-2-1 7 16,-2-14-365-16,12-26 930 15,5-15-344 1,0-13-24-16,6 4 225 16,5 3-202-16,-7-7-46 15,8 1-386-15,1-5-325 16,-15-2-1389-16,-5 2 2381 15,6 4-250-15,10 11 111 16,-18 14 635-16,5 5 30 16,-9 4-76-16,9 9-531 15,-11 8-163 1,0 6-58-16,0 1-237 16,-5 3-749-16,-5 6-55 15,6 2 645-15,-13 16 214 16,6 19 575-16,4 11 721 15,12 8-383-15,4 15 253 16,20 65 37 0,5-65-671-16,-4 0-222 15,-1-6-67 1,-3-7-21-16,-6-4-7 16,8-9-1232-16,-6-6-3046 15,9-6-6586-15</inkml:trace>
  <inkml:trace contextRef="#ctx0" brushRef="#br3" timeOffset="-86301.75">30306 6134 16464 0,'0'0'3236'0,"0"0"-1319"16,0 0-685-16,4 0-752 15,-4 0-1077-15,0 0-241 16,0 0-622-16,0 0-616 15,2 0 772-15,-4 2 1298 16,0 2 1230-16,-2 1 37 16,4-4 586-1,0 4-137-15,-2-3-329 16,2 0-450-16,0 0-241 16,0 0-52-16,0-2-55 15,2 0 31-15,-2 0 119 16,0 0-218-16,0 0-123 15,-2 0-249-15,2 0-81 16,0 0 167-16,0 0 91 16,2 0 98-16,-2 0 2 15,0 0-117 1,0 0-96-16,0 11-114 16,-6 5-6-16,-6 12 137 15,6 2-140-15,0 8-102 16,10 7 321-16,-4 5-97 15,6 7-129-15,4 7-49 16,-2 6-19-16,2-3-6 16,1-1-2-1,-5 2 0-15,5-9-1 16,-3 1 0-16,3-8 0 16,-5-15 0-16,-2-10 0 15,-4-6 0-15,2-12-1411 16,0-3-2417-1,-2-6-1936-15,-2-36-2437 0</inkml:trace>
  <inkml:trace contextRef="#ctx0" brushRef="#br3" timeOffset="-85707.76">30318 6081 31358 0,'3'0'504'0,"14"0"-62"15,16 0-178-15,56 6-136 16,-31-4-723-1,7 5 207-15,9-5-224 16,-13-2 445-16,12 2 324 16,-12-2 207-1,-6 0 334-15,4 2-507 16,7 5 47-16,-24 1-203 16,-2 7-80-16,-1 4-1020 15,-16 6-181-15,0 9 157 16,-13 4 204-16,0 5 570 15,2 7-58-15,-4 5 298 16,-8 7 257-16,0-5 525 16,-2 9 542-16,-4 1-183 15,4-5-208 1,-2-3-173-16,0-6-370 16,-6-7-203-16,6 1-69 15,0-7-28-15,-2-4-46 16,-6-6-572-16,-4-11-673 15,-5-2-252-15,-4-3 357 16,-20-9 571-16,-16-7 242 16,0-7 256-1,-1-2 130-15,-9-1 47 16,5 1-30-16,-15 1 60 16,10-3-30-16,11 2-512 15,5-5-2440-15,0 3-2408 16,19-6-3019-16</inkml:trace>
  <inkml:trace contextRef="#ctx0" brushRef="#br3" timeOffset="-85209.23">30318 7042 6822 0,'7'12'12781'0,"6"8"-5794"16,14-1-3451-16,24 0-1849 15,17-2-1046 1,-5-15-540-16,15-11-637 16,-7 5 327-16,-4-4 185 15,-52 5 18-15,44-3 646 0,6 2-410 16,-11 2-155-16,3 6-48 15,-10 0-18-15,-15 5-5 16,3 3-3 0,5 1-482-16,-6 0 54 15,-12 0-746-15,-10-1-321 16,3 12 397-16,-7 1 356 16,1 11 328-16,4 8 195 15,-9-3 309-15,2 3 163 16,-4 13 137-16,-6-4 253 15,0 0 304-15,-4 10-204 16,1-10-33-16,-2 0 137 16,-1-6-74-16,-3-7-406 15,5-10-214 1,-2-1-213-16,-4-10-397 16,-2 2-537-16,-4-8-2001 15,1-4-3763-15,-6-9-2916 16</inkml:trace>
  <inkml:trace contextRef="#ctx0" brushRef="#br3" timeOffset="-84819.13">30331 7112 19378 0,'-4'4'4772'16,"-19"9"-816"-16,5 4-2071 16,4 4-1243-1,8 15-855-15,-3 23-406 16,14 4 461-16,5 3 658 16,0 6-45-16,0 7 136 15,4-10 108-15,3 1-106 16,0-6-402-16,-2 4-128 15,-1-16-42-15,12-7-14 16,10-5-4-16,21-6-3 16,2-15 1-16,-1-11-1 15,1 1 0 1,13-9 0-16,17-5 0 16,-26 5 0-16,-2 0 0 15,7 7 0-15,-13 2-1336 16,-4-5-3080-16,-17-2-3921 15</inkml:trace>
  <inkml:trace contextRef="#ctx0" brushRef="#br3" timeOffset="-84456.13">30331 8229 28155 0,'5'53'2622'15,"5"28"-1237"-15,5-9-974 16,-1 4-278-16,2-6-92 16,0-13-28-1,8-9-8-15,-1-5-4 0,-6-14 0 16,8-1-247 0,-9-11-1095-1,-10-13-1367-15,8-2-9009 16,-7-14 5042-16</inkml:trace>
  <inkml:trace contextRef="#ctx0" brushRef="#br3" timeOffset="-83923.09">30257 7954 12652 0,'0'0'4160'15,"0"0"-275"-15,0 0-571 16,0 0-523-16,27 6-82 16,12 5-1259-1,1 0-999-15,20-3-319 16,13-2-193-16,6-1-25 16,-3 3-73-16,-13 5 619 15,22-3 292-15,-8 7-534 16,-21-8-154-1,5 8-41-15,-13-11-16 0,-9 7-4 16,13 0-2-16,-4-5 0 16,-5 2-638-1,-8 3-888-15,1-2-553 16,-12 8 50-16,-1 10-820 16,-14 7 1493-16,-14 11 996 15,-1 8 1348-15,-11 9 1806 16,-5-1-665-16,-2 9 270 15,-6-6-738-15,-7-3-1082 16,-13 3-388-16,9-5-137 16,12-10-37-1,-11 2-12-15,-10-4-4 16,11-16-1-16,9-9-1 16,-2-11 0-16,-14-11 0 15,-7-15 0-15,4-10-204 16,-3-17-1236-16,-8-7-1625 15,-20-25-7508 1,52 31 2569-16</inkml:trace>
  <inkml:trace contextRef="#ctx0" brushRef="#br3" timeOffset="-82452.57">26769 9917 30012 0,'0'0'701'0,"0"0"10"0,-2 0-245 15,0 1-151 1,6 6-74-16,11 3-82 16,11-3-70-16,7-3-46 15,3-2-26-15,-6-2-10 16,10-2-3-16,17 0-3 15,-2 0 0-15,-15 2-1 16,0 2 0-16,15-2 0 16,-3-4 0-16,3 1 0 15,-3-5 0 1,-1-4 0-16,-11-4 0 16,-12-9 0-16,8-13 0 15,-1 0 0-15,-7-2 0 16,-7 2 0-16,-6-9 0 15,-8 3-20-15,-11-1-281 16,-14 3-111-16,-9-1 289 16,-7 5 77-16,-2 4 209 15,0 7-83 1,-4 1 111-16,-11 10 105 16,4-1-188-16,1 4-68 15,-15 11-24-15,8 4-11 16,21 4-3-16,-2 3-2 15,-15 12 1-15,3 6-1 16,1 9 0-16,7 13 0 16,-2 4 0-1,2 9 0-15,-3 5 0 16,12-5 0-16,14 5 0 16,9 5 0-16,10-2 0 15,1 0 0-15,18-7 0 16,13-1 0-16,10-3 0 15,5-8 0-15,15-2 0 16,5-9 0-16,-18-7 0 16,19-7 0-16,1-5 0 15,12-12 0 1,-4-9 0-16,-10-3 0 16,11-3 0-16,-19-6 0 15,-9-3 0-15,1-5-227 16,8 2-3842-16,-8-4-6651 15</inkml:trace>
  <inkml:trace contextRef="#ctx0" brushRef="#br3" timeOffset="-82021.57">27686 10018 31101 0,'0'0'431'15,"17"-7"163"-15,10 1-238 16,9 4-189-16,6-2-96 15,9 2-41-15,6 4-19 16,-6 2-7-16,4 3-3 16,2 3 0-1,-4 7-1-15,-17 0 0 16,2 2 0-16,2 2-20 16,-12 2-270-16,-13 3-510 15,-15 6 501-15,-25 10-121 16,-14-6 808-16,1 4-183 15,-12-2 82-15,-12 5-251 16,11-3-47 0,13-13-1078-16,5-6-2190 0,13-10-4771 15</inkml:trace>
  <inkml:trace contextRef="#ctx0" brushRef="#br3" timeOffset="-80999.43">28384 10003 20660 0,'0'0'3725'0,"0"0"-1011"15,0 0 476 1,2 0-2225-16,13 0-259 15,2 0-307-15,13 2-171 16,10-2-120-16,-2 6-65 16,9 1-25-16,-3 1-11 15,11 5-5 1,-11-2-1-16,-9-3 0 16,9 3-1-16,0-3 0 15,-10-2 0-15,-9 3 0 16,-8-2 0-16,-2-3 0 15,-4 0 0-15,-5-2 0 16,0 0 0-16,-4-2 0 16,0 2-153-1,0-2-280-15,-2 0-143 16,0 0-206-16,2 0 261 16,0 2 205-16,4-2 628 15,-4 0 75-15,8 0 166 16,2-2-187-16,8-4-145 15,9-7-432-15,-1-2 11 16,-7 0 101-16,4-3 285 16,5-6 71-1,6-4 341-15,0 1-345 16,-8-7-196-16,-6 0-245 16,-6-8-29-16,-6-4-221 15,-6 1 74-15,-6 5 34 16,0-7 392-16,-6 1-217 15,-8 6 293-15,-10-1 154 16,-15 5-136-16,-3-4 130 16,10 17-38-16,-11 3-127 15,-5 6 170 1,5 8-170-16,5 3-74 16,-5 10-28-16,9 4-12 15,2 7-4-15,5 8-2 16,7 3 0-16,10 9-1 15,0 5 0-15,0 8 0 16,8-5 0-16,11 7 0 16,4 0 0-16,-3 2 0 15,11-6-671 1,19-5-3789-16,8-8-4991 16</inkml:trace>
  <inkml:trace contextRef="#ctx0" brushRef="#br3" timeOffset="-80623.3">29252 10175 27898 0,'0'0'1104'0,"0"0"213"16,4 0-359-16,2 0-356 15,2 0-218 1,6 0-157-16,-4 0-102 16,-2 0-59-16,12 1-23 15,11 6-18-15,9-1-14 16,-5 3-7-16,-12-3-2 15,12 1-2-15,12-3 1 16,-3 2-1-16,-12 1 0 16,-15-1 0-16,3 0-688 15,-2 1-1660 1,-12-5-3037-16,-2 6-3503 16</inkml:trace>
  <inkml:trace contextRef="#ctx0" brushRef="#br3" timeOffset="-80302.06">29601 10075 31614 0,'11'2'543'15,"3"3"-242"-15,1-1-154 16,14 9-54-16,16 3-40 15,-5-1-43-15,0 4-6 16,-14 0-3-16,10 6 0 16,-5 1-1-16,-13-5-35 15,-6 4-251 1,-16 7 268-16,-22 2 223 16,-11 0-120-16,-14-2-53 15,-6-7-21-15,6-4-7 16,17-6-3-1,11-4-698-15,12-7-4291 0,9-2-2154 16</inkml:trace>
  <inkml:trace contextRef="#ctx0" brushRef="#br3" timeOffset="-79536.02">30264 10238 14318 0,'0'0'6207'0,"4"2"-1251"15,8 5-1707-15,12-5-1773 16,5 2-1405-16,-1-6-1069 15,0-5 321-15,12-8 133 16,15 5 524-16,-11-5 370 16,-10 3 1249-1,7-1-23-15,1 2-842 16,5-1-443-16,-14 1-187 16,-5 2-62-16,8-5-23 15,6-1-10-15,-2-6-6 16,-11 6-2-16,-1-6 0 15,6-5-1-15,-5 1 0 16,-3 0 0-16,4-9 0 16,-9 4 0-1,-9-4-264-15,-7-6-19 16,-3 2 20-16,-4 0 22 16,-9 4 31-16,-12-6 100 15,-11 4 5-15,-6 4 7 16,-3 7 181-16,-11 6-113 15,-1 6 225-15,6 6-7 16,-2 14 26-16,-4-1 375 16,8 5-380-1,15 8-135-15,5 4-44 16,8 11-17-16,11 4-8 16,5 0-2-16,3 8-3 15,9 7 1-15,4-13-1 16,10 1 0-16,9-3 0 15,6-2 0-15,-1-2-2764 16,-2-5-4261-16,9-5-5961 16</inkml:trace>
  <inkml:trace contextRef="#ctx0" brushRef="#br3" timeOffset="-79224.85">30816 10253 29916 0,'0'0'901'0,"5"2"-98"16,15 7-206-16,15-5-276 15,5-2-185-15,8-2-78 16,15-2-35-16,-10-1-15 16,9 3-5-16,7 3-2 15,-17-1-1 1,3 0 0-16,-7 4-159 16,-5-3-2117-16,-13 3-3175 15,-16-4-2957-15</inkml:trace>
  <inkml:trace contextRef="#ctx0" brushRef="#br3" timeOffset="-78902.04">31256 10107 32767 0,'0'0'0'0,"17"6"0"15,10 5 0-15,20 8 0 16,27 6 0-16,-6 0-915 16,12 10-267-1,-8-6 863-15,-3 3 788 16,-6 2 68-16,-17-3 20 16,-10 3-25-16,-17-4-345 15,-17 2-112-15,-16 10-38 16,-27 2-23-16,-22 1-8 15,-17-5-5-15,-13 0 0 16,6-6-1-16,6-4-314 16,16-2-7551-1</inkml:trace>
  <inkml:trace contextRef="#ctx0" brushRef="#br3" timeOffset="-76094.81">25937 3621 13036 0,'0'0'491'0,"0"0"160"16,0 0-257-16,0 0-153 15,-2 3-78-15,2-3-118 16,-2 0-2-16,2 0-15 16,0 0 43-16,0 0 324 15,-4 1 598 1,4 2 150-16,0-1 150 16,0 2 202-16,4 3 560 15,0 1 120-15,2 2-402 16,1 1-297-16,-3 1-326 15,11 8-131-15,-4-8-422 16,1 4-277-16,-4-2-36 16,2 3-126-16,-2 0 36 15,4 4-62-15,1-4-120 16,0 0 44 0,4 2 39-16,-5 0 290 15,8 0-253-15,0-2 17 16,-7-4-86-16,0-3-34 15,-3 3-14-15,1 0-7 16,4-1-4-16,-2-1-2 16,-5-1-1-16,-4 1-1 15,4 2 1 1,4-1-1-16,-4 1 0 16,2 4 0-16,3 0 0 15,2-2 0-15,-2-2 0 16,7 4 0-16,-2-4 0 15,-12-1 0-15,7 5 0 16,-5-5 0-16,1 4 0 16,3-2 0-1,-3 3 0-15,1 2 0 0,4 0 0 16,2-2 0 0,-1 0 0-16,2-2 0 15,-2-2 0-15,-1 0 0 16,-1-5 0-16,-4 2 0 15,-3-1 0-15,0-1 0 16,0 3 0-16,-4-3 0 16,3 3 0-1,6 0 0-15,1-1 0 16,-5-3 0-16,-5-1 0 16,0 0 0-16,-2-6 0 15,2 5 0-15,-2-4 0 16,2-1 0-16,-2 3 0 15,0-1 0-15,0-2 0 16,0 0 0-16,0 0 0 16,2 0 0-1,0 2 0-15,-2-2 0 16,0 0 0-16,0 0 0 16,0 0-938-1,-4-4-5175-15</inkml:trace>
  <inkml:trace contextRef="#ctx0" brushRef="#br3" timeOffset="-70867.46">25994 3702 11307 0,'0'0'675'16,"-2"0"309"-16,2-4 67 15,-4-1-10-15,4 1-276 16,0 0-105-16,-2 1-28 15,2 3-204-15,0-1-293 16,0 1-60-16,0 0 284 16,0 0-145-16,4 4 207 15,4 4 295-15,-4 1 220 16,1-1 720-16,4 5 589 16,-5-2-469-16,4 3-269 15,-2 1-295-15,7 17-40 16,-4-17-757-1,3 2-259-15,3-1 37 16,-7 0-6-16,1 5 24 16,6-5 113-1,-3-3-68-15,8 4 172 16,-6-4-189-16,-7 0-85 16,-1 1-38-16,5 1-55 15,6 0-30-15,-11 0-17 16,0-1-6-16,-2 3-5 15,10 5-1-15,0-1-1 16,3-2 0-16,2-5-1 16,0 4 0-1,-3-4 0-15,2 2 0 0,-5-6 0 16,-5 5 0 0,7 1 0-16,-6 0 0 15,1-2 0-15,-2 3 0 16,10 0 0-16,-2 0 0 15,6 2 0-15,-10-6 0 16,5 3 0-16,-4 0 0 16,6-2 0-1,-7 1 0-15,2 0 0 16,-4 2 0-16,3 0 0 16,-3 2 0-16,5 2 0 15,2-6 0-15,-1 2 0 16,0 2 0-16,3-4 0 15,-6 2 0-15,1-3 0 16,-1 3 0-16,1-2 0 16,-4-2 0-1,0 2 0-15,-2 0 0 16,3-2 0-16,-2 3 0 16,-1-1 0-16,2 0 0 15,3 0 0-15,2 0 0 16,0-1 0-16,3 1 0 15,-2 2 0-15,-4-2 0 16,-1-2 0-16,4-1 0 16,-4 3 0-16,1 0 0 15,0-1 0 1,-2 2 0-16,-2-2 0 16,0-1 0-16,9 4 0 15,-4 0 0-15,6 2 0 16,-5-4 0-16,2-2 0 15,-4-1 0-15,5 3 0 16,-6-4 0-16,-1 4 0 16,5-1 0-1,-9-3 0-15,5 4 0 16,-4-2 0-16,7 3 0 16,-2 1 0-16,8 0 0 15,-7-2 0-15,3 2 0 16,0-2 0-16,0 0 0 15,-6-3 0-15,2 3 0 16,0-2 0-16,-6-3 0 16,7 7 0-1,-2-4 0-15,2 2 0 16,-3 0 0-16,8 1 0 16,2 1 0-16,-3-2 0 15,-2-2 0-15,0-2 0 16,-3 1 0-16,2-3 0 15,-2 1 0-15,0 1 0 16,1 0 0-16,-2-1 0 16,-1 3 0-1,3 0 0-15,-5-1 0 16,16 7 0-16,-12-6 0 16,2 0 0-16,-2-3 0 15,7 3 0-15,0 0 0 16,-6-3 0-16,-7 1 0 15,4 1 0-15,-6-3 0 16,12 3 0-16,-2 3 0 16,-5-4 0-16,14 15 0 31,-6-14 0-31,-4 1 0 16,2-2 0-16,-7-3 0 15,7 4 0-15,-2 1 0 16,4-2 0-16,-9-1 0 15,5 3 0-15,0 0 0 16,-3 0 0-16,2-1 0 16,4 1 0-1,-6 2 0-15,5 0 0 16,-2-1 0-16,2 3 0 16,5-2 0-16,10 10 0 15,-21-12 0 1,1 2 0-16,5 2 0 15,-6-2 0-15,5 1 0 16,0 0 0-16,4 0 0 16,-3-1 0-1,0-2 0-15,2 2 0 16,2-2 0-16,-6-3 0 16,1 3 0-16,-8-3 0 15,8 5 0-15,-10-4 0 16,6 1 0-16,1-1 0 15,1 0 0-15,4-1 0 16,-2 9 0 0,-8-8 0-1,6-1 0-15,-2 3 0 16,-2-4 0-16,5 3 0 16,2-3 0-16,-7-1 0 15,5 3 0-15,-3-1 0 16,-2-1 0-16,4 3 0 15,-2-1 0-15,7 2 0 16,-13-5 0-16,9 16 0 31,-5-12 0-31,5-1 0 16,-5 2 0-16,4-3 0 16,-2 3 0-16,0-3 0 15,3 3 0-15,0-2 0 16,4 1 0-16,-1-3 0 15,-7-1 0-15,-4 1 0 16,3 4 0-16,0-3 0 16,0 3 0-1,2 0 0-15,-6-1 0 16,0 1 0-16,6 4 0 16,3-5 0-16,-7 4 0 15,5-4 0-15,2-1 0 16,-3 3 0-16,0 1 0 15,6-2 0-15,-6-2 0 16,3 1 0-16,-5-3 0 16,3 3 0-16,0-1 0 15,-5 2 0 1,2-5 0-16,0 5 0 16,6-2 0-16,-6-3 0 15,6 5 0-15,-3-1 0 16,0-1 0-16,6 2 0 15,4 1 0-15,-4-1 0 16,2 2 0-16,-2-2 0 16,-11-1 0-1,3 5 0-15,1-2 0 16,-1-2 0-16,2 1 0 16,1 6 0-16,2-5 0 15,8 3 0-15,-3-3 0 16,-2-2 0-16,-4-2 0 15,1-1 0-15,0 1 0 16,2 1 0-16,-1 1 0 16,-2-2 0-1,-5-3 0-15,7 7 0 16,0-4 0-16,4-3 0 16,-3 5 0-16,4-3 0 15,-8-1 0-15,-1-1 0 16,4 3 0-16,-2-3 0 15,-9-4 0-15,8 7 0 16,0-2 0-16,0-1 0 16,-4-1 0-1,-2 1 0-15,7 1 0 16,9-1 0-16,-12-2 0 16,2 3 0-16,0-3 0 15,4 2 0-15,-1 1 0 16,0-5 0-16,-2 5 0 15,-5-3 0-15,2 0 0 16,0 0 0-16,-6 1 0 16,4 2 0-16,4 1 0 15,-3-1 0-15,4-3 0 16,-1 2 0 0,-1-1 0-16,-3-1 0 15,1 3 0-15,2-1 0 16,-1-2 0-16,10 3 0 15,-6-3 0-15,-4 3 0 16,7-1 0-16,1 0 0 16,-10-1 0-1,8 2 0-15,0 1 0 16,-6-6 0-16,7 7 0 16,0-3 0-16,-2-1 0 15,4-1 0-15,4 5 0 16,-10-7 0-16,-6 4 0 15,1-1 0-15,11 3 0 16,-2 1 0-16,-4-3 0 16,-5 1 0-16,2-1 0 15,6 0 0 1,0 3 0-16,-1-2 0 16,-2-3 0-16,8 4 0 15,-7-1 0-15,-4-2 0 16,2 3 0-16,0-4 0 15,1 5 0-15,-4-5 0 16,4 5 0-16,-1-3 0 16,10 5 0-1,-8-2 0-15,-4-5 0 16,6 2 0-16,0 1 0 16,1-1 0-16,-8-1 0 15,0 1 0-15,7 3 0 16,-1-3 0-16,-4 1 0 15,-1 2 0-15,11-1 0 16,1 1 0-16,-4-3 0 16,0 0 0-1,3-1 0-15,-6 2 0 0,-3-4 0 16,-1 4 0 0,-1-3 0-16,1 3 0 15,0-1 0-15,5 1 0 16,6 1 0-16,-3-1 0 15,-3-1 0-15,10-1 0 16,-7 1 0 0,-2 1 0-16,2-1 0 15,-4 0 0-15,6 5 0 16,-7-4 0-16,14 5 0 16,-2-1 0-16,-1-5 0 15,7 10 0 1,-13-10 0-16,-4 2 0 15,2 2 0-15,2 0 0 16,-2-4 0-16,1 3 0 16,6-1 0-16,-1 1 0 15,-3-2 0-15,-8 1 0 16,8-1 0 0,0 4 0-16,-1-3 0 15,7 3 0-15,4-3 0 16,1 3 0-16,-5-7 0 15,-6 5 0-15,2-1 0 16,1 3 0-16,5 0 0 16,2-3 0-1,-1 1 0-15,-4-1 0 16,-6 1 0-16,5 0 0 16,-6 2 0-16,12 1 0 15,4-3 0-15,1 0 0 16,-7-3 0-16,-4-2 0 15,-1 3 0-15,1-1 0 16,3 1 0-16,-4 1 0 16,7-1 0-16,-1-1 0 15,-11-1 0 1,5 1 0-16,-2-1 0 16,4 1 0-16,-5-2 0 15,0-2 0-15,4 5 0 16,-3-3 0-16,-6 1 0 15,2-1 0-15,2 2 0 16,0-1 0-16,6 3 0 16,-1-5 0-16,-6 1 0 15,8 2 0 1,0-1 0-16,-1-1 0 16,-6-2 0-16,2 3 0 15,3 1 0-15,-1-1 0 16,5 1 0-16,-4-2 0 15,-4-2 0-15,-1 3 0 16,2-1 0 0,0 1 0-16,1 1 0 0,2 0 0 15,0-1 0 1,-1-1 0-16,-3 1 0 16,22 8 0-1,-19-7 0-15,-2-2 0 16,2 1 0-16,-1 1 0 15,9 0 0-15,-1-1 0 16,-7 2 0-16,-2-4 0 16,5 2 0-16,5-1 0 15,31 1 0 1,-39-3 0 0,-8 0 0-16,4 0 0 15,13 0 0-15,-9 1 0 16,5-1 0-16,-1 0 0 15,-4-1 0-15,3-3 0 16,-3 1 0-16,-3 2 0 16,-2-1 0-16,3 0 0 15,3-2 0 1,1 0 0-16,-6-2 0 16,-4 2 0-16,-2-2 0 15,8 4 0-15,-7-2 0 16,-5 0 0-16,2 0 0 15,-5-2 0-15,4 2 0 16,-4 0 0-16,-1 0 0 16,0 0 0-1,-3-3 0-15,-2 3 0 16,2 0 0-16,-2 0-1425 16,-4-6-6191-16</inkml:trace>
  <inkml:trace contextRef="#ctx0" brushRef="#br3" timeOffset="-33672.89">25467 4148 1217 0,'0'0'7219'0,"0"0"-1588"15,-4 0-1899-15,4 0-693 16,6 2-464-16,12 1-1005 16,22-3-347-16,-9-5-953 15,1 1-152 1,6-4-67-16,11 2 370 16,12-1 741-16,-19 2 150 15,20 5-149-15,3 3-324 16,-9-3-155-16,-23 4-376 15,5 1-170-15,-1 1-82 16,-1-2-33-16,-18-2-15 16,-11-2-5-1,2 2-1-15,-9-2-1 16,-12-2-391-16,-24-6-514 16,-5-5-264-16,-9 5 587 15,-25 8 560-15,15-3 347 16,-5 10 328-16,-1 1-438 15,25-3-1228-15,12-4-4061 16,17 4-4719-16</inkml:trace>
  <inkml:trace contextRef="#ctx0" brushRef="#br3" timeOffset="-32354.78">33259 8396 31966 0,'0'0'-1044'16,"-2"11"-1098"-16,-2 19 1779 16,4 1 88-16,6 1-864 15,2 13 138-15,0-3 616 16,-3 7-109-16,3 12 884 15,-1 5 430-15,-5-3 389 16,4 22 566-16,1-15 7 16,-3-1-768-1,-8 2-572-15,2-6-302 16,-1 5-92-16,-1-9-32 16,2 3-11-16,-7 8-3 15,7-19-1-15,4-1-1 16,1-11 0-16,5-3 0 15,-6-13-17-15,-2-16 10 16,0-3-85-16,0-6 129 16,5-15 4-16,-3-25-95 15,-4-8-88 1,2 1-410-16,-5-23-793 16,3 0-27-16,4-10 365 15,-6-1 403-15,-5-1 574 16,7-7-70-16,-2 8 205 15,-2-8-140-15,6 15 47 16,0-8 103-16,2 12-146 16,-2 2-22-1,0 9 98-15,-2 10 171 16,-3 15-12-16,-1 7-51 16,2 10-154-16,2 11 143 15,2 3-235-15,-4 8-72 16,0 29 361-16,-6 19 723 15,2 16 500-15,2 6 11 16,0 9-963-16,4 3-327 16,2 4-98-16,-4-11-30 15,6-1-9 1,2-14-2-16,0-5-1864 16,-2-18-3349-16,0 1-2845 15</inkml:trace>
  <inkml:trace contextRef="#ctx0" brushRef="#br3" timeOffset="-31784.79">33241 8680 30749 0,'0'0'273'16,"0"-4"-1313"-16,2 4 754 16,6-2 58-16,8 4 70 15,10 11 543-15,7 8 34 16,5 8 355-16,9 3 330 15,-3 6-599-15,-1 3-330 16,-1 1-113-16,-8-2-41 16,-26-29-15-1,18 16-3-15,7 7-1 0,1-5-1 16,1-1-1-16,-8-3 0 16,-6-5 0-16,-2-4 0 15,-2-3 0-15,-6-4 0 16,-7-5 0-16,0-2 0 15,-4-2 0-15,0 0-233 16,2-8 70-16,-2-3 238 16,-2 1-74-1,-8-5 46-15,-13 6 100 16,-17 3-71-16,-9 10-45 16,1 7-19-16,-17 4-6 15,2 6-5-15,-13 2-1 16,-3 6 0-1,9 3 0-15,7 5 0 0,12-2 0 16,17-5 0-16,11-7-4471 16,10-4-7559-1</inkml:trace>
  <inkml:trace contextRef="#ctx0" brushRef="#br3" timeOffset="-27613.6">26496 7952 3587 0,'0'0'4267'16,"-5"0"-1451"-16,3 6-235 16,7 11-353-16,-5 3-1049 15,-3 5-1370-15,1 0-160 16,-2 9 110-16,4-2 302 15,0 0 1443-15,-2 6 455 16,4 0-229-16,-4 4 217 16,4-2-744-16,2-3-522 15,5 3-361 1,-2-7-65-16,-7 3-127 16,0-4 282-16,0 0 118 15,2 4-148-15,4-4-112 16,-2-5-105-16,-2-4-57 15,0-2-27-15,2-4-72 16,-2-8 95-16,0-3 87 16,-2 1-127-16,0-5 27 15,0 0-62 1,0 0 80-16,0-2 47 16,0 0 48-16,-2 2-212 15,2-2-50-15,0 0-91 16,0 0-7-16,0-2 76 15,0 2-15-15,0 0 2 16,0-4 137-16,2 2-77 16,0-2 2-16,6-1-43 15,-4 3-13 1,0 0-164-16,4 0 135 16,5 4-183-16,2-2-218 15,2 6 135-15,13-2 164 16,-1 1 66-16,-8 1 9 15,10 0-23-15,3-1-33 16,1-1 133-16,13 2-141 16,-12-2 152-16,0 0 53 15,5 5 118 1,9-2-289-16,3-1-1049 16,-6-4-321-16,-35 0 1098 15,30 2-452-15,25 3-1169 0,-17-3-1260 16,-1-6 1678-16,8 2 1011 15,-7 4 401-15,-9-4 174 16,1-4 154-16,7 6-114 16,-9 2-60-1,-8-1 51-15,-4-3 37 16,-1 1 403-16,-8 2 1178 16,-4-2-287-16,-5-1 160 15,-6 0-153-15,1 0-408 16,-3 0 96-16,-2 0-366 15,0 0-90-15,3 0-197 16,-3-1 102-16,2-3-106 16,0-1-87-1,-2-6-48-15,0 1 84 16,0-5-61-16,0 3 193 16,8-3 115-16,4-2-262 15,-3-2-389-15,10-5-279 16,0 3-83-16,-6-4 179 15,0-9 273-15,-1 4 237 16,1-2 30-16,-6 22-159 16,7-16 382-16,-6-1 135 15,-5-5-322-15,-3 2-555 16,2-1-276-16,6-1-667 16,-1 2-141-16,-5 5-182 15,0 2-752-15,-4 2-549 16,2 0-40-16,-2 3 126 15,-3 8-75-15,5-1 1255 16,-2 5 764-16,-4 0 558 16,2 1 1225-1,1 5 199-15,-1-2 437 16,4 2 14-16,0 0-84 16,-2-2 285-16,2 2-399 15,0-2-486-15,0 2-804 16,2-2-873-16,-2-2-49 15,-2 1-552-15,-2-2-291 16,-4-4-405-16,-6 2-435 16,-2-1 730-16,-1 2 772 15,-15-3-40 1,-12 3 215-16,-5-5 397 16,-1 1-66-16</inkml:trace>
  <inkml:trace contextRef="#ctx0" brushRef="#br3" timeOffset="-27443.91">27101 7920 1890 0,'-42'-8'299'0</inkml:trace>
  <inkml:trace contextRef="#ctx0" brushRef="#br3" timeOffset="-21575.14">26432 7925 13869 0,'0'0'2420'0,"0"0"-707"15,0 12-236-15,-2 3-775 16,0 6-753-16,-2 9-1258 16,-4 8 402-16,4 0 657 15,4 7 864-15,0 1 1119 16,6 5 499-16,0 4-98 15,0-5-99-15,0 10-408 16,-4-1 91-16,3-6-540 16,2 2-271-16,-1-2-319 15,-8-2-376 1,2-5-135-16,0-3-48 16,-2-15-19-16,6-3-5 15,-6-13-579-15,4-8-1284 16,-2-4-2217-16,10-12-6283 15</inkml:trace>
  <inkml:trace contextRef="#ctx0" brushRef="#br3" timeOffset="-20826.05">26460 7800 24759 0,'6'0'1539'0,"24"4"-438"16,10 5 342-16,15-1-1206 15,8-4-1017-15,-3 0-539 16,6-4-239-16,10-2 927 16,-7 2 394-1,10 0 114-15,-7-4 324 0,4 6 436 16,8 0 913 0,-17 2-747-16,4 3-203 15,-1 1-280-15,-13 3-280 16,5-3-131-16,-20 1-35 15,-13 1 61-15,3-4-107 16,-2 3 97-16,-7-1-60 16,-5 3-104-1,-8 2 125-15,-6 2-34 16,-4 2-181-16,0 2 171 16,-2 4 145-16,2 0-10 15,-4 3 343-15,-2 3 209 16,4 8 265-16,6-2 351 15,-2 6-80-15,4 1-272 16,2 0-70-16,7-2-416 16,-2 5-186-1,0-7-75-15,-7-2-29 16,0 0-9-16,7-7-5 16,-4 7-2-16,-3-6 0 15,2-7-1-15,-2-2 0 16,-4-3 0-16,3-4 0 15,-2-1 0-15,-3-5-188 16,2-1-41-16,-2-1 21 16,-2 0-15-16,-12 3-63 15,-2-5-16 1,-23-2-79-16,-22-4-442 16,-3-2-499-16,-3-2 113 15,-11-1-1101-15,-3 1-1064 16,5-5-3541-16</inkml:trace>
</inkml:ink>
</file>

<file path=ppt/ink/ink11.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2:48:09.406"/>
    </inkml:context>
    <inkml:brush xml:id="br0">
      <inkml:brushProperty name="width" value="0.05292" units="cm"/>
      <inkml:brushProperty name="height" value="0.05292" units="cm"/>
      <inkml:brushProperty name="color" value="#7030A0"/>
    </inkml:brush>
    <inkml:context xml:id="ctx1">
      <inkml:inkSource xml:id="inkSrc42">
        <inkml:traceFormat>
          <inkml:channel name="X" type="integer" max="32767" units="cm"/>
          <inkml:channel name="Y" type="integer" max="32767" units="cm"/>
          <inkml:channel name="T" type="integer" max="2.14748E9" units="dev"/>
        </inkml:traceFormat>
        <inkml:channelProperties>
          <inkml:channelProperty channel="X" name="resolution" value="2047.9375" units="1/cm"/>
          <inkml:channelProperty channel="Y" name="resolution" value="3640.77783" units="1/cm"/>
          <inkml:channelProperty channel="T" name="resolution" value="1" units="1/dev"/>
        </inkml:channelProperties>
      </inkml:inkSource>
      <inkml:timestamp xml:id="ts1" timeString="2022-01-18T12:53:29.374"/>
    </inkml:context>
    <inkml:brush xml:id="br1">
      <inkml:brushProperty name="width" value="0.05292" units="cm"/>
      <inkml:brushProperty name="height" value="0.05292" units="cm"/>
      <inkml:brushProperty name="color" value="#00B050"/>
    </inkml:brush>
  </inkml:definitions>
  <inkml:trace contextRef="#ctx0" brushRef="#br0">15430 3334 28923 0,'0'0'-539'16,"-2"0"247"-16,0 0 304 16,2 1-28-16,0 2-16 15,2 1-29-15,-2-2-10 16,4 0 111-16,8 0 317 16,-3-2 403-16,4 0 185 15,8 0-80-15,7 0-122 16,-3 0-269-1,-2 0-123-15,1 2-188 16,-1-4-86-16,-9 0-44 16,14 0-14-16,-2 0-10 15,-1 0-5-15,7 0-3 16,-16-2 0-16,-2 1 0 16,-6 1-1-16,-6 2-84 15,0 0-5-15,-2 0-86 0,0 0-67 16,4 5 22-16,3 5-156 15,-3 5-81 1,-8 2-100-16,6 8 40 16,2 3 319-16,-4 3 106 15,4 1 0-15,-4 2-79 16,-8 6-56-16,-9-1 211 16,2-2 221-1,-4 2 33-15,-5-8 236 0,-1-1 75 16,4-5-131-16,-4-4-47 15,-9-2-159 1,0-8-88-16,-11-5-109 16,-5-10 52-16,18-6 48 15,3-5 118-15,11-2-193 16,-5-6-20-16,8-2 25 16,-6 1-223-16,17 0-340 15,4 1-1458-15,4 2-2908 16,2 0-3657-16</inkml:trace>
  <inkml:trace contextRef="#ctx0" brushRef="#br0" timeOffset="869">16147 3378 7719 0,'-12'-4'7368'0,"6"1"-4722"16,-10 2-329-1,-17 1-971-15,-3 10-1664 16,10 9 189-16,3 11-62 16,-5 16 68-16,16 1 379 15,-10 4 1375-15,14-9 928 16,8-4-613-16,8-2-5 16,2-13-775-16,0-8-413 15,4-4 90-15,14-11-351 16,11-17-160-1,-2-17-199-15,23-17-78 16,-30-2-39-16,-10 2-31 16,-5-1-176-16,2 1-201 15,-17 13 258-15,-6 12 412 16,-9 5-270-16,-4 4-92 16,-19 9-569-16,4 10-1385 15,-7 6-1558-15,15 3-1871 16,2 4-1231-16</inkml:trace>
  <inkml:trace contextRef="#ctx0" brushRef="#br0" timeOffset="1189.29">16527 3329 31133 0,'-2'6'-1050'0,"-7"24"1480"16,-2 15-304-16,-8 14-558 15,-7 0 69-15,4-2 327 16,0-4 168-16,-1-10 151 15,13-14-401 1,7-8-401-16,-1-8-617 16,4-9-440-16,0 1-1178 15,0-5-1520-15,7-15-2481 16</inkml:trace>
  <inkml:trace contextRef="#ctx0" brushRef="#br0" timeOffset="1434.98">16759 3306 21332 0,'0'0'3159'0,"0"0"-815"15,-2 4 10-15,-4 9-639 16,-2 16-664-16,-12 18-538 16,-3 10-317-16,-11 0-127 15,6-2-47-15,18-4-14 16,2-6-6-16,-3-11-1 15,5-7 0 1,-1-6-1-16,7-8-1343 16,-6-5-1922-16,6-4-2605 15,0-4-651-15</inkml:trace>
  <inkml:trace contextRef="#ctx0" brushRef="#br0" timeOffset="1617">16452 3441 32767 0,'0'0'0'15,"2"0"0"-15,11 5 0 16,8 1 0-16,13-4 0 16,15-2-20-16,2-4-1505 15,-3-3-1776-15,1 3-4492 16,-3 0-384-16</inkml:trace>
  <inkml:trace contextRef="#ctx0" brushRef="#br0" timeOffset="2215.48">17079 3384 31037 0,'0'0'-74'0,"-3"0"399"16,-3 4-52-1,-2 7-232-15,-9 13-17 16,2 1-31-16,-4 7-203 16,4 1 180-16,7 3-1 15,-7-2 130-15,7-4 233 16,4-2-229-16,-6-7 143 16,8-6-64-16,-2-10-125 15,8-2 110-15,-4-3-90 16,0-7-5-1,10-18-27-15,8-4-22 0,3-7-264 16,5-5-258 0,-5 1-172-16,0 0-50 15,-4 4 203-15,0 2 410 16,0 11 439-16,-5 8 236 16,-3 4 33-16,-2 9-298 15,-7 2-154-15,6 13 200 16,-6 16-171-16,-2 12-16 15,4 5-74 1,4 1-54-16,9-1-21 16,12 5-7-16,10 0-3 15,-15-15-1-15,2-2-1 16,4-3 0-16,5-3 0 16,-1-13 0-16,0-6 0 15,-7-14 0-15,1-7 0 16,4-14 0-1,-1-8 0-15,15-12 0 16,-16-7 0-16,-9-9 0 16,7-1 0-16,-14-9 0 15,-14 9 0-15,-4 10 0 16,-13 6 0-16,-15 9-463 16,-21 6-4076-16,11 13-7510 15</inkml:trace>
  <inkml:trace contextRef="#ctx0" brushRef="#br0" timeOffset="3730.73">15062 3989 24375 0,'21'9'-1307'0,"27"10"1182"16,16 2 1147-1,2-2-619-15,22 1-148 16,-11-12-162-16,16 9 7 16,-4-11 473-16,26 4 643 15,-12-1 304-15,8-5 394 16,23 1-544-16,-19-5-361 16,5-6-749-1,8 1-193-15,-17-3-51 16,14-9-11-16,9 4-4 15,-13-2-1-15,-12-6 0 16,16 0 0-16,-28-3 0 16,24-5 0-16,-15 0 0 15,-8-12 0-15,16 3 0 16,-23-8 0-16,9-3 0 16,-25 0 0-1,8-4 0-15,0 0 0 0,-11 4 0 16,-3-1 0-1,-11-3 0-15,-21 2 0 16,4 0 0-16,-7-4 0 16,-8 0 0-16,0 0 0 15,-8 0 0-15,-12 2 0 16,-10-2 0-16,-9 2 0 16,0 4 0-16,-10 1 0 15,-9 1 0-15,0 3 0 16,-2 0 0-16,-10 5 0 15,-1 3 0 1,-5 3 0-16,-9-1 0 16,-16 2 0-16,6 5 0 15,-5 5 0-15,-9 3 0 16,16 2 0-16,-16-2 0 16,-2 7 0-16,-17-4 0 15,29 8 0-15,-32-7 0 16,14 5 0-1,-8-1 0-15,8 5 0 16,0-3 0-16,4 5 0 16,-12-2 0-16,-3 2 0 15,11 1 0-15,-6 7 0 16,0-4 0-16,-3 7 0 16,7-1 0-16,-5 7 0 15,17 2 0-15,-32 4 0 16,24-2 0-1,-24 6 0-15,34 2 0 16,-10 3 0-16,6 2 0 16,-8 8 0-16,9-5 0 15,-20 12 0-15,30-9 0 16,-9 8 0-16,7 1 0 16,9 3 0-16,-8 1 0 15,10 4 0 1,9-4 0-16,0 6 0 15,-3-2 0-15,27-6 0 16,5 7 0-16,6-1 0 16,2 5 0-16,3-4 0 15,9-2 0-15,5-2 0 16,3 1 0-16,7 0 0 16,4-2 0-16,6 4 0 15,5-5 0-15,17 1 0 16,7-5 0-1,-1-3 0-15,21-1 0 16,-6-7 0-16,3-5 0 16,6-5 0-16,14-1 0 15,1-3 0-15,-1-2 0 16,19-5 0-16,-18 1 0 16,8-5 0-16,-19-1-1696 15,6 1-8310 1</inkml:trace>
  <inkml:trace contextRef="#ctx0" brushRef="#br0" timeOffset="14728.63">7943 7133 12172 0,'0'0'813'0,"0"0"-607"15,-2 0-237-15,2 0 44 16,2 0-16-16,7 0 0 16,-1-2 101-16,9-5-100 15,1 1 95-15,-4-2 728 16,5 1 770-16,4 3 100 15,0 0-145-15,-1-1-511 16,-1 1 263 0,0 2-82-16,8 2-89 15,-17 0-733-15,0 0 403 0,9 2-191 16,11 0 6-16,8 0-185 16,-14-2-112-16,1 0-133 15,9 3-4-15,6-3-100 16,-4 0 86-16,1-3-3 15,-10 6-117-15,5-3 51 16,6 2 214 0,-2 0-36-16,-10-2-170 15,-1 2 125-15,7 0 240 16,-2 3 23-16,2-4-109 16,4-2-139-16,0 2-15 15,-12-1-88-15,12 0 43 16,2 3-107-16,-5-1-83 15,-9 0 4 1,2 0-52-16,5 0 85 16,10 2-75-16,3-2 67 15,-6-2-14-15,-18 0-39 16,7 0 16-16,9 0-12 16,9 0 95-16,-15 0-98 15,-4-2 52-15,5 4-12 16,-1-2 13-16,12 3-90 15,-3-3 60 1,-7 2 95-16,-2-4-159 16,1 2 95-16,11-3-52 15,-8 6 168-15,3-3-195 16,-5 0 33-16,12 2-28 16,-3 0 147-16,-5-2-191 15,-7 2 75-15,9-2 10 16,11 2 107-1,1-2-123-15,-21 0 17 16,7 0 4-16,20 0 2 16,-10 0 21-16,-5 2-31 15,9-2 7-15,7 0 87 16,-6-2-196-16,-15 0 93 16,11 0 53-16,9 0 62 15,-4 0-122-15,-3-1-2 16,10 1 39-16,-5 2 35 15,-8-2-88 1,15 2 89-16,-16 0-30 16,-3-2-68-16,21 0 52 15,-11 0 41-15,-7-2-25 16,6 4-10-16,5-3-3 16,-10 2-41-16,-2-2 24 15,7 3 10-15,0 0 43 16,-5-2-124-16,1 2 114 15,8 0 85 1,-17-2-113-16,5 2-59 16,6 2 135-16,2-2 96 15,-13-2-247-15,-7 2 64 16,19 0 147-16,-12 0 28 16,7 0-117-16,2 0-8 15,-11 0 88-15,3 2-16 16,4-2-145-16,-1 0-18 15,-8-2 70 1,11 6 49-16,-5-4-138 16,-4 3 81-16,-8-3-42 15,4 1 128-15,1 2-129 16,6-3 18-16,-5 2 84 16,0 2 16-16,-8-4-51 15,7 4 38-15,10-4 18 16,-7 4 58-16,0-1-201 15,-2-3 87 1,5 0-20-16,-5 4 67 16,-3-4-158-16,-3 2 134 15,-6-4-117-15,7 2 120 16,3 0-89-16,6 0-23 16,-8 0 123-16,-9-2-25 15,7 2-76-15,4-2 53 16,-3-1 41-1,1 1-19-15,-4 0-78 16,-3-2 53-16,-2-2-45 16,7 3 102-16,6-1-246 15,-13 0 137-15,-2 0-31 16,1-3-17-16,-10 3 43 16,8 0-129-16,-4-2 85 15,-1 2-213-15,0-3 12 16,2 1 45-16,4-1 38 15,-8 3 62 1,1-2 189-16,6-3-106 16,-6 1 13-16,5-3 36 15,-3 3 35-15,-4-5-208 16,-4 4 40-16,0-1 120 16,2-3 160-16,0-1-62 15,0-3 8-15,-7 10-52 16,7-5 96-16,1-3 67 0,2 0-81 15,-1-2-159 1,0-6 55-16,2 4-92 16,-2-7 200-16,-1-1-14 15,2-1-115-15,-3 5 109 16,-1-7-215-16,1 3 117 16,0-1 51-16,0-1-67 15,0-5-11-15,-4 8-5 16,5-7 163-16,-5 3 67 15,1 0-278 1,-3-3-12-16,0-2 289 16,2 1-244-16,-1 5-81 15,-1-3 121-15,-4 0-52 16,2-1 306-16,0 1-199 16,6 0-85-16,-8 3 73 15,-2 1-58-15,0-10-46 16,2 6 19-16,-2 6-7 15,-2 1 114 1,-5-2-228-16,3-1 145 16,-2 1-112-16,-3-1 56 15,2 1 166-15,-3 3-225 16,4 1 76-16,-6-2-21 16,4 4-73-16,4 4 53 15,-7-5 133-15,-8-1-177 16,10 9 20-16,-5-8 9 15,-10 5 133 1,5 3 7-16,0-2-30 16,8 2 68-16,-2-1-97 15,-2 2 84-15,-2 3-75 16,-6 1-22-16,2-3-8 16,-3-1 190-16,-6-2 1 15,15 7-230-15,-6-3-26 16,4 2 102-1,-15 1-193-15,2 0 177 0,3-3 2 16,3 2 19 0,-14-1-51-16,6 2 114 15,3 1-102-15,-7 1 49 16,-3-5 2-16,3 0-95 16,4 5 116-16,-6 2-126 15,-9 0 122-15,11-2-105 16,3 1-20-16,-14-1 141 15,-13 4-103 1,18-7 88-16,-11 9 31 16,-18-4-137-16,19 0 144 15,3 4-14-15,-13 0-109 16,7-4 25-16,-4 6 175 16,-17-4-128-16,21-1-106 15,-3 3 150-15,-14-2 36 16,19 0 64-16,-21 4-199 15,4-4-29 1,19 2 97-16,-21 0-10 16,-40 0-80-1,40 2-91-15,9-2-226 16,4 2-115-16,-11-2 170 16,13 3 171-16,-4 3-105 15,-9-6 154-15,13 6 142 16,-9 0 197-1,1-7-363-15,0 7 201 16,-13 2-62-16,21-3-20 16,-22 3 35-16,10-6 12 15,11 5-59-15,-13-1 129 16,4-6-66-16,4 6 109 16,1-1-304-16,11-8 252 15,-19 6-31-15,13-2-39 16,4-1-154-16,5 7 189 15,-18-7-74 1,5 2-197-16,13 0 48 16,-17 0 39-16,10-2 27 15,41 0 78-15,-26 2-50 0,-17 1 149 16,13-3-48-16,-7 0-15 16,-7 0-109-16,-1 0 43 15,6 0 120-15,7 0-40 16,-17-3-78-1,13 3 78-15,5 0-15 16,-5 3 56-16,1-6-161 16,1 3 1-16,4 3-178 15,-11-3 103-15,8 0-27 16,1 2 104-16,1-2 117 16,-5 0 27-16,3-2-112 15,13 2 3-15,2 0 127 16,-15 0-57-16,5 0-65 15,10 0 108 1,-5 4-126-16,-9-4 82 16,-3 0-148-16,9 0 50 15,14 2 74-15,-15 0 123 16,-3-2-104-16,13 0 107 16,-3 0 87-16,2 2-119 15,-3 0-119 1,1 0 59-16,-6 1-30 0,13-3 77 15,-5 4-109 1,4 0 24-16,-5-2 10 16,5 0 5-16,6 2-67 15,1 1 206-15,11 1-216 16,-6 3 5-16,8 1 55 16,-5 5 124-16,0 2-153 15,0 2 8-15,3 0 73 16,-3 4 72-16,0 0-198 15,3 7 141 1,5 2 99-16,-4-2-210 16,7 3 129-16,-2 3 0 15,0-4 200-15,4 6 39 16,-3-6-144-16,3 4 96 16,2-2 33-16,0 0 114 15,2 6-40-15,-4-2-157 16,0-8-56-1,0 5 28-15,6-5 23 16,-8 4-74-16,4 2-74 16,2-6 95-16,4 1-192 15,3-1 260-15,-5 0-85 16,4 3-73-16,-6-3-16 16,7 2-5-16,6 25 55 15,-11-27-22 1,-4-5 51-16,4 9-211 15,4-4 141-15,1 2 62 16,-4-7 92 0,1 2-129-16,-4 1 11 15,2-3-83-15,-2 5-109 16,3-7 44-16,-1 2-3 16,-2-3 119-16,0-1-29 15,-2-2 82 1,-2 2-135-16,6-2-34 0,0 0 30 15,0-2 48 1,3-2 119-16,-5-3-176 16,3 1-26-16,-3 2 122 15,2-4-72-15,0-1 36 16,2-1 48-16,-2-1-45 16,5-2 4-16,-5 1 65 15,3-3 197-15,1 2-25 16,7 1-204-16,1-3-27 15,6 0 34-15,-8 0 85 16,2 1-149 0,0 1-17-16,-1-1 99 15,0-1 6-15,12 4-284 16,-17-4 358 0,-2-2 54-16,2 1-58 15,7 1-67-15,-4-4-47 16,0 0-22-16,-5 2-13 15,6 0-5 1,0 0-3-16,-8-2-2 16,6 2 0-16,-6-2-2 15,3 0 1-15,-2 2-53 16,-5-2-218-16,2 2-321 16,-2-2-536-16,-2 0-1330 15,0 0-2202-15,0 0-2894 16</inkml:trace>
  <inkml:trace contextRef="#ctx0" brushRef="#br0" timeOffset="15791.2">13739 5611 4965 0,'0'0'2923'0,"0"0"57"0,2 0-77 15,2 0-685 1,-4 0-786-16,4-2-178 16,1 0-490-16,-5 2-84 15,0 0 255-15,4-3 345 16,-2 2 406-16,6-4 223 16,-2-3 250-16,10-9-132 15,4-2-565-15,0-3-804 16,16-11-325-16,-5 1-211 15,-3 3-76 1,-11-7-27-16,9 4-12 16,-6-9-4-16,-6 8-2 15,13-2 0-15,-8 4-1 16,2-1 0-16,3 5 0 16,-4-1 0-16,-14 5 0 15,1 4 0-15,2 2 0 16,-5 8 0-16,-2 3 0 15,-2 4-12 1,4 0-750-16,-4 0-1013 16,0 2-2097-16,0 8-3025 15</inkml:trace>
  <inkml:trace contextRef="#ctx0" brushRef="#br0" timeOffset="16468.36">13948 4963 8488 0,'0'0'915'0,"-2"3"-64"15,-2-3 119-15,2 1 1230 16,2 10 693-16,6 2-470 16,-2-1-257-16,16 8-574 15,0 0-491-15,2 4-242 16,18 1 379-16,1 1-128 16,-10-3-58-16,9 0 572 15,-8 1-359-15,2-1-553 16,-2-4-244-1,-1-8-24-15,-3-5-223 16,2-2-124-16,-7-4-56 16,0-4-21-16,-4-7-11 15,-2 1-5-15,0-5-2 16,-4-4-1-16,-7 0 0 16,-10-9-1-16,-9 1-507 15,-15-3 143-15,4 5 292 16,-11-3 22-16,-11 7 10 15,-3 2 167 1,3 0-202-16,3 2 107 16,-10 7-60-16,2-3 18 15,11 7-32-15,1 1-554 16,-4 7-1418-16,3 5-1500 16,-5 3-5329-16</inkml:trace>
  <inkml:trace contextRef="#ctx0" brushRef="#br0" timeOffset="17174.47">13709 6885 32062 0,'0'0'61'0,"4"4"63"16,-2 7 108-1,-2 4-92-15,15 8-59 0,-2 0-45 16,8 3-18 0,7 4-10-16,-14 1-5 15,8 5-2-15,3 4 0 16,9 1-1-16,-10-7 0 16,3 2 0-16,-10 0 0 15,-2-5 0-15,-1-8 0 16,-4 1 0-16,8 16-929 31,-10-25-1033-31,5-5-2026 16,0-1-2720-16</inkml:trace>
  <inkml:trace contextRef="#ctx0" brushRef="#br0" timeOffset="17674.11">14170 7213 23606 0,'-6'2'585'0,"-9"7"-558"16,1 3-426-16,-20 14-1066 16,0 0 383-16,2 1 84 15,5 7 686-15,3 4 640 16,5 0 1122-16,2 2 1094 15,4-4-347 1,7-2-10-16,8-6-332 16,15-5-612-16,-6-6-727 15,2-5-279-15,9-5-103 16,8-9-71-16,7-11-33 16,7-15-17-16,-12-8-8 15,-9 0-3-15,1-1-1 16,-10 0-1-1,-8-1 0-15,-12 7 0 16,0 1 0-16,-14 2-865 16,-11 3-1072-16,-13 8-1324 15,-1 9-5063-15</inkml:trace>
  <inkml:trace contextRef="#ctx0" brushRef="#br0" timeOffset="18546.3">7954 6913 26970 0,'-6'2'-170'0,"-9"6"63"16,-4 5 452-16,-1 8-117 16,0-1-126-16,-8 5-54 15,3 4-142-15,1 5 55 16,4 8 83-16,-8 3-27 16,-11 2 52-16,5-3 202 15,-6 9 767-15,5-4 285 16,5-5-324-16,0-6-426 15,1-6-379 1,5-5-105-16,12-10-288 16,8-13-1480-16,4-1-2129 15,0 1-2308-15</inkml:trace>
  <inkml:trace contextRef="#ctx0" brushRef="#br0" timeOffset="19292.3">7344 7332 24599 0,'-10'0'60'16,"-5"0"1383"-16,0 2-774 16,5 2-624-16,-2-4-1346 15,6 4-895-15,-4 7-1209 16,6 8 569-1,-4 9 1669-15,10 1 992 16,2 5 1568-16,0-2 584 16,10 4 690-16,14 0-123 15,8-4-497-15,3 0-890 16,-4-5-786-16,-9-4-110 16,4-6 33-16,1-4-92 15,9-5-287-15,-8-3 35 16,-13-10 14-1,-2 1 131-15,2-9-146 16,-6-10 95-16,0-2-94 16,-3-3-27-16,-4-2 97 15,-10-1-29-15,-8 3 5 16,-8-2-220-16,-9 1 87 16,-9 8 23-16,-13 4 68 15,-2 6 132-15,0 3-198 16,-4 0 340-1,-4-1 231-15,23 5-411 16,-5 1-673-16,1-3-3270 16,10 4-3810-16</inkml:trace>
  <inkml:trace contextRef="#ctx0" brushRef="#br0" timeOffset="37126.78">21653 6773 6694 0,'-2'0'-543'15,"-2"-4"990"1,-2 2 536-16,2 2-315 15,0-3-237-15,2 3 362 16,-2-1-205-16,4 1-127 16,0-3 168-16,-2 3 333 15,2 0 798-15,0 0 331 16,0 0-287-16,0-1 670 16,-2 1 1-16,2 0-614 15,0 0-208-15,0 0-222 16,0 0-184-16,0 0-434 15,0 0-283-15,0 0-15 16,0 0-216 0,0 0-137-16,0 0-70 15,0 0-60-15,0 0 2 16,0 0-43-16,0 0 2 16,6 1-38-16,2 3 98 15,-2 1 18-15,0-1 135 16,4 0 60-1,3 1 136-15,13-1-165 16,-6 0-128-16,2 0-59 16,3 1-23-16,3-4-16 15,-10 2-6-15,20-1-2 16,11 0-2-16,-5 0 0 16,-9-4-1-16,-5 2 0 15,14 4 0-15,-2-2 0 16,-1 2 0-16,-14-1 0 15,0-3 0-15,3 8 0 16,7 0 0 0,2-4 0-16,7 3 0 15,-11-2 0-15,-1 1 0 16,12 0 0-16,-6-2 0 16,1 0 0-16,3 5 0 15,3-2 0 1,-3-1 0-16,3-2 0 15,-7 2 0-15,9 1 0 16,1-1 0-16,-5 0 0 16,5 3 0-16,8-5 0 15,-3 0 0-15,0 1 0 16,4-3 0-16,-8 2 0 16,2 0 0-16,6-2 0 15,-8 2 0-15,-1-1 0 16,6-2 0-16,11-1 0 15,-7 0 0-15,-5 3 0 16,12-3 0 0,-11 0 0-16,3 0 0 15,8-4 0-15,-17 1 0 16,15 6 0-16,7-8 0 16,40 7 0-1,-42-2 0-15,-11 0 0 16,11 0 0-1,-3 0 0-15,-5-2 0 16,8 0 0-16,-2 2 0 16,1-2 0-16,10 2 0 15,-22-2 0-15,11 0 0 16,-3 0 0-16,3 0 0 16,17 0 0-16,-20 2 0 15,3-3 0-15,9-1 0 16,-12 2 0-16,1 0 0 15,1 0 0 1,-3 2 0-16,1-4 0 16,-10 1 0-16,17 1 0 15,5 0 0-15,-18-4 0 16,-2 4 0-16,11-2 0 16,-9-1 0-16,7 1 0 15,-3-2 0 1,-14 1 0-16,13 1 0 0,-8 0 0 15,-1-5 0 1,4 5 0-16,1-2 0 16,1-3 0-16,-11 3 0 15,11-2 0-15,-3-3 0 16,-21 3 0-16,23-1 0 16,3 1 0-16,-8-1 0 15,-7-1 0-15,4 1 0 16,0 1 0-16,-3-5 0 15,2 2 0 1,-1 1 0-16,-3-1 0 16,5 0 0-16,-5 3 0 15,7-2 0-15,-11-1 0 16,-3-1 0-16,4 1 0 16,51-10 0-1,-59 8 0-15,-6 5 0 16,-1-3 0-16,11-2 0 15,-10-2 0 1,7 1 0-16,-11 3 0 16,-11 0 0-16,8-3 0 15,4 1 0-15,-7 2 0 16,-4 0 0-16,8 1 0 16,-3-3 0-16,1 3 0 15,2-3 0-15,-10 9 0 16,-6-3 0-16,4 1 0 15,-2-4 0 1,2 3 0-16,-5 1 0 16,1-2 0-16,0 1 0 15,5-1 0-15,-7 3 0 16,3 1 0-16,-1 0 0 16,2-3 0-16,-2 3 0 15,-2 2 0-15,4-2 0 16,-2 2 0-16,-2 0 0 15,-2-1 0 1,0 2 0-16,4-4 0 16,-2 1 0-16,7 0 0 15,-9 2 0-15,5-2 0 16,-1-1 0-16,1-1 0 16,-1 4 0-16,-2-5 0 15,-2 5 0-15,2-2 0 16,0 0 0-16,2 0 0 15,2-1 0 1,-2-1 0-16,-2 2 0 16,0 0 0-16,2-1 0 15,-2 3 0-15,1-4 0 16,-1 2 0-16,3-1 0 16,-1 1 0-16,-2 0 0 15,2-2 0-15,1-1 0 16,5 1 0-16,-8-1 0 15,1 1 0 1,0-2 0-16,7-1 0 16,0-1 0-16,-5 3 0 15,-1-3 0-15,-3 1 0 16,1 1 0-16,0-3 0 16,2 0 0-16,0 1 0 15,1-3 0-15,-5 0 0 16,0 3 0-16,-2-3 0 15,2 3 0 1,-2-5 0-16,-4 0 0 16,4 1 0-16,-9-2 0 15,1 2 0-15,4 1 0 16,0-2 0-16,0 0 0 16,-5 0 0-16,0 1 0 15,3-1 0-15,0 0 0 16,0 0 0-1,-3 0 0-15,-2-1 0 16,1-1 0-16,1 4 0 16,1-2 0-16,-5-2 0 15,-20-17 0 1,19 21 0-16,-2-1 0 16,-6-1 0-16,-1 0 0 15,2 0 0 1,4 1 0-16,-11-1 0 15,5 0 0-15,-25-11 0 16,16 12 0 0,-9-1 0-16,15 0 0 15,4 0 0-15,-10 2 0 16,-11 1 0-16,1-1 0 16,5 2 0-16,7-2 0 15,-8 3 0-15,-5 0 0 16,-1-3 0-16,-1 2 0 15,11 1 0 1,-23 1 0-16,11 1 0 16,4-3 0-16,7 3 0 15,-15 1 0-15,-1-1 0 16,13 0 0-16,4 1 0 16,-13-2 0-16,-10 3 0 15,19 2 0-15,2-2 0 16,-21-3 0-16,-4 7 0 15,15-4 0 1,1 2 0-16,-11-3 0 16,10 7 0-16,-7-4 0 15,-14 2 0-15,11-2 0 16,10 1 0-16,-11 1 0 16,0 0 0-16,1-2 0 15,6 2 0-15,-7 2 0 16,-2-2 0-16,7 0 0 15,-5 2 0 1,9 0 0-16,-5-2 0 16,35 2 0-16,-28 2 0 0,-15 0 0 15,6-2 0-15,0 2 0 16,0-2 0-16,-2 0 0 16,-4 2 0-16,7-2 0 15,-5 0 0-15,4 2 0 16,-15 0 0-16,11 0 0 15,13 0 0 1,-27 1 0-16,12-3 0 16,13 2 0-16,-14-4 0 15,-6 4 0-15,20-2 0 16,-16 2 0-16,-3-2 0 16,14 0 0-16,-15 0 0 15,2 2 0-15,5-2 0 16,4 0 0-1,-9-2 0-15,7 2 0 16,-8-4 0-16,13 1 0 16,-7 1 0-16,-10-2 0 15,6 0 0-15,-1 0 0 16,3-2 0-16,1 1 0 16,-9-2 0-16,5 3 0 15,11 0 0-15,-20 0 0 16,17-2 0-16,-8 4 0 15,-4-5 0 1,0 1 0-16,7 2 0 16,-10-5 0-16,21 5 0 15,-1 0 0-15,-21-5 0 16,21 3 0-16,-4 2 0 16,-13 0 0-16,17-1 0 15,-6 5 0-15,-5-2 0 16,16 0 0-16,-9 4 0 15,0-2 0 1,-7-2 0-16,5 4 0 16,-1 0 0-16,7 0 0 15,5 2 0-15,-18 3 0 16,9 1 0-16,12-1 0 16,-8 6 0-16,-5-1 0 15,11 3 0-15,-6 6 0 16,4 4 0-16,-6 5 0 15,19-7 0 1,5 9 0-16,-7 2 0 16,3 4 0-16,1 3 0 15,5-1 0-15,6 0 0 16,0 9 0-16,1 4 0 16,-6-7 0-16,3 1 0 15,4 3 0-15,6-5 0 16,5 4 0-1,6-3 0-15,4 9 0 16,2-4 0-16,6-3 0 16,7 1 0-16,0 0 0 15,-7-3 0-15,3 5 0 16,-1-4 0-16,3 0 0 16,-6-1 0-16,5-2 0 15,-6-1 0-15,9 3 0 16,-2-6 0-16,8-1 0 15,3-6 0 1,5 4 0-16,7-5 0 16,-10-12 0-16,-18-11 0 15,14 8 0-15,4 6 0 0,2-2 0 16,15 2 0-16,-12-3 0 16,1 1 0-1,0-2 0-15,-14-6 0 0,6-7-2205 16,3-2-3979-16,15-12-7517 15</inkml:trace>
  <inkml:trace contextRef="#ctx0" brushRef="#br0" timeOffset="70335.5">7763 10670 8520 0,'0'0'2265'16,"-2"2"746"-16,2 0-703 16,-2 2-730-16,2-4-611 15,-2 2-368-15,2 1-218 16,0-3-358-16,2 2-557 16,-2 0 243-16,0-2-43 15,0 0-29-15,0 0 122 16,6-7 352-16,-2 5 479 15,10-4 341 1,6-1-102-16,-2 3-26 16,3 2 217-16,15 2 16 15,2 5 236-15,-2-5-147 16,-5 4-304 0,7 0-139-16,9 2-333 0,-7-1-86 15,-1 1-82-15,3-4 107 16,13 2 99-16,-1-2 329 15,0 1-221 1,7-3 116-16,2-3-192 16,-5-1 119-16,7-2-495 15,3-1 122-15,-9 1-70 16,5 2 108-16,2-5-155 16,6 5-32-16,-1 0-54 15,-9 0 257-15,12 4-315 16,-8-5 130-16,-9 3-43 15,23-2 138 1,-5 2-264-16,-6 0 157 16,3 0-37-16,-13 4-31 15,11-2 267-15,4-5-61 16,-10 10-132-16,3-5 46 16,-1 0-92-16,7 0 77 15,-2-5 3 1,-1 5-42-16,13-4-13 15,-14 0 16-15,1 2-37 16,5 2 75-16,-6-2 2 16,18 0-42-16,-13-2-15 15,7-1-4-15,-6-1-1 16,0 2-1-16,5 2 0 16,-12-3 0-16,8 3 0 15,-4-2 0-15,-4 0 0 16,16 1 0-16,-9 3 0 15,-6 0 0 1,3 0 0-16,-7-1 0 16,8-3 0-16,-3 5 0 15,-9-1 0-15,3 3 0 16,1-3 0-16,10 0 0 16,-8 1 0-16,-7-2 0 15,-3 1 0-15,-7 1 0 16,7-1 0-1,9 0 0-15,-3 0 0 16,-1 0 0-16,-7 0 0 16,-4-1 0-16,-1-2 0 15,12 2 0-15,1 1 0 16,-6 0 0-16,3-3 0 16,-1-1 0-16,-4 2 0 15,7 0 0-15,1-5 0 16,-6 3 0-16,5 2 0 15,-1-2 0 1,1-3 0-16,5 3 0 16,-4 2 0-16,-3-4 0 15,7 1 0-15,-5-1 0 16,-17 2 0-16,9-2 0 16,15-1 0-16,-4-1 0 15,-4 3 0-15,7-3 0 16,-1 0 0-16,-1 3 0 15,-3-5 0 1,-5 1 0-16,9-1 0 16,-2 1 0-16,-11-1 0 15,13-1 0-15,4-2 0 16,-8-3 0-16,1 0 0 16,-7 2 0-16,-2-1 0 15,7-6 0-15,-6 2 0 16,-1 0 0-16,7-2 0 15,-11-5 0 1,-5-1 0-16,9-3 0 16,5-4 0-16,-7 1 0 15,-9 3 0-15,7-10 0 16,-7 4 0-16,-3-5 0 16,-3 3 0-16,2-4 0 15,3-7 0-15,-8 7 0 16,-5 0 0-16,-2 2 0 15,3-9 0 1,-8 4 0-16,-2 1 0 16,-8-1 0-16,0-3 0 15,-7 3 0-15,-4 3 0 16,-8 4 0-16,-4-7 0 16,-8 10 0-16,-5-4 0 15,-7-3 0-15,8 8 0 16,-8-2 0-16,-13-2 0 15,-1 4 0 1,-3 0 0-16,-1 7-21 16,-16-8 35-16,7 4-9 15,2 3-4-15,-26-1 0 16,16 1-218-16,-3 7 191 16,-11-2-28-16,2-5-52 15,-8 7 232-15,3 4-245 16,-5 2 105-16,-16-2 126 15,-2 1-152 1,2 3 123-16,10-4 53 16,-10 9-73-16,-6-7-45 15,-8 8-14-15,-4-10 22 16,16 9-67-16,-5-3 77 16,-7-3-26-16,2 1-8 15,0 2-1 1,4 3-1-16,4 0 0 0,-4 1 0 15,1 1 0 1,-2 3 0-16,8-1 0 16,-2 2 0-16,-14 2 0 15,14-4 0-15,-4 4 0 16,4 4 0-16,6-6 0 16,-5 4 0-16,-6 3 0 15,12-4 0-15,-4 6 0 16,8-1 0-16,-3-2 0 15,-99 9 0 1,104-7 0 0,8 1 0-16,-3-1-45 15,-1 1-105-15,-9-3-147 16,22 2 195-16,-17 3 160 16,8-1-109-16,3-2 14 15,-5 7 161-15,-4-11-269 16,6 11-460-16,2-5 762 15,10-1-372 1,-4 3 255-16,-7-3-206 16,-1 5 49-16,6-1-604 15,-3-2 585-15,8 3 643 16,2-3-391-16,-9 1-166 16,3 0-319-16,19-1 10 15,-6-2 146-15,-12 5-212 16,23-3 53-1,-15 2 191-15,4-6 207 16,7 2 909-16,-1-3-597 16,-4 0-219-16,10 3 2 15,-4-3-200-15,0 0-157 16,8 1 36-16,3 3 185 16,1-2 167-16,-1 1-212 15,-4-1 237-15,4 0-250 16,-5 3 65-1,5-3-15-15,1 0 113 16,3 3-212-16,4 2 266 16,-9-3 251-16,11 3-81 15,1-1-105-15,-14 3-1 16,2-3-210-16,7 3-57 16,12-2 251-16,5 1-352 15,-8 8 250-15,3-6-216 16,-2 5 162-1,-1-2-133-15,3 0 185 16,3 9-217-16,10-1 78 16,-2 3-9-16,7 5-23 15,-4 2 123-15,8 2-98 16,-2 6 53-16,2 1 140 16,-1-2-219-16,-2 10 191 15,1 1-271-15,6-1 145 16,0-3-47-16,-2 2 121 15,4-3 85 1,2-1 248-16,-2 0-199 16,8-1 23-16,-2 2 86 15,-1 0-224-15,-1-7-47 16,3 4 42-16,-3 4-161 16,-2-7 58-16,2-4 59 15,0 6 123-15,2 1 46 16,5-2-119-1,0-12-47-15,-5 9-15 16,4 1-8-16,3-12-3 16,2 1-2-16,8 0 1 15,-1-3-1-15,3 0 0 16,7 5 0-16,-4-7 0 16,-12-3 0-16,3-1 0 15,9 2 0-15,6 0 0 16,-2-3 0-1,-5 1 0-15,1 2 0 16,-6-2 0-16,2-2 0 16,8 1 0-16,-3-4 0 15,-5-5 0-15,-4 2-1761 16,0-9-1768-16,-5-2-2122 16,3 0-3276-16</inkml:trace>
  <inkml:trace contextRef="#ctx0" brushRef="#br0" timeOffset="98299.43">26968 9150 12588 0,'0'0'2128'16,"0"0"-625"-16,0 0 78 16,0-4-320-16,2 0-636 15,-2-3-568-15,0-1-23 16,0 2-174-16,-4-5-201 15,2 4 44 1,-1 1-169-16,1 0 205 16,-4 0 282-16,2 1 407 15,-2-1 286-15,-12 1 133 16,4-1 171-16,-3 2 361 16,-2 0-143-16,-6-5 153 15,1 3-318-15,-8-2-334 16,1-5-374-16,11 7-14 15,-12-1-216 1,-7 3-35-16,-7-5-96 16,7 1 171-16,13 6-93 15,-12-7-153-15,-12-3 162 16,7 1 139-16,3 0 71 16,-9-1 169-16,1-1-96 15,-7 2-126-15,11 1 96 16,-1 1-154-1,-21-1-65-15,17 2 35 16,9 3 131-16,-15-3-208 16,-2 1 258-16,7-1-241 15,-6 4 0-15,-7 0-41 16,10-1 43-16,-7 3-166 16,-1 0 148-16,13 0-56 15,-90 8-84 1,47-1 144-1,21-4-180 1,17-5 126-16,11 7-60 16,-15-2-4-16,-1-2 206 15,12 1-234-15,-15 1 37 16,-5-1 14-16,23 0 123 16,31-1-79-16,-29 2-183 15,-15-1 103-15,-5-1-12 0,13 2 177 16,-3-1-175-16,-3-1 137 15,9 2-152 1,-7-1 144-16,-7-1-109 16,11 1 43-16,9 0 33 15,-11 1 117-15,-11-1-348 16,17 0 110-16,-5 0 127 16,-8 3 96-16,-1-6-237 15,8 3 21-15,-5 3 87 16,-4-6 11-16,11 3-36 15,-6 0-34-15,-3-1 28 16,2-4 134 0,17 1-230-16,-19 2-122 15,-5 0 87-15,13-2-6 16,-5 4-125-16,-12-5-18 16,11 5 120-16,0 2 113 15,-13-2-304-15,13-2-75 31,6 4-13-31,-18-2 636 0,11-2-81 16,8 7-65-16,-11-4 105 16,2-1-50-16,7 3-98 15,-8 1-16-15,-5-2-236 16,5 5 297-16,5 1-311 16,-6 0 175-16,8 1-255 15,3 2 82-15,-12-1 104 16,9 1 255-16,11 1-153 15,0 3 60 1,-11 4-75-16,0-2 111 16,15 2 38-16,2-2-266 15,-8 6 91-15,-1 5 8 16,16-5 8-16,-5 11 111 16,12 0 46-16,-55 72-204 31,49-66-6-31,2 2 129 15,10-10 85 1,8 6-115-16,-2 3 104 16,2 0-15-16,6-2 67 15,2-3 161-15,2 2-291 16,-2 0 314-16,8 2-229 16,1-8-77-16,6 4-12 15,0-7 70-15,4 3 181 16,5-2-323-16,-1 0 114 15,-5-10-11 1,8 6 111-16,11-3-11 16,5-1-24-16,-1-4 87 15,-5 2-184-15,-2-4 391 16,8 4-139-16,1-1-89 16,-14-5 238-16,11-3-79 15,18 6 179-15,-9-6-427 16,-7-3 99-1,5 3 24-15,8-3 53 16,5-6 37-16,3 5 78 16,-5-3-256-16,-10-2 118 15,3 0-133-15,6 3-8 16,1-4-47-16,1 2-17 16,0-2-5-16,-1-1-2 15,5 3 0-15,3-1-1 16,-5-2 0-16,10 2 0 15,-8 2 0 1,5-2 0-16,-5 1 0 16,-1 1 0-16,-1-2 0 15,3 4 0-15,0-4 0 16,-8 4 0-16,4-1 0 16,1-1 0-16,8 0 0 15,-2 0 0-15,-15 1 0 16,5-1 0-1,4 0 0-15,-7-4 0 16,9 2 0-16,5 2 0 16,-5-4 0-16,-7 0 0 15,3 0 0-15,-10 3 0 16,10-6 0-16,7 3 0 16,-18 0 0-16,3 0 0 15,7-1 0-15,-5 1 0 16,2 0 0-16,-3 0 0 15,-4-3 0-15,1-1 0 16,8 4 0 0,2-2 0-16,-1-2 0 15,3 2 0-15,9-7 0 16,-13 5 0-16,5-3 0 16,-7 1 0-16,-5 0 0 15,11 0 0-15,4-3 0 16,-3 3 0-16,7-5 0 15,-5-4 0 1,-1 5 0-16,6-7 0 16,-19 6 0-1,1-4 0-15,13 1 0 0,-5-1 0 16,-14-4 0-16,7-3 0 16,-3-1 0-16,1 2 0 15,5 0 0-15,6-4 0 16,-15-1 0-16,-7 1 0 15,5-5 0 1,-4 3 0-16,-1-3 0 16,-13 3 0-16,0 1-304 15,13-6-11-15,-11 1 88 16,-6 5 179-16,-4-5 46 16,-2-1 39-16,-8 6-23 15,-4-8-44-15,-1-2-1 16,-5 4 36-1,-2-3-3-15,2 3-73 16,2 6 93-16,0-7 7 16,-9 3-144-16,-5 0 66 15,1 1 99-15,-4 3-45 16,-11-5-3-16,-5-1 115 16,8 6-166-16,-8 3 123 15,5 2-26-15,-4-2-84 16,1 2 22-16,-9-2 66 15,-5 3 8 1,15 1-94-16,-16 0-402 16,-13 2-1898-16,2 7-2855 15,-13 12-6212-15</inkml:trace>
  <inkml:trace contextRef="#ctx0" brushRef="#br0" timeOffset="130984.45">7928 13358 5285 0,'-2'2'1756'16,"-6"-2"197"-16,-4 4 203 16,0 1-907-16,6-1-529 15,2-2 134-15,0 2 173 16,2-2-406-16,0 0-63 16,2 1 107-16,0 3-18 15,6 0-188-15,6 1 121 16,2-1-287-1,0-2-12-15,16 0-182 16,-3-1 104-16,1-3 46 16,-3 1-87-16,15 2-80 15,7-3-8-15,-3 2-26 16,1 2-30-16,6 0 111 16,8-1 87-16,4 3-98 15,-1 0 152-15,-13 1 20 16,1 1-18-16,9-6 916 15,5 5-350 1,-7-1-97-16,2-2-271 16,56 2 515-1,-39-6-281-15,-8 5-359 16,-16-3-92-16,19-2-49 16,-55 0-155-16,34-2 82 0,7 2 3 15,12-3 88-15,-7 10-151 16,-7-7 14-1,8 0 74-15,1 0-84 16,-3 0 221-16,11 2-297 16,-17 0 104-16,7-6 18 15,9 6 204-15,-9-4-202 16,3 2-59-16,1 0-64 16,-11 0-20-16,6-4 54 15,-1 6 437-15,1-2-369 16,16 0 287-16,-16 4-41 15,-7-2-89 1,19-2 122-16,-8 4-89 16,-9-6-55-16,11 2-19 15,1 2-231-15,-3-6 285 16,5 2-158-16,-9 4-78 16,6-6 41-16,-7 6-73 15,4-2 82-15,16 0 12 16,-14 2-27-16,-9-4-173 15,22-4 197 1,-14 6 19-16,3-7 10 16,1 7-83-16,-1-2-28 15,13 0-8-15,-14 2-4 16,6-4 0-16,3-2-1 16,-9 6 0-16,6 0 0 15,5 0 0-15,-11-3 0 16,6 3-22-16,-2 0-50 15,3-6-148 1,-1 4 129-16,0-3 149 16,0 1-105-16,-7-4-53 15,3 4 131-15,-5-3-149 16,5-1-51-16,50-11-30 16,-62 8 150-1,11-4 9-15,-13-2-284 16,-11 1 18-1,5-4-19-15,2-1-629 16,-9-2 257-16,-6 0 225 16,-4-3 120-16,-3 3 210 15,5-2 43-15,0-5-211 16,-15 0 97-16,-4-3 89 16,-2 3 91-16,-3-2-36 15,-6 5-12-15,-4-7 6 16,-2-6-149-1,-4 5 155-15,-2 0 77 16,2 1-42-16,-14 0-210 16,-9-6-542-16,-9 1 205 15,0 6 6-15,8 1 448 16,-5 0-142-16,-15-8 266 16,-1 8 43-16,-4 5-67 15,-1-1 186-15,-9 3-147 16,7 2 267-1,-4 4 134-15,-6-3 160 16,12 4 115-16,-13-4-252 16,-1 3-10-16,11 2-127 15,-4 5-193-15,-11-6 18 16,-5 6 269-16,12 3-425 16,-1 1 22-16,-13 4 73 15,4-3-88-15,-6-1-72 16,8 8 286-1,-1-5-216-15,-11 1 63 16,14 0-134-16,-6 0 132 16,7 2 151-16,-11 0-258 15,-2 0 50-15,12-1-5 16,-5-1 19-16,1 4 28 16,-6-2-13-16,8 0-114 15,-72 2 193 1,78-2-154-1,-3 2 134-15,-2 2 64 16,4-2 62-16,9 2 82 16,-5 0 224-16,-5-4 127 15,13 2-199-15,-1 0-338 16,-16 4 53-16,16-2-76 16,1-2-22-16,-7 0-26 15,11 0-52-15,9-2-15 16,-8-2 91-16,-4 4-148 15,0 0-345 1,-12 2-318-16,2 0 309 16,-1 9 25-16,-19 0-27 15,16-5 330-15,3 2 114 16,-2 3 13-16,-6 1 289 16,-3-3-280-16,14-1 319 15,1 3-132-15,-1-4 219 16,1 3-421-16,3-2 155 15,-3-1 34 1,3-1-158-16,6 3-12 16,-5-5-67-16,1 2-126 15,0 2-296-15,3-1 2 16,2-2 398-16,-1-1 114 16,-12 2-105-16,5 0 134 15,11 1-121 1,-6-1-24-16,9 5-25 15,1-5 133-15,-4 0-139 16,-12 3-56-16,10-1 238 16,0 5 41-16,-1-2-212 15,10-1 127-15,0 0 7 16,3 1-38-16,6 2 6 16,-3 2 77-16,4 4-101 15,-27 16-722 1,35-15 60-16,-2 1 473 15,1 0-192 1,3 0 208-16,8 3 111 16,-2 10-47-16,2 2 62 15,7-9-113-15,7 9 135 16,-2-4-6-16,0 6 33 16,2 0 110-16,0-2-200 15,8 0 123-15,-2-4-6 16,5 6 95-1,-1-3 242-15,4-3 424 16,10 0 81-16,1-2-574 16,0 0 11-16,3 1 27 15,-3-1-413-15,1-5 100 16,-4-1 4-16,0-1 89 16,-1-2-174-16,4-2 209 15,-2 0-211-15,3-2 102 16,-3 0-60-16,-1-2 164 15,-2 0 50 1,-2-3-5-16,2-3 45 16,7 1 9-16,3-1-83 15,-4-1 9-15,-2-1-27 16,6 1-41-16,-1-3 81 16,-3-4-139-16,-2 2 43 15,0-3-200-15,7 0 122 16,3-4 28-16,-4-3 46 15,-11 5-160 1,6-2 133-16,2 1-15 16,3-3-25-16,-1 2-187 15,1 0-70-15,-2-5-312 16,-8 7-555-16,4-4-1434 16,-3-3-493-16,6 5-2218 15,0-4-2071-15</inkml:trace>
  <inkml:trace contextRef="#ctx0" brushRef="#br0" timeOffset="151967.1">21596 13601 11883 0,'0'0'3060'0,"0"0"396"16,-2 0-688-16,2 0-1098 16,0 0-662-16,0 0-379 15,0 0-386-15,0 0-106 16,8 4-108-16,1-1 14 16,-1-1-19-16,10-2 170 15,10 2 672-15,15-2-168 16,1-2-221-1,-3 0-94-15,-1-1-223 16,4 3 219-16,54 5 673 16,-46 1-573-1,4-1-115-15,3 1-149 16,-2 0-140-16,-1 2 157 16,0 1 15-16,8 4-5 15,-2-5 26-15,-4 5 158 16,1-3-277-1,12-3 96-15,-6 1-228 16,-3 1 197-16,14-1-157 16,-2-4-40-1,6-1-77-15,-3-1 107 0,-14 2 115 16,11 3-170-16,-2-7-60 16,6 6 266-16,1-4-313 15,1 4 168 1,3-6-193-16,-10 6 164 15,-4-1-80-15,7-1 256 16,13 3-293-16,-18-3 23 16,-5 0 112-16,13 2-28 15,0-4 35-15,-2 2 31 16,2-1-54-16,16-1-132 16,-11 2 121-16,3 0-10 15,-4-2 63-15,4 3-182 16,8-5 80-1,-17 4 24 1,3-4-259-16,10 2 71 0,2 0-112 16,-4 0 155-16,4-2-74 15,0-2-156-15,0 2 137 16,-13-2 245-16,13 0 2 16,7-1 71-16,-7 3 451 15,-15 3-157 1,9-3-21-16,6-3-173 15,89 3 356 1,-87-1-486-16,-8-4-29 16,-6 5-7-16,-1-2-3 15,7-4-1-15,10 2 0 16,-10-3 0-16,-13 1 0 16,21 0 0-16,3-5 0 15,-18 2 0-15,5-3 0 16,-4-1 0-1,-1-4 0-15,-2 0 0 16,0-10 0-16,-1 4 0 16,3-3 0-16,-6-1 0 15,-4 1 0-15,7-4 0 16,-14 3 0-16,-1-7 0 16,3 0-109-16,-15 3-112 15,1-5 80 1,5 0-14-16,-10-3-189 0,-5-1 123 15,-4 2 0 1,3-4 15-16,-4 2 74 16,-14-3-235-16,-5 1 74 15,-1 2 64-15,-10 0 102 16,2-7-5-16,-4 6 103 16,-6-3-3-16,4 6 96 15,-9-4 158-15,-8 0 177 16,-6 1-301-1,-27-27 168 1,1 26-105-16,7 12-28 16,0 3-124-16,-13 0 119 15,-3 1-208-15,1 7 281 16,-12-6-192-16,-3 8-50 16,-5 0 356-16,-2 0-414 15,2 6 113 1,-5 1 13-16,-5 1 183 15,16 1-365-15,-8 2 191 16,-18-1 68 0,-96-3-73-16,102 7 90 15,2 1 72-15,-4-2-522 16,-6 4 117-16,-6 0 128 16,10-2-75-16,-7 0-257 15,-4 2 19-15,7-5 152 16,6 5-140-1,-11 3 363-15,3-6-170 16,-5 6 674-16,11-1-330 16,11 4 291-16,-14-2-119 15,-8 3 187-15,17-1-533 16,0-2 263-16,1 3-462 16,-7-1 18-16,4-2 145 15,9 3-314 1,-3-5 168-16,7 0 209 0,-3 2 151 15,8-2-65 1,-5 3 92-16,-5-1-36 16,2-3-35-16,6 4-100 15,7-1 13-15,-13 3 28 16,6-5-102-16,7 2-307 16,-17-4-235-16,16 0-102 15,-3 0 101 1,0-4 310-16,8 4-267 15,-5-2 248-15,3 2 223 16,-3-4 30-16,-1 1-55 16,7 1 154-16,-9 0-312 15,-2-3 88-15,14 5 140 16,-1 0 84-16,-9-1 32 16,9-3 89-16,-2-3-49 15,-3 3-80-15,7 0-90 16,43 1 34-1,-36-1 5-15,-4-2 4 0,-7 2 150 16,-8 0-159-16,12-1-53 16,3-1 84-16,-6 4 155 15,-1-5 161-15,10 3-224 16,-2 2-48-16,-11-4 363 16,3 2-261-16,-58-1-3 31,67 3-208-31,9 4 108 15,-7 4-36-15,-3-1-36 16,7 5-13-16,3-1 16 16,-3 3-55-16,-1 1-500 15,0 6 206 1,2 2 107-16,-1-2-224 0,-1 9 230 16,9 0 22-16,7-3 22 15,-7 4 178-15,1 7-147 16,1 3 44-1,11-10 140-15,2 9 69 16,-2 1-170-16,9 3 308 16,6-2 19-16,-2 3-145 15,3-3 17-15,2 2-9 16,-1-4 128-16,2 7-58 16,-1-3-165-16,5-2 301 15,4 2-320-15,-2 3 200 16,-2-7 494-1,4-2 75-15,3 4-35 16,-1-4-234-16,6-2-176 16,6-2-107-16,-2-1-122 15,3 1 9-15,2 2-74 16,-4-6-121 0,2 1 94-16,10-3 41 0,5-5-20 15,-7 0 47 1,-1 0 1-16,4 5-34 15,1-5 170-15,9-2 102 16,2-5-222-16,-2 3 51 16,-13-2-47-16,-3-6-48 15,6-3-158-15,1-1-722 16,1-4-2231-16,0-11-6217 31</inkml:trace>
  <inkml:trace contextRef="#ctx0" brushRef="#br0" timeOffset="172001.31">28492 13673 3363 0,'0'0'2077'16,"-2"0"422"-16,0 3-901 15,2-3-708-15,-2 0-236 16,2 1-108-1,-4-2-116-15,1-2-78 16,-1 3-58-16,-7-2-104 16,1-2-67-16,-2 2 0 15,-4-2 61-15,-5 1 434 16,0 2 1196-16,2 1 10 16,-7-3-461-16,-1-1-320 15,4 2-375-15,-4 0 125 16,7 0 35-1,3-1 5-15,-2 2-51 16,4-2-88-16,-1 3-315 16,0 0-108-16,4 3 16 15,-3-2-84-15,0-1-20 16,3 3-90-16,-3-1-88 16,4-2 26-16,9 2-5 15,-2 0-11-15,1-2-40 16,-3 2-4-1,4 0-251-15,-4 1-84 16,0 1 10-16,0 6-243 16,-2 1 393-16,4 8 557 15,4-2-150-15,7 2-36 16,0-4 27-16,3 2 34 16,7-3-111-16,0 1-11 15,10-2-249-15,-7 2 340 16,9-5 118-1,-6 1-115-15,-2-5-12 16,13 7-88-16,2-7 55 16,-4 3-184-16,-5 1 17 15,1 1 61-15,8-2-140 16,-2-3 36-16,-5-4 192 16,1 0 432-16,-11 0-349 15,5-2 82-15,0 2-34 16,41-4-4-1,-25 0-287 1,-2 0-155-16,-11 0 127 16,3-3-205-16,4-1 101 15,2-2 51-15,-3 1 228 16,-11-3-7-16,-5 5-207 16,-7-3 337-16,5-5-161 15,2-1 139-15,-11-1 5 31,2-4-173-31,6-2-114 0,-2-9 101 16,-10 4-449-16,-4-11-445 16,-4 7-455-16,-4 0-1045 15,-6 5 1037-15,-4 4 574 16,-10 6 317-16,-27 2 228 16,-3 6 249-16,5 7-180 15,-14 5-437 1,7-3-1559-16,-3 0-1587 15,-6-6-1355-15</inkml:trace>
  <inkml:trace contextRef="#ctx0" brushRef="#br0" timeOffset="174432.81">27967 13746 12524 0,'0'4'3261'0,"4"4"-743"16,0 3-1073-1,-2-1-564-15,3 1-526 16,-3-1-284-16,0 3-32 16,0 2-232-16,2 0 124 15,-4 0-46-15,0 2 8 16,0 4 18-16,3 0 178 16,3 2 143-16,0 1 170 15,1 5 763-15,-3-1 215 16,-4-8-155-1,2 8-6-15,2-4-393 16,2-3-504-16,-4 2 88 16,-2 5-265-16,0-1-7 15,0-1 77 1,2-3 138-16,6 2 151 0,-2-2-349 16,-4 3 121-16,2-3 9 15,2 0-49 1,-2 3-111-16,-2-3-67 15,0 0 73-15,5-2-172 16,4 5 2-16,-7-5-27 16,2-2 84-16,-2-2-58 15,1 4-30-15,1-8-7 16,0 6-96-16,-2 0-11 16,-2 4 41-16,0-6 143 15,1 0-174-15,-1 2 197 16,0-2-76-1,1 2 26-15,-1 0-68 16,2-2 82-16,0 2 218 16,-2-2-250-16,-2 6 71 15,2-3-30-15,0 3 2 16,-2-2 33-16,6 4 212 16,-4-1-101-16,-4-3-76 15,2 2-68 1,2 2 36-16,0-4 114 15,0 1-111-15,1 3 69 16,2 5 160-16,-3-3-223 16,0-3-23-16,2-3 154 15,-6-2 39-15,2 0-190 16,4 4-146-16,-2-2-288 16,-4 5 37-16,4-3 173 15,6 0 3-15,1-4 307 16,-7 2-173-1,0-1 99-15,-2-4-82 16,2 1-25-16,0 2 3 16,0 2 184-16,-4-1-61 15,2-1-124-15,0-6 67 16,2 1 2-16,-2-1 59 16,5-3-41-16,-3 1 131 15,4 2-88 1,-4-5 179-16,3 1-230 15,3 1 100-15,-2 1-210 16,2-2 58-16,8-1 3 16,-6-2 35-16,5 3-45 15,-2 1 183-15,6-2-193 16,-7-1-14-16,-6 2-6 16,8-1 3-16,-2-2-194 15,-2 1-129-15,6-1-9 16,-2-2 147-1,5-2 57-15,-1 2 103 16,11 5-7-16,-8-2 45 16,2-3-66-16,-7-2-4 15,4 0 26-15,2-2 55 16,1 0-38-16,2 0-95 16,0-2-52-16,-1 0-22 15,-5-1-8 1,11-1-155-16,-16 2 255 15,6-2 62-15,7 0 16 16,1 1 48-16,-5-3-96 16,26 4 133-1,-33 0-51-15,-3-2 74 16,6-3 58-16,4-1-55 16,-1 1-28-16,1 2-82 15,-2-2 268-15,0 2-213 16,-3 1-44-1,2-6-52 1,-3 1 26-16,-4 3-543 16,-7-1 141-16,1-3 251 15,5-3-778-15,1-4 168 16,-4 5 290 0,-5-5 285-16,0-2 33 0,4-22 110 15,-8 18 226 1,0 5 20-1,2-2 32-15,0 3 73 16,-4-6 402-16,4 4 22 16,-4-2 88-16,0-4-138 15,2-1-50-15,2 3-372 16,0-5 60-16,3 5-223 16,-5 0 54-16,0-3-41 15,0 1-38-15,0-3-53 16,-3-1 99-1,-1 5-59-15,0-1 7 16,2 2 71-16,0-3 0 16,2-4-106-16,-2 7 178 15,0-7-178-15,0 7 230 16,2-2-204-16,0 0 43 16,0-1-225-16,-8-5-155 15,1-4-891 1,5 4 508-16,-3 1 421 15,-9-31 54 1,3 31 231-16,1-4 53 16,3 7 303-1,3-1 692-15,-5 3-275 0,3-5-28 16,0 3-415-16,-4-5-124 16,-4 3-140-16,10-1-3 15,-2-2 53-15,0 2-121 16,-1-3-18-1,-3 1 66-15,-1 0 119 16,2 4-111-16,-1 1 77 16,6-3-37-16,0 1 36 15,-2-5 2-15,6 2-76 16,0 2 40-16,-8 3-89 16,6-5 67-16,-4 1-60 15,-2-1-26 1,2 4 80-16,0 5 14 15,6-3 43-15,-3 3-18 16,-1 2-88-16,0 6 86 16,-1 1 89-16,1-3-62 15,0 2 13-15,0 2 106 16,2 5-105-16,-1 1 66 16,-1 1 40-16,2 4-86 15,2 2 539-15,0 0-82 0,0-2-29 16,0 2 91-16,0 0-89 15,2 4-475 1,0 2-183-16,-2 5-275 16,5 2-815-16,-3-5-1195 15,-2 0-2452-15,-2-4-1597 16</inkml:trace>
  <inkml:trace contextRef="#ctx0" brushRef="#br0" timeOffset="177832.21">28181 14503 3299 0,'0'0'1664'0,"0"0"-288"15,0 0-143-15,0 0 13 16,0 0-258-16,0 0 1158 16,2 0-298-1,0 2-521-15,-2-2-374 16,0 0-361-16,2 0-153 15,-2 0-409 1,0 0-105-16,2-2 54 16,0 2-14-16,-2-4 22 15,2 0-8-15,1-1 21 16,-1-3 52-16,0 2 18 16,0 1 287-16,4-3 228 15,-4 2-158 1,3 1-86-16,-3-1-124 15,0-4-174-15,0 5-109 16,2 1-41-16,3-3-30 16,-3-1-438-16,-2 2-445 15,4-3 157-15,2 1-16 16,-6-1 283-16,10 1 288 16,-6 0 263-16,-2 5 795 15,0-1 576-15,0 0 47 16,1 2-188-16,-1-2-186 15,4-1-277 1,3 3-25-16,-2-2-251 16,-1 0-71-16,-2 2-169 15,0-3-32-15,10 1 106 16,-2 0-299-16,-6 2-158 16,3-1 60-1,6-1-358-15,-4 3 69 16,-1-2 88-16,6 1 1 15,-6-2 183-15,1 1 61 16,0 3 34-16,4 0-47 16,-7 0 89-16,-4-1 12 15,-1 1-69-15,1 0 133 16,3-3 73-16,3 3 156 16,-8-2 190-16,0 0 80 15,6 0 55-15,2-2-154 16,1 2-191-1,1 0-100-15,8 0-67 16,-4 2-63-16,2 0 51 16,-8 0-89-16,5 0 8 15,-6 0-16-15,4 0 74 16,-3 0 69-16,-3 0 106 16,-2 2 229-16,-3 0-76 15,4-2-1 1,9 2-64-16,-6-2-69 15,1 2-161-15,1 0-12 16,-1 0-61-16,4-2 97 16,-8 2 11-16,-2 0 21 15,0 1-114-15,1-2-9 16,0 2-48-16,-3 1 62 16,0-4-127-16,2 5 87 15,7 0-92 1,-9-2-5-1,0 3-69-15,11 7-236 16,-8-5 145 0,-5 3-59-16,0 0 160 15,0 1 55-15,-2 1 20 16,2-2 11-16,0-3 141 16,0 4-137-16,0 4 65 15,-2-4-28 1,0-1-577-16,4 19-730 31,0-12-536-15,-2-11 1192-16,-4 4 102 15,-2-1 232-15,2 0 251 16,-4 1 145-16,2-1 536 16,4-1 72-16,2 4 302 15,-4-5-413-15,0 1 199 16,2 1-315-1,0-1 4-15,-2-1-295 16,2-1-25-16,2-3-24 16,-2-2 7-16,0 2-136 15,0-2-74-15,0 2-253 16,-2-1 103-16,0 1-412 16,2-2-384-16,-2 0 27 15,-1 2-51 1,1 1 59-16,-2-1-21 15,-9 0-34-15,2-2 605 16,1-2 118-16,-4 0 248 16,-2-2 364-16,4-2-69 15,-8 0-87-15,2 1 223 16,-3-1-236-16,5 0 110 16,6 2-276-16,0-2 271 15,-8-3-138 1,8 5-30-16,4-2-25 15,-9 2-23-15,0-2 45 16,0-1 7-16,1 3-57 16,-8 0 1-16,5 0 31 15,2 2-45-15,5-2 52 16,-1 2-61-16,5 0 50 16,-4-2-22-16,0 4 12 15,4-4 127 1,-12 0 53-1,7 2-54-15,0-3-75 16,-6-1-11-16,5 2-44 16,-1 0 53-16,0 0-163 15,3 2 32-15,-8 2-158 16,6-2-113-16,6 0 124 16,-5-2-146-16,1 2 11 15,-6 0-149-15,10 0 182 16,-2 0 115-1,-4 0 55-15,0 0 214 16,2 0 373-16,4 0-36 16,-5-2-21-16,-4 0-29 15,7-1-258-15,1 2-16 16,-3-2-75 0,0 3 68-16,0-2-103 0,4 2 78 15,-4 0-89 1,-1-2 131-16,7 0-134 15,-2 2-25-15,1-2-19 16,1 0-33-16,-2 0 74 16,-1-1 42-16,3 2 2 15,2-2-48-15,-2 1-200 16,0 0-513-16,-4-4-654 16,0-1 283-1,2 3 306-15,-2-2 308 0,2 4 244 16,6 0 288-1,0 2 1015-15,0 0 225 16,0 0 7-16,6 4 37 16,2 2-45-16,-4 2 313 15,1-1-459-15,0 2-507 16,-1-3-234-16,-4 0 4 16,0-4-154-16,4 4-29 15,2 3 32 1,0-2-200-16,-1 1 35 15,1 5-37-15,0-1 24 16,1 1-35-16,1 2 14 16,-1 1-25-16,1 6 3 15,2-1-16-15,2 0-109 16,-6-10-294-16,4 2-425 16,5-1 527-16,2-3 140 15,-4-5 87-15,1-4-4 16,2-2 45-1,-4-3 592-15,-4-5-95 16,5-3-243-16,4-8-146 16,2-6-194-16,-5-1-1014 15,0-2 209-15,-2 3-97 16,-6 0-177-16,-14 1 511 16,0 0 389-16,-10 5 415 15,-7 2-16-15,-5 9 173 16,12-1-206-1,-10 5-58-15,-6 0 97 16,11 2 116-16,11 4 114 16,-8-3 222-1,12 6-364-15,2-2-1832 0,-3 8-1182 16,7 4-270 0,2 1-1339-16</inkml:trace>
  <inkml:trace contextRef="#ctx0" brushRef="#br0" timeOffset="178455.4">28517 14545 512 0,'2'3'6807'0,"-2"3"-6"0,0-2-2759 15,-2 0-766 1,2-4-3529-1,0 0-1188-15,0 0-388 16,0 0 33-16,0 0 422 16,0 0 521-16,-8-4 14 15,-11 6-412-15,-5 9 338 16,12 0 680-16,8-1 283 16,-2 7 613-16,1 8 125 15,5-1-62-15,7-10 1033 16,3 5 434-1,-2-2-698-15,1 0-452 16,0-4-30-16,1 0 656 16,3-7-459-16,-1 3-512 15,-3-3-281-15,-3-2-38 16,3-4 10-16,-1-6-305 16,12-5-247-16,7-4-1235 15,-4 3-384-15,-4-3-448 31,1 0-938-31,-4-2 1037 0,-1-4 859 16,-13 2 592-16,-2-8-137 16,-13 3 10-16,-5-1 686 15,-4 4-274-15,-3 8-315 16,-3 7-621-16,14 3-1016 16</inkml:trace>
  <inkml:trace contextRef="#ctx0" brushRef="#br0" timeOffset="179066.4">28719 14632 12812 0,'0'4'2562'0,"0"7"-298"0,-3 4-486 16,-1-5-1666-1,-2-1-1009 1,2 1-380-16,-1 3-520 0,5 2 802 16,5 2 489-16,3-2 224 15,1-5 525-15,5 3 522 16,-6-11 240-16,8 2 492 16,6 0 3-16,-2-5-476 15,-7 1-324-15,-3-3-319 16,-6-1-179-1,-2-2-181-15,-4-11-55 16,-2-6-458-16,-2-3-1635 16,-7-3-1225-16,-4 1-109 15,0 5 629 1,9-3-377 0</inkml:trace>
  <inkml:trace contextRef="#ctx0" brushRef="#br0" timeOffset="179632.09">28902 14634 5093 0,'0'0'2785'0,"0"0"2301"16,-2-2-3186 0,2 0-558-16,-8 0-548 15,-6 6-1607-15,-6 3-824 16,-3 8 607-16,6-1 412 16,-2 5 393-16,11 2 161 15,10 3 272-15,4-1 1164 16,2-4 479-1,11 0 564-15,9 2-389 16,-9-8 255-16,-4-4-84 16,8-1-520-16,-8-2-911 15,-2-4-127-15,3-2-375 16,12-2-120-16,-9-4-279 16,-6-5 71-16,-5-6-51 15,-14-10 16 1,-11-7-41-16,-8 6-2667 15,3 1-3720-15,4 2-2117 16</inkml:trace>
  <inkml:trace contextRef="#ctx0" brushRef="#br0" timeOffset="187939.31">29209 13677 3235 0,'0'0'1857'0,"0"0"502"16,0 0-331-16,5 3-683 15,-1-1-390-15,-2 0-281 16,2-2-82-16,3 0 892 16,-1 2 180-16,1-2 76 15,-3 0-448 1,-4 0-449-16,2 4 679 15,0 0-296-15,-2 9 27 16,-4 2-103-16,0 2 21 16,1 0-289-16,3 4-45 15,3 2-221-15,-3-14-379 16,0 14 309-16,0 3-50 0,4-3-234 16,0 0-58-16,-2 5-244 15,4-1-333-15,-4 5 19 16,4 0 18-1,6-5 196-15,0-4 44 16,-6 5-1-16,1 0-16 16,-3-3 45-16,7 7 53 15,-5-3-135-15,-2-1 52 16,3-7-65-16,-7 4 240 16,0 3-163-16,4-1 117 15,-2 7-16 1,4-6-80-16,-2 2 108 15,0-3 399-15,-2 3 220 16,0-1-57-16,6 3-102 16,-2-4-117-16,-2 5-147 15,2-3-213-15,-2-3-68 16,0 8 78-16,3-2-21 16,-1-1-64-16,-3 4-8 15,-3-7 69-15,0 3 102 16,12 6-176-1,-5-6-18-15,-10 0 65 16,8-2-135-16,-1 1 48 16,0 1-258-16,0 4-166 15,0-6-516-15,-2 1 419 16,-4 1 355-16,2-5 119 16,2 5 59-16,1-2 72 15,-1-7 10-15,3 1 106 16,-5-3-168-1,2 0 119-15,0 2-93 16,8 1 57-16,-6 1-41 16,-4-2 66-16,-2-4 28 15,2-6-139-15,2 0 92 16,-2-3-24-16,0-4-23 16,0 1 50-16,4-1 89 15,-2-2-189-15,-2 1 127 16,2-3-32-1,-2 0 48 1,-2 0-128-16,2-2 84 0,0 0-9 16,2 2 67-16,0-2-183 15,3 2 75-15,2-2 180 16,5-2 322-16,-6 2-236 16,9 0 218-16,0-2 50 15,6 0-87-15,-3 2-27 16,0 0-173-1,1 0-82-15,5 2 56 16,-8-4-359-16,4 2 177 16,7 2-93-16,-4-2 29 15,7 2-78-15,-5-2 178 16,-7 0-123-16,0 2 151 16,-1-2-147-16,21 0 135 31,-14 4-68-31,1-1-82 15,-10-3 159-15,2 2-144 16,-3-2 189-16,8 0-267 16,-6 0 193-16,0 0-82 15,1-2 129-15,1-1-140 16,2 1 303-16,0 0-126 16,8 2 96-16,-11-2-225 15,-2 2 31-15,-4-2-100 16,7 2 44-1,-4-2-442-15,0 0-219 16,5-2 184-16,9 1 297 16,-8-1 99-16,2 0 125 15,-3 2 56-15,-4-2 8 16,0 0-85-16,1-3 160 16,-2 5-185-16,0-4 14 15,-4 2-36-15,8-3-43 16,3-2 12-1,-2 3-269-15,2 0 98 16,-7 0 138-16,-4 1 91 16,-8 3 25-16,2-2 129 15,2 0-130-15,-2 0-12 16,0 1 18-16,-4-1 32 16,7-2-49-16,3 2-26 15,-3-1 112-15,-5 5-105 16,-2-2-153-16,4 0 19 15,-1 0 155 1,-3 0-41-16,2-2-151 16,-4-1-23-16,-3 1-12 15,1 2 94-15,-1 0-137 16,3 0 146-16,2 2 81 16,0-3 40-16,0-1-89 15,0 0 34-15,0-2 75 16,-2 0-69-1,0-3 79-15,2-2 96 16,0 1-138-16,-2-5 10 16,0-4-9-16,0-2 11 15,-5-3 24-15,5 6-6 16,2-1-84-16,0-3 105 16,-2 3 102-16,4 0-115 15,0-2 10-15,-6-7-29 16,-2 3-48-1,4-2 11-15,0 3 41 16,-2-1-828-16,0-5-126 16,-1 7 283-16,-2-7 380 15,-1-1 110-15,0 3 336 16,6-2-264-16,-2-1 170 16,-1-3-70-16,-4 2-67 15,-1 0-27-15,2 2-122 16,1 1-31-1,-3-1 161-15,1-4 165 16,3-2-39-16,1 5 74 16,-3-3-4-16,6 2-57 15,-4 3-96-15,-2-7 29 16,-2 0-23-16,2 2-595 16,2 2-30-16,2 2 389 15,-7-37 106 1,-2 35 224-1,3 2-9-15,1 1-57 16,-1 1 29-16,0-4-5 16,-2 1 72-16,4 3-134 15,-2 5 120-15,-1-5-248 16,2 5 176-16,-1 2-132 16,1 0 78-16,5 1 18 15,2 6 86-15,0 3-35 16,-4 0 13-1,2 3 32-15,2 0 6 16,-5-1 46-16,2 3-46 16,1 2 15-16,2-2 35 15,0-1 125-15,-4 3 123 16,4-3 55-16,0 5-166 16,-4 0-68-16,-10-2-28 15,2 6-67-15,-7-4-85 16,-3 2-15-1,6 0 76-15,2-2 48 16,-30-6-98 0,23 3-18-16,-5 1-65 15,-6-3 41 1,-1 3 150-16,15 0-120 0,-3 0-64 16,4 0 20-16,-2-3 176 15,-11 1-188-15,-4-1 35 16,2 3-2-1,11 0 35-15,3 0 126 16,-5-5-132-16,-4-3-90 16,-4 1 105-16,0-2 29 15,8 3-98-15,0-1 172 16,3 5-1162-16,-4 1 422 16,6 1 406-16,-6 2 37 15,-5 4-32-15,7-2 176 16,5 3 19-1,4-3 134-15,-12 0-191 16,-1 0 40-16,5 0 236 16,4-3-174-16,4 1-62 15,-2 2-30-15,8 0-5258 16</inkml:trace>
  <inkml:trace contextRef="#ctx0" brushRef="#br0" timeOffset="188759.65">29680 13686 18898 0,'2'4'1401'0,"0"5"-362"15,4 1 9 1,0 5-953-16,0 0-547 15,-1 4 84-15,-1 5 228 16,0 5 70-16,1 3 166 16,-3 4 1241-16,0-3-278 15,2 8 660-15,7 46 206 16,-11-45-1112 0,0 2-220-16,0 3 292 15,6-2-292-15,-2 1-43 16,-2-8-127-16,4 7-378 15,8 1-127 1,-2-8 110-16,0 11-136 16,-2 4 290-16,-4-3 25 15,2-3-72 1,3 2 221-16,3 6-140 0,2-6-21 16,-2-5-102-16,-2 1-59 15,2 3-20 1,2-2-9-16,-1-3-3 15,0 3-1-15,2 3-1 16,-3 0 0-16,-8-7 0 16,4 3 0-16,2 1 0 15,-1-7 0-15,6-3 0 16,-4-3 0-16,-5 1-37 16,0 2-16-16,-1-6-23 15,2 2-302-15,1-11-478 16,-2-5-1101-1,-4-7-1629-15,-2-5-2765 16</inkml:trace>
  <inkml:trace contextRef="#ctx0" brushRef="#br0" timeOffset="189430.67">29375 14232 7911 0,'0'0'3976'0,"0"2"-269"15,2 5-493-15,6 3 881 31,5 7-1719-31,2 2-1194 0,-7-6-621 16,5-1-208-16,25 12-173 16,-14-16-219-1,5-4 38-15,7-1 113 16,-8-6-68-16,5 2 178 16,9-6 51-16,-4 5 195 15,53-2 752 1,-54 2-848-1,3-3-22-15,4-1-86 16,7 2 40-16,-9-5-116 16,7 3-312-16,4-2 97 15,-9-1-554-15,-10 7 464 16,2-4-102 0,7 4 203-16,-3-3-67 0,-8 3-4 15,-9 0-15-15,-7 2 167 16,4-2-178-1,3 0 90-15,-8-1-34 0,-4 3 227 16,-9-1-113 0,2 1-584-16,-4 0-971 15,-2 0-2069-15,-11 0-3716 16</inkml:trace>
  <inkml:trace contextRef="#ctx0" brushRef="#br0" timeOffset="190091.89">29573 13485 4965 0,'0'0'6977'0,"2"0"-1358"15,2 2-1744-15,6 2-1223 16,0-2-1223-16,-2-2-687 16,9-8-293-16,3-9-225 15,-12-2-104-15,0-7-61 16,-4-1 40-16,2-3 198 16,0-8 558-16,-12 4-327 15,-6-2 416-15,-2 3-408 16,-4 3-391-16,-3-2-26 15,-7 3-990 1,-1 1-242-16,2 7 154 16,2 6-570-16,5 7 622 15,-5 1-48-15,-1 9 650 16,10 5 350-16,-2 8 184 16,2 10 444-1,5 9 910-15,14 8-269 16,5 3 263-16,6 3-293 15,3-1-390-15,9-1-237 16,-14-3-342-16,2 3-189 16,-2-5-81-16,9-3-27 15,4-4-107-15,-4-13-502 16,-5-6-813-16,2-5-1301 16,2-8-4317-16,-12-8-1005 15</inkml:trace>
  <inkml:trace contextRef="#ctx0" brushRef="#br0" timeOffset="190644.15">29565 13445 8072 0,'4'0'10714'16,"-2"-2"-7220"0,14-11-645-16,-2-8-1269 15,1-5-899-15,-2 1-559 16,4-11-501-1,3 4-75-15,0 5 251 16,7 1 324-16,5 3 43 16,-4 2 363-16,-8 0 60 15,-4 10 549-15,0-2-308 16,-3 5-292-16,11 0-60 16,2 1-533-16,7 10-490 15,1 3-733 1,-12 8 520-16,-6-1-438 15,-2 6-90-15,-3 9 828 16,-5 1 321-16,-8 7 341 16,-9 2 522-16,-3-2 325 15,-24 7 71-15,-3-5 357 16,5 4-247-16,7-10-662 16,4-7-193-16,-10 0-102 15,2-5-205-15,5-5 12 16,7-7-297-1,6-2-448-15,11-3-1676 16,2-2-3095-16</inkml:trace>
  <inkml:trace contextRef="#ctx0" brushRef="#br0" timeOffset="192453.38">30623 13938 10890 0,'0'0'4366'0,"0"0"-114"16,0 0-577-16,2-2-985 15,3 0-352-15,5 0-872 16,5 6-799-16,-2 13-1552 16,1 21 387-16,-6 21 265 15,-6 13 343-15,-2 13 1204 16,-6-7 5-1,10 9-410-15,6-11-643 16,-4 9-181-16,2-7-60 16,-6-8-18-16,3 0-4 15,1-11-2-15,7-8-1 16,-3-5 0-16,-1-12 0 16,-1-6 0-16,-2-7 0 15,-1-10-480-15,0-5-41 16,-1-4-219-1,-2-4 122-15,0-17 186 16,4-26 138-16,-4-5 240 16,-8-10 138-16,-4-12-119 15,0-2 89-15,-6-2-15 16,3-15-26-16,5 8-9 16,1-12-72-16,5 8-131 15,0-8-868-15,-5 19 315 16,7 0 425-1,3 21 192-15,-6 14 204 16,-1 20 20 0,0 9 410-16,4 8 902 0,-2 4-85 15,-12 21-163-15,4 25-536 16,20 24-358-16,-2-6-176 16,2-3-56-16,12 2-17 15,-6-14-7-15,7-13-2 16,5-6 0-1,2-7-1-15,-7-10 0 16,-1-9 0-16,4-11-121 16,4-11-426-16,-2-12-284 15,5-12-113-15,4-16-673 16,-10 3 290-16,-10 7-511 16,-6-16-226-16,4 11 1467 15,-5 9-369-15,-8 14 512 16,-2 3 342-1,-4 12 412-15,0 6 1429 16,0 3 134-16,-2 8 262 16,-10 18-345-16,-2 20-371 15,5 14-437-15,11 10-154 16,4 10-531-16,4 13-192 16,-2-5-67-16,5 3-20 15,5-11-5-15,-5-2-2 16,2 2-1-1,3-12 0-15,-1-3 0 16,-2-10 0-16,6-9 0 16,-3-13 0-16,2-8 0 15,-6-4-1274-15,6-9-2303 16,-4-8-1331-16,6-13-2514 16</inkml:trace>
  <inkml:trace contextRef="#ctx0" brushRef="#br0" timeOffset="192709.36">31318 14139 28699 0,'2'15'2070'0,"6"29"-854"15,9 9-715-15,-6 7-317 16,-1 13-118-1,1 2-45-15,-3 5-14 16,3-1-426-16,-2-10-591 16,-3-5-916-16,4-22 508 15,-4-19-761-15,-3-12-535 16,1-9-1651-16,9-21-17 16,0-44-2526-16</inkml:trace>
  <inkml:trace contextRef="#ctx0" brushRef="#br0" timeOffset="192884.36">31506 13690 30749 0,'0'0'639'0,"0"0"-176"16,2 3-100-16,8 5-104 15,4 13-100-15,7 4-830 16,-5-3-3729-1,0-5-6207 1</inkml:trace>
  <inkml:trace contextRef="#ctx0" brushRef="#br0" timeOffset="193343.45">31878 13868 31774 0,'0'3'386'16,"3"5"-127"-16,-1-2-114 15,2 0-600-15,-4-6-2034 16,-17 11-2368-16,-6-9 1707 16,-5-2 1070-16,-18-2 1270 15,-7 6 1899-15,9 1 1679 16,-3 9 2742-1,32-5-3534 1,8 4-949-16,11 8-431 16,12 11-212-16,16-5-178 15,14 0-344-15,7 5-710 16,-12-2-768-16,-1 10 83 16,-9 4 802-16,-1 7 340 15,-12-7 378-15,-2 3 247 16,-14 2 197-1,-20 0 517-15,-11-7 616 16,-1 1-70-16,-12-6-794 16,-17-9-443-16,-3 0-170 15,18-14-60-15,-3-3-15 16,16-11-811-16,7-4-1987 16,6-5-3576-16,14-14-2114 15</inkml:trace>
  <inkml:trace contextRef="#ctx0" brushRef="#br0" timeOffset="193827.43">32298 13976 10986 0,'0'0'4274'16,"-15"-8"1210"-16,-9-12-375 15,4 1-3008-15,-12 1-612 16,-13 3-325-16,9 2-148 16,8 9-517-16,12 1-432 15,-1 2 44-15,6 2 27 16,3 17-560-1,14 9-481-15,-4-16 586 16,13 16-1125-16,17 15-228 0,6 1-302 16,-11-3-312-16,-6-2 833 15,3 6 765-15,-5-3 593 16,-4-5 838-16,-5 0 806 16,-6-3 876-16,-10 3 185 15,-12 3-477-15,0-12-926 16,-12-4-689-1,-14-1-289-15,-45 5-112 16,44-20-107 0,4-3-685-16,-4-6-1506 15,22-3-1600-15,1-3-355 16,8-7-846-16,3-4-642 16</inkml:trace>
  <inkml:trace contextRef="#ctx0" brushRef="#br0" timeOffset="194076.63">32528 14327 31966 0,'4'7'363'16,"5"14"-134"-16,-4 4-116 15,-17 43-359 1,-8-23-622-16,-4 1-774 15,9-2-25 1,5-1-793-16,2-14-83 16,3-12 3-16,5-10-927 15,0-7-326-15,5-17-1728 16</inkml:trace>
  <inkml:trace contextRef="#ctx0" brushRef="#br0" timeOffset="194202.7">32647 13786 30621 0,'0'0'697'16,"0"0"-236"-16,0 0-136 15,0 0-91-15,2 0-87 16,2 0-1225-16,9 6-6960 16</inkml:trace>
  <inkml:trace contextRef="#ctx0" brushRef="#br0" timeOffset="194581.7">32774 14063 32415 0,'-6'23'192'0,"-7"20"-94"0,8-31-69 15,-19 43-696-15,-13-2-2146 16,1-4-3512-16,4 6-1374 16,1-8 3392-16,14-1 4607 15,13-3 4323-15,10 5 612 16,7-10-1259-16,10-11-1280 16,17-7-736-16,3-16-704 15,-1-17-414 1,15-21-484-16,7-16-254 15,-5-12-117-15,-13-16-286 16,-12 10-883-16,-19-2 641 16,-19-4 453-16,-19 4 190 15,-15 3 20-15,-11 5-986 16,-11 7-4400-16,5 15-5004 16</inkml:trace>
  <inkml:trace contextRef="#ctx0" brushRef="#br0" timeOffset="195198.87">33066 14008 31454 0,'-9'23'723'16,"-3"0"-402"-16,-10 13-160 16,-11 11-508-16,3 2-3012 15,14-7-2378-15,-6 5-53 16,8-3 3443-16,11 5 4258 16,6-24 848-16,-1 2-383 15,4-11-432-15,2-6-666 16,8-8-278-16,8-14 54 15,6-14-130 1,7-16-397-16,2-7-501 16,-11-6-1107-16,-20 42 805 15,14-48-2665-15,7 4 458 0,-6 0 459 16,-4 4 606-16,-6 8 1032 16,-2 9 341-1,-1 2 323 1,-4 20 569-16,-4 5-203 0,0 5 423 15,-2 4 124-15,-4 8 138 16,-4 30 563-16,8 22 522 16,2 5-264-16,6 7-905 15,0 6-220-15,-2-1-708 16,6 9-216-16,9-20-72 16,5-4-20-16,0-5-5 15,-2-17-3-15,13-4-1 16,-7-11 0-16,-2-10 0 15,9-9 0 1,9-12 0-16,3-9 0 16,-13-10 0-16,0-15 0 15,-8-7 0-15,-5-8-1455 16,-11-9-4114 0,-18-5-6295-16</inkml:trace>
  <inkml:trace contextRef="#ctx0" brushRef="#br0" timeOffset="208977.36">7918 17534 10090 0,'0'0'854'0,"0"0"1383"15,4 2 1097 1,9 3-941-16,4-4-949 0,-4 2-419 16,-3-3-378-16,-2-3-375 15,6 3-93 1,4-1-29-16,4-2-172 15,7 1 45-15,-3 0 5 16,8-6-14-16,-11 4 59 16,-2-1-156-16,19-1 114 15,0 1 500-15,2 1 147 16,1 0-137-16,12 2 499 16,0-4-106-16,-10 6-357 15,-9 2-310-15,4 0-75 16,-1 4-37-1,4 0-210-15,-3 5 92 16,-6-11-244-16,25 2 3 16,-5-2 115-16,-8 0 136 15,7-2 52-15,63 2 430 16,-56-6-190 0,5 4 294-16,-11 4 97 15,-2 0-198 1,9-4-248-16,-8 0 15 15,-2 4-272-15,5-2 65 16,9-2-164-16,-15 4 150 16,12-7-132-16,8 4 165 15,-8-8-223-15,11 7 159 16,-11 2-75-16,13-8-92 16,74-1-36-1,-62 5 3 1,-14 0-153-16,4-3 8 15,10 1 159-15,-9 2 54 16,11-5 148-16,79-5 137 16,-77 2 41-1,-9 4 51 1,1 0 87-16,10-5 12 0,-2 1 244 16,0 1-565-16,-8-4-5 15,-1 2 66-15,7 3-68 16,-3 1 23-1,-3 1 275-15,1-3-342 16,3 3 213-16,-4-5-142 16,10 5-57-16,-8-1-29 15,-7 0-3-15,15 4 0 16,4-4-1-16,-10 2 0 16,10 1 0-16,-8 2 0 15,2 0 0-15,-4 2 0 16,-2-2 0-16,-1 4 0 15,21-3 0 1,-16 3 0-16,16 3 0 16,-20-2 0-16,-2 4 0 15,-1-3 0-15,1 0 0 16,-8 0 0-16,8 0 0 16,-6-2 0-1,7 2 0-15,77-2 0 16,-81 0 0-1,73-2 0 1,-79 2 0-16,6-4 0 31,166-5 0-31,-177 3 0 16,10-2 0-16,-3 1 0 16,-1-1 0-16,-2-3 0 15,0 3 0-15,5-7 0 16,-11 0 0-1,-3-4 0-15,-5-2 0 16,-8 2 0-16,62-30 0 16,-63 22 0-1,-9-1 0-15,1-8 0 16,0-2 0-16,-5 0 0 16,0-2 0-16,-11-3 0 15,-4 3 0-15,4 2 0 16,-9 0 0-16,-6-2 0 15,-9-5 0 1,-6 7-38-16,1 0-34 16,-12 2-128-16,-5-6-243 15,-6-3 90-15,-6 3 262 16,3 4-61-16,-3 0 115 16,-4-2 1-16,-7-1-121 15,-5 3-26-15,-3 4 246 16,-4 1-147-1,9 3-25-15,-16-2 197 16,-14 5-59-16,10 3 2 16,9 1-43-16,-11-4 74 15,3 4 172-15,-9-3-199 16,3 0-46-16,6 3 7 16,-9-2 136-16,7 1-92 15,-12 3 128-15,-2 0-205 16,-3 2-42-1,3 0 56-15,8 2 16 16,-16 2 27-16,4 5 99 16,-10-5-152-16,12 6 46 15,-14-1 37-15,4-1-13 16,1 3-26-16,-1 0 129 16,0-1-305-16,2 0 186 15,-8 1-85 1,2 4 47-16,-8-2-12 15,10 6-115-15,2-3-12 16,2 10 294-16,-2-5-167 16,-2 2 90-16,6 0-89 15,-6 0 65-15,-5 1 43 16,7-3 56-16,8 2-254 16,5-2 215-16,0-4-221 15,-9 2 243 1,8 2-218-16,-1-2 135 15,-3 0-115-15,18 0 186 16,-12-4-317-16,9 2-153 16,-4 0 461-16,2-1-261 15,6-1-638-15,-1 2 364 16,-5-2 73-16,-2 2-412 16,2-5 123-16,8 6 297 15,-5-4-199-15,2 3-265 16,8 0 182-1,-17-5 443-15,3 10 309 16,4-7-164-16,2-1 119 16,-1 5-131-16,-9 0 62 15,12 0 0-15,3-2-21 16,-9 2 35-16,5 4-9 16,1-4 60-16,-1 3 21 15,3-2 132-15,48-1-163 16,-39 9-18-16,-11-2-107 15,1-3 130-15,1 2-1526 16,2 0 2576-16,5 3-392 16,-1 2-311-16,-6-5-216 15,8 0-211-15,-4 3 179 16,8-3-368-16,9 3 193 16,-62 8 30-1,53-9 52-15,6 2 173 16,-1-4-104-1,-3 1-145-15,1-2 147 16,9 7-107-16,-9-4 62 16,-3-1-97-16,5-1 3 15,14 7 113-15,-2-5-83 16,-15 5-15-16,0-4-207 16,14-3 124-16,1 2 116 15,-10 1-144 1,-9 3 242-16,11-3-308 15,3 0 253-15,9-1-179 16,-16 2 105-16,8-3 180 16,8 4 28-16,-1-3 57 15,-4-2-144-15,1 3-94 16,5-1-62-16,-3 3 122 16,11-9 55-16,0 7 302 15,-1-1-238 1,2 4-200-16,-2-1 24 15,-5 2 29-15,3 8-77 16,-3 4-73-16,2 5 101 16,6 0-146-16,-5 14-170 15,-1-6-117-15,0 5 92 16,1 3 52-16,-1 1 66 16,3-1 106-16,4 7 57 15,7-4 83-15,-6 0 31 16,6-3-110-1,3 9-42-15,6-6 67 16,-2-5-36-16,2 9-157 16,6 2-20-16,-2-6-94 15,-2-3-456-15,0 1 314 16,2-2 440-16,4-4 87 16,3-4-7-16,4 1 285 15,-7 0 2-15,3-4 65 16,3-3-58-1,8 1-147-15,0-2-14 16,-5-3-117-16,0 1-46 16,8 0 56-16,-8-8-126 15,0 4 37-15,-7-7-1 16,3 0-1-16,6-2 101 16,6-3 142-16,9-1-329 15,-14-2 135-15,12-3 103 16,0 0-140-1,-1-2 47-15,-5-4 0 16,10-4-66-16,2 2-71 16,2-2 102-16,-4-2 78 15,6 3-190-15,-2 1 184 16,-4 2-260-16,-3 2 276 16,-3 1-577-16,2 1-2953 15,-9-2-2752-15</inkml:trace>
  <inkml:trace contextRef="#ctx0" brushRef="#br0" timeOffset="-209977.55">21665 17081 8360 0,'0'2'1463'0,"-6"7"1803"16,4-1-122-16,0 3-980 16,0-5-848-16,2 0-490 15,0 3-294-15,4 0-339 16,-2-7-117-16,2 4-79 16,1-2 28-16,10 2-9 15,8-1 62-15,5 1-93 16,-3-4 60-1,9-2 140-15,-2 4 222 16,-5 1-55-16,17-5-105 16,-4 2 61-16,-1 2 62 15,7-4 99-15,7-2-37 16,0 2 552-16,-10 2 77 16,3-4-347-16,15 0-240 15,-8 0-30-15,-11 0 16 16,15-1 27-1,3 1-250-15,-17 4 32 16,9-2 46-16,9-6-174 16,-7 8-94-16,5 2 75 15,0-4-59-15,-1 3-103 16,-6-1 6-16,18-2 21 16,-12 2-136-16,-6 0 178 15,13-2 4-15,-5 2-22 16,5 2 35-1,2-6-30-15,-8 4 154 16,-7-2-69-16,14 0-64 16,0-2 274-16,-4 0-229 15,13 2 35-15,-11 2-229 16,5-4 202 0,8 4 6-16,-22 0-191 0,15-2 81 15,-3 4-12-15,-7-1-24 16,73 1 41-1,-66-4 61 1,6-4 205-16,-12 4 33 16,1-3-358-16,-1-1 170 15,-4 0-26-15,1 0-29 16,13 2-50 0,-7-5 23-16,1 1 50 0,1 2-174 15,-3-5 112 1,10 7-71-16,-6 0 321 15,-21-6-418-15,27 1 334 16,-5 5-183-16,-3-4 154 16,-6-7-347-16,-3 7 71 15,-6-5 146-15,5-1 32 16,6 1 33-16,-1-2-32 16,-1-2 11-16,-6 5-39 15,7-7-76-15,1-2-27 16,-15-1 17-1,9-3 19-15,-4-2-11 16,11-3-367-16,-10 5 140 16,-9-2 129-16,3-1 35 15,-3 1 118-15,-3 0 1 16,-2-5 62-16,-11 1-96 16,1 1-16-16,0-4-28 15,1-2 48-15,-6 4-169 16,-8-1 64-1,-5-1 80-15,0 1-280 16,-8-4 104-16,0 4 22 16,-6-16-103-16,-10 13 67 15,0 0 107-15,-14-6-139 16,-1 8-20-16,-1-6 239 16,0 9 174-16,-5 1-226 15,-10 3 109-15,-8-1-144 16,10 5 216-1,3 0 36-15,-11 0 20 16,5 2 100-16,10 2 81 16,-2 0-5-16,-17 4-49 15,8 0-126-15,-4 5-78 16,11 2 65-16,2 1-11 16,-7 1-118-16,-1 2 89 15,6 0 11 1,2-2-88-16,-11 2-38 15,6-5-89-15,10 1 267 16,-3 2-265-16,-12-5 131 16,3 3-61-16,1-6 293 15,1 7-398-15,-14-1 54 16,4-1 31-16,16 5-302 16,-7-2 116-16,-21-2-209 15,12 6 282-15,13-2 87 16,-15-2 81-1,9 1 15-15,-1 1 6 16,-2-5 481-16,-6-1 56 16,8 4-70-16,9-4 10 15,-4 3 163-15,-9-1-107 16,2 4-197-16,15 0-20 16,-8 0-323-16,-7 2 5 15,5 0-55-15,4 2 133 16,-1-2-139-1,-5 0 77-15,-5 2-46 16,13-2 60-16,5 4-70 16,-1-2 155-16,-5 0-5 15,1 0-81-15,2 1-183 16,0-1 38-16,7 0-37 16,-26-2 80-16,8 2 90 15,2-2-66 1,-6 0 32-16,1 2-107 15,-5 0-42-15,17 0 38 16,-9-2-182-16,-5 0-50 16,1 3 110-16,15-3 17 15,-13-5 14-15,-9 5 178 16,16-4-262-16,-5 4 146 16,-3-6-3-16,-9 8-274 15,6-2 230 1,-3-2 132-16,2 2-53 15,9 0-92-15,-3-3 235 16,-3 1 72-16,-2 0 48 16,5 0-24-16,-3 0-89 15,-1 0 8-15,2-2 43 16,-1 1-45-16,11-1-93 16,-1 0 1-16,-3 0-234 15,2-3-483-15,-7 3-201 16,5-2 551-1,-3-1 249-15,5 3 37 16,5 0-93-16,-7-2 289 16,6-1-106-16,7 5 34 15,-39-4 39 1,21 6 23-16,11 0 51 16,9 2 236-16,-1 0 667 15,2 5-124-15,3 1-227 16,1 2-230-1,4 3-73-15,0 0-286 16,3 6 128-16,-8 7-259 16,0-1 121-16,1-2-26 15,-1 7-160-15,1-5-104 16,-6 9-14-16,6 4-20 16,4 0 310-16,12 2-17 15,-5-4 107-15,3 9-226 16,4-1 163-1,3-5-35 1,-1-2-13-16,4 3-23 0,0-1 66 16,-2 5-30-16,-3-6 82 15,7 1-137-15,3 7 0 16,-5-6 423-16,4 3-18 16,5-5 273-16,1 0-46 15,1 4-115-15,6-6-239 31,10 2-202-31,-3-6-7 0,-1 0 92 16,-6 1-18-16,0 6 187 16,-5-10-147-16,2 3 97 15,-4-4-178-15,-2-1 67 16,0-1-75-16,1-3-50 16,2-6-104-16,2-2-241 15,7 3-1040-15,6-1-103 16,-7-4-1785-1,2-4-483-15,2-1-1994 16,5-3-2191-16</inkml:trace>
  <inkml:trace contextRef="#ctx0" brushRef="#br0" timeOffset="-189823.81">21831 15595 8552 0,'0'0'1479'0,"-2"5"1488"16,-6 3 374-16,-4 3-438 15,4-1-628 1,-5 3-792-16,1 4-591 0,-3 2-416 15,0 6-185 1,1 5 402-16,2-1 51 16,0 12 149-16,8 1 336 15,6-1-104-15,-6 0-116 16,2 4-452-16,0 6-35 16,2-5-212-16,-5 3-68 15,3 4 94-15,4-4-79 16,-2-5-139-1,2 3-73-15,3 5-27 16,-3 4-12-16,6-7-3 16,0 5-2-1,-1 1-1-15,-2-2 0 0,-3 3 0 16,-9-6 0-16,-6 1 0 16,5-19 0-16,-1-3 0 15,-3 3 0-15,3 6 0 16,3-4 0-16,1-2 0 15,3 4 0 1,-6 4-383-16,6-2-1724 16,-2-8-3369-16,2-15-3164 15</inkml:trace>
  <inkml:trace contextRef="#ctx1" brushRef="#br1">3361 7850 0,'23'3'0,"36"-14"15,23 5-15,23 3 16,4-17-16,2 13 15,31 20-15,-5-18 16,20 5-16,21 0 16,31 9-16,-22-7 15,43-40 1,27 42-16,5-34 16,3 24-16,10-11 15,-26 15-15,35-10 16,-7 5-16,9-6 15,52 3-15,-31-12 16,15 21-16,21-6 16,-30-14-16,50-2 15,-23 10-15,22 2 16,-32 11-16,-10-1 16</inkml:trace>
  <inkml:trace contextRef="#ctx1" brushRef="#br1" timeOffset="3353.48">3380 11025 0,'8'0'0,"-8"0"15,0 0-15,0 0 16,0 0-16,0 0 16,0 0-1,0 0-15,4 9 16,2 1-16,0-1 15,-4-7-15,6-4 16,2 0-16,1 0 16,6-5-16,32 5 15,-7-6-15,-15 4 16,-3 4-16,24 6 16,5-16-1,-9 11-15,-5 6 16,-3-1-16,12 0 15,-20-1-15,7-1 16,15 4-16,-3-5 16,1-10-16,9 1 15,-21 10 1</inkml:trace>
  <inkml:trace contextRef="#ctx1" brushRef="#br1" timeOffset="4158.08">2974 14018 0,'-26'3'15,"9"3"-15,5 0 16,2-8 0,4 2-16,0-4 15,-2-13-15</inkml:trace>
  <inkml:trace contextRef="#ctx0" brushRef="#br1" timeOffset="-103245.66">926 1566 32767 0,'-4'0'0'15,"-2"0"0"-15,6 0 0 16,0 0-1515-16,0 0-2631 15</inkml:trace>
</inkml:ink>
</file>

<file path=ppt/ink/ink2.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0:16:35.993"/>
    </inkml:context>
    <inkml:brush xml:id="br0">
      <inkml:brushProperty name="width" value="0.05292" units="cm"/>
      <inkml:brushProperty name="height" value="0.05292" units="cm"/>
      <inkml:brushProperty name="color" value="#FF0000"/>
    </inkml:brush>
  </inkml:definitions>
  <inkml:trace contextRef="#ctx0" brushRef="#br0">11033 3806 27002 0,'-12'-35'-3199'0,"-3"-19"2886"15,-13-6 518-15,6-3-372 16,-12-5 67-16,25 54 78 15,-29-35 6-15,-24-7-34 0,1-3-10 16,-15 9-323-16,-17 5-1216 16,0 11 653-16,-11 0 443 15,-10 2 797-15,4 5 1178 16,-13 4 289 0,-2 6 148-16,4 4-23 15,-6 3-634-15,-4 10 49 16,-11 6-316-16,-6 11-210 15,13 4-127-15,-9 17-404 16,6 13-115-16,18 2-319 16,-5 8 340-16,0 13-486 15,15 2 237-15,6 9 99 16,4 17 0-16,12-3 0 16,1 15 0-1,2-1 370-15,20 9-138 16,5 6-227-16,3-2 46 15,15 3-162-15,-3 9-533 16,-5 8 296-16,7 0 370 16,5 5-117-16,0 5 175 15,17 3 88-15,-9-1 44 16,12-1-66-16,-4 4-39 16,11-4 267-16,-3 8-241 15,11 2-105 1,-1-2-23-16,8 9-3 15,7-7-2-15,10 0 0 16,3 5 0-16,12-11 0 16,-30-138 0-16,29 112 0 15,19 20 0-15,13-16 0 0,1-3 0 16,17 8 0-16,2-13 0 16,4 3 0-1,8-8 0-15,0-11 0 16,10-12 0-16,7-7 0 15,0-16 0-15,20 9 0 16,-7-15 0-16,-17-4 0 16,26-8 0-16,10-9 0 15,-23-12 0-15,-9-6 0 16,26-17 0-16,-8-11 0 16,-19-15 0-1,6-18 0-15,0-12 0 16,-17-15 0-16,15-23 0 15,-16-9 0-15,16-25 0 16,-6-6 0-16,-8-26 0 16,4-12 0-16,-11-10 0 15,14-3 0-15,-13 0 0 16,-22 4 0 0,6-7 0-16,-20 8 0 15,5-3 0-15,-13-5 0 16,-1-3 0-16,13-1 0 15,-25-6 0-15,-4 7 0 16,-9-1 0-16,1 2 0 16,-7 1 0-16,-4 2 0 15,-19 1 0-15,-4 8 0 16,-13 3 0 0,-2-4 0-16,-7 13 0 15,6-6 0-15,-8 14 0 16,-3 0 0-16,-14 4 0 15,-6 3 0-15,8 17 0 16,-14 10 0-16,-4 0 0 16,-9 13 0-16,-3 15 0 15,-2 2 0-15,-37 14 0 16,8 13 0-16,-23 11 0 16,-14 23 0-1,-19 20-4290-15,0 12-922 16,7 8-3015-16</inkml:trace>
  <inkml:trace contextRef="#ctx0" brushRef="#br0" timeOffset="7225.1">16630 4178 24856 0,'-2'-11'295'16,"-4"-10"197"-16,2 2 313 16,-7-6-254-16,-6-5-659 15,4 11-40-15,-13-9-744 16,0 8 182-16,-21 3 50 16,-2 0 231-1,7-1 312-15,-10 13 152 16,-13-6 236-16,6-2 465 15,-9 5 704-15,-12-3 297 16,6 2-386-16,-22 5-232 16,12-2-491-16,-16 0-368 15,9 8-164-15,-14-2-162 16,-8 8 355 0,10 5-447-16,-12 0 138 15,7 12 392-15,7-2 51 16,5 7-192-16,-13 6-166 15,-17 11-47-15,29-1-14 16,-8 1-3-16,-2 14-1 16,6-2 0-16,-24 13 0 15,20 0 0 1,0 7 0-16,6-3 0 16,4 8 0-16,4 7 0 15,4-2 0-15,13 8 0 16,-7 9 0-16,12-6 0 15,-3 12 0-15,11 2 0 16,3 5 0-16,18 4 0 16,0 2 0-16,-4 6 0 15,12-4 0-15,10 2 0 16,7 6 0-16,1-7 0 16,8 1 0-16,6-3 0 15,0-5 0 1,4 6 0-16,2 5 0 15,2 3 0-15,-1 7 0 16,5 1 0-16,16-7 0 16,8-1 0-16,6 3 0 15,-5-11 0-15,7 0 0 16,5 0 0 0,1 0 0-16,17-6 0 15,2-5 0-15,-6-6 0 16,7-4 0-16,9-9 0 15,-6-12 0-15,8-6 0 16,-5-14 0-16,19-5 0 16,4-3 0-16,6-13 0 15,0-4 0-15,2-8 0 16,10-2 0-16,0-3 0 16,0-2 0-1,9-1 0-15,-7-5 0 16,-8-6 0-16,0-13 0 15,-2 0 0-15,4-22 0 16,6-8 0-16,-17-10 0 16,-1-10 0-16,9-16 0 15,-2-6 0-15,-6-6 0 16,-5-16 0-16,-18-3 0 16,4-13 0-1,-8-13 0-15,2 1 0 16,-9-10 0-16,-7-11 0 15,-2-6 0-15,-5-9 0 16,4-7 0-16,-19-7 0 16,3 3 0-16,-7 8 0 15,-7-4 0-15,-9-9 0 16,0-2 0-16,-10 13 0 16,-5 9 0-16,-6-13 0 15,-5 12 0 1,-5-3 0-16,4 5 0 15,-14 5 0-15,1-3 0 16,0 12 0-16,-11-3 0 16,7 9 0-16,1-7 0 15,-5 17 0-15,-7-2 0 16,0 7 0-16,2 0 0 16,2 5 0-1,9 5 0-15,-11 9 0 16,-17 16 0-16,0 1 0 15,1 12 0-15,-12 4 0 16,1 9 0-16,-5 11 0 16,-14 3 0-16,12 14 0 15,-25 7 0-15,14 8 0 16,-28 10 0 0,10 9-6126-16,1 19-9505 15</inkml:trace>
  <inkml:trace contextRef="#ctx0" brushRef="#br0" timeOffset="15299.42">10615 3454 11947 0,'-4'0'189'0,"-7"0"1014"16,2-2 64-1,-1 2-535-15,1 2-867 16,-3 0 20-16,-4 1-281 15,6-2 94-15,10 2 202 16,-6-3 173-16,6 0-77 16,4 0 705-16,15-7 1564 15,17-6 1288-15,0-1-1399 16,2-8-631-16,2-5-177 16,-7 4-292-1,13-5-4-15,1 7-226 16,11-5-188-16,-15 8-220 15,10-8-227-15,1-1 151 16,10-7-1-16,25-6-155 16,-22 6-200-16,6 2 165 15,1-4 31-15,5 8 233 16,2-1 277-16,0 1-397 16,6 7-205-1,-9 0-62-15,7 6-18 16,0-2-6-16,4 7-1 15,-9-5-1-15,13 6 0 16,-12-5 0-16,20 9 0 16,-16 3 0-16,12 4 0 15,-8-2 0-15,-2 11 0 16,0-5 0-16,6 7 0 16,-21 4 0-1,11-2 0-15,1 4 0 16,-2 4 0-16,3 5 0 15,-23-5 0-15,18 11 0 16,-8 0 0-16,-13-3 0 16,3 8 0-16,-5-2 0 15,-5 6 0-15,10-1 0 16,-1 2 0-16,-14-3 0 16,6 12 0-1,-3-6 0-15,0-1 0 16,-13-3 0-16,1 5 0 15,9-2 0-15,-3-1 0 16,-16-1 0-16,-2 5 0 16,5-2 0-16,-1-3 0 15,-2 3 0-15,-1-1 0 16,-5-8 0-16,-6 7 0 16,6-1 0-1,-6-4 0-15,3 1 0 16,-2-7 0-16,-4-7 0 15,-9-1 0-15,4-7 0 16,-4-11-2233-16,-2-4-3385 16,4 1-2187-16</inkml:trace>
  <inkml:trace contextRef="#ctx0" brushRef="#br0" timeOffset="16115.62">13832 4091 18033 0,'0'-4'950'0,"-4"0"442"16,0-2 274 0,2 3-684-16,-1 1-490 15,3 0-614-15,-2 2-1172 16,2 0-330-16,5 4 418 15,13 15 307-15,17 5-171 16,13 3 556-16,3-1 513 16,10 5 128-16,1 7-40 15,-7-6 1209-15,8 13 793 16,5-1 565-16,-9 9-1267 16,11 8-445-16,-1-10 8 15,-3 6-64 1,9 3-297-16,-25-12-65 15,5 3-86-15,6 2 78 16,-11-15 243-16,-15-9-272 16,1-12 585-16,-6-2-396 15,4-8-388-15,-11-16-171 16,3-16-60 0,-10-20-31-16,-3-18-16 15,-13 1-7-15,4-9-2 16,-10-8 0-16,8-7-1 15,-2-14 0-15,7 0 0 16,-5-3 0-16,-2-1 0 16,-2 4 0-16,2 3 0 15,0 8 0-15,4 9 0 16,-11 10 0 0,-1 17 0-16,-5 17 0 0,7 13-2579 15,0 12-5841 1</inkml:trace>
  <inkml:trace contextRef="#ctx0" brushRef="#br0" timeOffset="20617.02">22316 5173 24599 0,'-17'-19'378'0,"-5"-13"-298"16,-10-2 131-16,8-2-209 15,0 2-290-15,-12-6 167 16,-13 4-449-16,-4 0 223 15,7 3 150-15,-21 7 167 16,-8-4 64-16,-3 7 465 16,-96-9 988-1,77 15-438-15,14 13 128 16,-10-5-422 0,-8 5 368-16,-6-4-345 15,10 6-221-15,-18 6 50 16,2-2-281-16,-2 9-242 15,10-3 8-15,-22 5-115 16,6 8 65-16,15 2 250 16,-9 9-427-16,-113 23 92 15,107-17 306 1,14 11-199-16,-12-3-47 16,15 5-13-1,-4 4-3-15,0 7-1 16,15-3 0-16,0 8 0 15,2 1 0-15,-2 4 0 16,13-2 0-16,1 6 0 16,-8 1 0-16,26-1 0 15,-5 9 0-15,-1-3 0 16,-5 14 0 0,9-6 0-16,7 3 0 15,11-4 0-15,1 11 0 16,-7-5 0-16,11 0 0 15,6 5 0-15,13-5 0 16,-5 4 0-16,10 3 0 16,1-9 0-16,2 9 0 15,3-5 0-15,-1 2 0 16,11-1 0-16,9-7 0 16,1 9 0-1,10-12 0-15,0 3 0 16,6-2 0-16,-3 0 0 15,7-4 0-15,12 2 0 16,3-3 0-16,-3-1 0 16,7-5 0-16,12 2 0 15,-6-3 0-15,4 1 0 16,9 1 0-16,-2-6 0 16,4 4 0-1,-1-7 0-15,10-7 0 16,5 9 0-16,-5-11 0 15,-2-1 0-15,2 1 0 16,8-4 0-16,2-8 0 16,6 4 0-16,-6-5 0 15,19-12 0-15,2-8 0 16,-2-4 0-16,2-10 0 16,5 1 0-16,-12 0 0 15,18-2 0 1,-8-3 0-16,2-1 0 15,8 1 0-15,-19-1 0 16,4-7 0-16,0 2 0 16,-2-10 0-16,-5-9 0 15,1-2 0-15,2-9 0 16,-7-3 0 0,0-11 0-16,1-17 0 15,-8 8 0-15,-1-8 0 16,0-5 0-16,4-5 0 15,-6-12 0-15,-4-3 0 16,-1-11 0-16,-1-7 0 16,-10-4 0-16,4-8 0 15,-13 4 0-15,-7-6 0 16,-9-6 0-16,7 3 0 16,-13-6 0-1,-8-8 0-15,-9 2 0 16,1-7 0-16,3 3 0 15,-12-3 0-15,-5-1 0 16,-3-3 0-16,-7 5 0 16,2-5 0-16,-9 0 0 15,-5 3 0-15,-10-1 0 16,2-1 0-16,-4 11 0 16,5-3 0-1,-17 10 0-15,-12 1 0 16,-1 10 0-16,5 0 0 15,-14 10 0-15,-18-4 0 16,12 18 0-16,-19 3 0 16,16 5 0-16,-13 8 0 15,7 7 0-15,-26 10 0 16,-4 2 0-16,-4 13 0 16,8 10 0-1,6 0-4363-15,-4 12-6175 16</inkml:trace>
  <inkml:trace contextRef="#ctx0" brushRef="#br0" timeOffset="23974.58">16095 4768 21172 0,'-21'0'69'0,"-1"3"1313"16,14-3 201 0,-2 0-787-16,2-3-354 0,4 2-423 15,4 1-710 1,2-9-473-16,24-12-70 15,12-5 450-15,11-7 699 16,-5-3 139-16,29-4 101 16,6-7 666-16,-4 2 202 15,3-1-10-15,9-3-207 16,23 0-119-16,-6 11 237 16,2-8 134-1,6 6-381-15,6-1-236 16,5-3-139-16,10 0 44 15,13 5-315-15,-5-1 174 16,-6 0 38-16,7 2 285 16,14 4-131-16,5 7 144 15,-6-1-77-15,-1 4-37 16,1 4-334 0,-3 7-73-16,9 2-15 15,-7 11-4-15,7 7-1 16,-21 5 0-16,-7 3 0 15,3 11 0-15,-3 7 0 16,-18 5 0-16,5-4 0 16,3 8 0-16,-22 3 0 15,12 4 0-15,-18 1 0 16,-11-1 0 0,62 63 0-1,-84-55 0-15,-15 3 0 16,9 3 0-16,29 52 0 15,-57-65 0 1,-5 3 0-16,-13-2 0 16,2-4 0-16,-4-3 0 15,2-4 0-15,-8-4-1787 16,2-2-5165-16,-4-10-4655 16</inkml:trace>
  <inkml:trace contextRef="#ctx0" brushRef="#br0" timeOffset="24890.95">20559 4656 18930 0,'0'0'2149'0,"2"0"-642"16,-2-1-885-1,10 2-744-15,8 12-23 16,10 6-480-16,9 11-507 15,1 6 68-15,-8 4 217 16,12 13 318-16,11 4 282 16,-7-4 129-16,1 6 886 15,-1-4 1105-15,11 2 879 16,-14-8-1250-16,-5-5 139 16,11-1 52-1,1-1-406-15,-7-10-579 16,6-2-304-16,-2-5-202 15,-7-6-13-15,-13-8-68 16,5-7 348-16,-7-4-64 16,3-9-198-16,6-14-107 15,6-17-57-15,0-13-27 16,-13-6-11-16,5 0-3 16,-24 43-1-1,25-36-1-15,17-14 0 0,-16 1 0 16,-5-3 0-16,12 6 0 15,-1 1 0-15,2 2 0 16,-14 4 0-16,-7 10 0 16,0 5 0-16,-6 4 0 15,-3 8 0-15,-6 10 0 16,-2-4 0-16,-8 1 0 16,-8 8 0-1,2-3 0-15,-5 0 0 16,-74 0 0-1,30 12 0-15,-2 6 0 16,-14 0 0-16,-10 6 0 16,-14 3 0-16,-6 2 0 15,2-3 0-15,-16 9 0 16,12 0 0-16,-22-2 0 16,-15 7 0-1,11 3 0-15,-5 5 0 16,7-1-2857-16,-8 9-1119 15,11 1-5073-15</inkml:trace>
  <inkml:trace contextRef="#ctx0" brushRef="#br0" timeOffset="30659.86">21505 5003 29500 0,'-9'-4'-165'0,"-10"-13"65"16,3 1 701-16,-14-4-441 15,-4 4-643 1,-4-1-192-16,7 0-352 16,1-1 198-16,12 4 469 15,6-1 374-15,1-17 956 16,11 3-343-1,4 1 144-15,9-14 376 16,8 2 114-16,6 1-636 16,7-5-155-1,9-2-299-15,-9-3-113 0,0 0-38 16,4-2-13 0,11 0-4-16,2-2-2 15,-13 7-1-15,19-3 0 16,10-2 0-16,-13 7 0 15,13 0 0-15,3 3 0 16,-7 8 0-16,14-2 0 16,-17 2 0-16,31-1 0 15,-12 0 0-15,12 5 0 16,-4-1 0-16,10 0 0 16,-3 1 0-1,22 7 0-15,-25-1 0 16,17 6 0-16,-4 9 0 15,3-1 0-15,4 7 0 16,-10 2 0-16,14 2 0 16,-8 7 0-16,12-1 0 15,21 9 0-15,-39 0 0 16,5 0 0-16,15 15 0 16,-22-7 0-1,11 5 0-15,-19 6 0 16,17 2 0-16,-21 2 0 15,23 0 0-15,-25 7 0 16,-1-3 0-16,-3 9 0 16,8-2 0-16,-9 4 0 15,3 0 0-15,2 0 0 16,-8 6 0 0,-2-5 0-16,-18-1 0 15,3 4 0-15,5-4 0 16,-10 2 0-16,7 0 0 15,1 0 0-15,-21-4 0 16,-4 6 0-16,17 5 0 16,-8-15 0-16,-13-3 0 15,-4 5 0-15,-4-2 0 16,11-1 0-16,-5-7 0 16,0 5 0-16,-7-4 0 15,-4 5 0 1,6 0 0-16,7-3-676 15,-6-8-3436-15,-1 2-4591 16</inkml:trace>
  <inkml:trace contextRef="#ctx0" brushRef="#br0" timeOffset="31751.01">25592 5438 27962 0,'14'-7'598'0,"31"-6"-930"0,21-3-187 15,4 0-131 1,6 4 82-16,2-3 478 15,9-4-74-15,0-2 161 16,8 0-67-16,8-4 167 16,-4 12-94-16,-8-2 681 15,6 4 204-15,-10 1 151 16,-1 6-216 0,-14-3-23-16,-23 3-188 15,-12 10-389-15,11-1-247 16,-13 1-170-16,-15 0-79 15,-6-2-48-15,-3 5 308 16,-5-1 303-16,1 3 207 16,-3 2-303-16,2 6 16 15,-8-1 23-15,2 6-180 16,-6 12 141 0,-9 4 163-16,-6 7-211 0,9 3-92 15,-6 10-34 1,6-5-13-16,-3 6-4 15,6-8-2-15,3-2-1 16,1-3 0-16,1 1 0 16,6-4 0-16,-8-5 0 15,6 7 0-15,4-7 0 16,0 0 0-16,3-8 0 16,-5-13 0-1,0-9 0-15,0-3 0 16,-2-7-42-16,0 0 55 15,0-2 0-15,-4-26-4 16,-15-10-257-16,3-6-250 16,-4-3 188-16,-8 2 253 15,-5 1 56-15,-11-5-426 16,-7 7-14-16,1 2 316 16,-19 1 147-16,-1 4 29 15,-13 1-170 1,6-4 151-16,-10 8 206 15,2-6 925-15,-2 7-647 16,9 1-369-16,-3-1-102 16,-12-1-31-16,6 7-11 15,7 1-1-15,27 1-2 16,-6 8 0 0,-9-3-2742-16,25 5-4342 15,7 2-4689-15</inkml:trace>
  <inkml:trace contextRef="#ctx0" brushRef="#br0" timeOffset="33223.94">28509 6947 28859 0,'-15'-22'2172'0,"-86"-109"-596"15,43 64-1463 1,-13 1-79-16,5 0-25 15,-90-67-310 1,47 70 193-16,10 1-85 16,-8 9 167-16,-4 3 20 15,-21-3 447-15,5 6-291 16,-10 6-114 0,-5 4-27-1,-7-2-8-15,-3 10 0 0,9 4-1 16,-18 5 0-16,-7 4 0 15,12 9 0-15,-3 1 0 16,-11 12 0-16,16 7 0 16,-5 1 0-16,1 10 0 15,-1 8 0-15,0 10 0 16,7 2 0 0,6 7 0-16,3 8 0 15,-2 7 0-15,3 15 0 16,11 5 0-16,10 1 0 15,-2 15 0-15,15-3 0 16,3 1 0-16,7 5 0 16,16 4 0-16,20-6 0 15,5 3 0-15,11 2 0 16,6 0 0-16,18 0 0 16,9 2 0-16,7 4 0 15,14-2 0 1,10 5 0-16,13-9 0 15,20 4 0-15,0-6 0 16,14 6 0-16,12-10 0 16,-4-5 0-16,16 7 0 15,9-9 0-15,2 6 0 16,5-8 0-16,113 85 0 31,-87-87 0-31,-14-23 0 16,10 2 0-16,19-5 0 15,-6-12 0-15,-5-4 0 16,10-4 0-16,9-14 0 16,3 3 0-16,3-2 0 15,10-9 0-15,1-4 0 16,-15 5 0 0,1-3 0-16,9-5 0 0,183-3 0 31,-189-19 0-31,-3-5 0 15,11-14 0-15,-4-3 0 16,-9-3 0-16,-9-11 0 16,-7 3 0-16,2-14 0 15,-2-6 0-15,-21-13 0 16,7-8 0-16,-2-3 0 16,-19-7 0-1,-4-4 0-15,-18-10 0 16,0-4 0-16,1-6 0 15,-19-3 0-15,-13 1 0 16,-5-6 0-16,-19-1 0 16,-14 4 0-16,-10-3 0 15,-19-7 0-15,-15 1 0 16,-7 10 0-16,-3-3 0 16,-5 7 0-1,-15 2 0-15,-5-2 0 16,-11-1 0-16,-7-1 0 15,-3 14 0-15,-14-4 0 16,-27 9 0-16,8 8 0 16,-9 2 0-16,-28 4 0 15,-6 16 0-15,-15 10 0 16,-8 23 0-16,-2 9-5851 16,2 16-4879-1</inkml:trace>
  <inkml:trace contextRef="#ctx0" brushRef="#br0" timeOffset="46875.1">4453 4425 11627 0,'0'0'556'0,"-7"-1"685"15,1-4-394-15,-4 1-418 16,0-2-633-16,-4 2-830 16,-2-1-741-1,3-1 875-15,-7 0 1069 16,-4-1 738-16,4 1 305 15,1-1 101-15,-13 1 673 16,2 0-79-16,1-1 378 16,-7 1-284-16,2 4-660 15,-4-4-362-15,-9-1-325 16,-5 3-337 0,9 0 6-16,-22-3 54 15,1-1 146-15,14 6-68 16,-14-5 231-16,15 3-191 15,-4 2-140-15,-4-2 66 16,3-2-128-16,-6 6-42 16,-1 0 89-16,2-2-285 15,-5 4-36-15,-13 0 141 16,20-2 74 0,3 2-90-16,-11 0 57 15,4-2-133-15,9 4 36 16,-16-2-128-16,9 1-5 15,4 1 286-15,-11 4-97 16,1-2-86-16,-6 7 168 16,10 0-313-16,7 0 89 15,-15 8-77-15,6-5-2 16,1 8 169-16,12-3-156 16,-16 0 94-1,15 1-10-15,-6 1 61 16,-6 0 107-16,5-2 94 15,3 5-195-15,3-1-68 16,-3-2-44-16,4 7-203 16,-5 6 265-16,-7 2-78 15,11 7-48-15,7-5 50 16,11 2 56-16,-13 2-254 16,9 1 210-1,20-5 8-15,-10 7-101 16,4 3-37-16,-1 6-117 15,3-3-21-15,-4 1 119 16,14-3 146-16,4-8-360 16,6-1-43-16,4-2 197 15,11-4-78-15,4 2-54 16,6-6 192 0,0-9 25-16,9 5 151 15,19 1-50-15,-9-3 82 16,7 1-50-16,-13-3 21 15,19 5 31-15,2 3 73 16,-1-4-187-16,9 1-2 16,5-2 198-16,-17-1-92 15,8-5 38-15,17 1 215 16,-15 1-334-16,18-4-63 16,-7-7 117-1,3 6 168-15,2-8-125 16,-2-6 202-16,2 3-242 15,16-7-10-15,-11 2 85 16,3-2 161-16,8 2-129 16,-10 0-290-16,-2-2 26 15,-7 0 319-15,21-2 19 16,-6 0-74 0,2 0-41-16,-6-5 121 15,4 3 17-15,0-2 48 16,4 2-52-16,-8-5-43 15,8 7-51-15,-16-7-23 16,7 5 157-16,-5-4-180 16,0-1-53-16,3-8-16 15,1-2-5-15,0-13-1 16,4-1-1-16,-8-2 0 16,-6-2 0-1,10-2 0-15,-11-3 0 16,-3 0 0-16,-9 0 0 15,-11 1 0-15,-15-5 0 16,13-1 0-16,-13 0 0 16,-11-6 0-16,-4-1 0 15,-14 3 0-15,-5-6 0 16,-11-7 0-16,3 3 0 16,-20-7 0-1,1 0 0-15,-11 2 0 16,4 5 0-16,4-4 0 15,-10 3 0-15,-21 1 0 16,-4 4 0-16,-13 4 0 16,-3 6 0-16,-8 11 0 15,5 1 0-15,-1 11 0 16,-12 0 0-16,0 8 0 16,10 3 0-1,-8 7-617-15,2 1-4266 16,2 8-4537-16</inkml:trace>
  <inkml:trace contextRef="#ctx0" brushRef="#br0" timeOffset="53515.61">12558 4684 2883 0,'-6'-19'1765'0,"1"-23"-1052"16,-14-45-643 0,17 49-911-1,6 8 279-15,-6 0 602 0,-11 5 633 16,1 8 195 0,-1 5-278-16,-6 1 1031 15,4 6 667-15,4 3-504 16,3 0-410-16,4 2-666 15,4 2-234-15,2 9 82 16,2 8-39-16,11 9 138 16,-4 8 134-16,-7 4 194 15,0 6-136-15,0 10-289 16,-6 2-189 0,-4 8-128-16,2 4-53 15,-2 2 681-15,3 9 1002 16,6-3-602-16,-8 15-23 15,3-13-314-15,-1 22-312 16,1-9 322-16,-10 11 37 16,1-9-373-16,13 9 174 15,-4 2-334-15,-4 0-90 16,-4 12 266-16,1-10 5 16,0 10-482-16,-5-1 35 15,4-13-88 1,-6-5-91-16,8-6 23 15,2-6-18-15,1-21-25 16,1-14-49-16,0-3 25 16,4-19 82-16,-2-7-57 15,-1-12 69-15,3-9-236 16,0 0-158 0,5-4 163-16,8-28 620 15,7-25-224-15,8-21-138 16,0-17-490-16,-11-5 64 15,8 1-445-15,-2-19 330 16,-6 4 440-16,-6-9 711 16,-1-2 40-1,3 7-239-15,-9-9-362 16,13-125-88 0,-10 125-37-16,-7 2-1 15,8 5-1-15,-8 1 0 16,10 3 0-16,-4 0-118 15,6 12 87-15,-2 7-46 16,11 4-13-16,-10 13 65 16,4 4-27-16,-3 18-46 15,-6 8 25-15,4 18-536 16,-4 15-51-16,-6 9-178 16,0 2-620-1,0 8-239-15,-2 38 632 16,-16 20 644-16,2 25 242 15,-6 3 359 1,14 15-127-16,-7 11 175 0,7 4-73 16,-3 12-42-16,8 9 62 15,-7 9-109-15,6 14-152 16,-8-3 194-16,-4 4-237 16,2-2 203-1,-13-2 93-15,-5-5-132 16,-7-24-76-16,10-14-3229 15,8-18-3733-15</inkml:trace>
  <inkml:trace contextRef="#ctx0" brushRef="#br0" timeOffset="60376.22">31053 7550 3427 0,'0'0'8963'16,"0"0"-2503"-16,-8 2-2053 16,-1 0-1843-1,-14 13-1199-15,-7 2-1902 16,5 6-498-16,4 13-682 15,4 4 14-15,4 9 760 16,2 2 630-16,5 10 362 16,6 0 617-16,4 3 730 15,9 6 102-15,8-3 445 16,5 3-218 0,7-4-416-16,14-4-141 15,-15-7-157-15,2-11-326 16,10-4-438-16,9-6-160 15,2-9-58-15,-3-12-19 16,8-13-6-16,1-14-3 16,-10-12 0-16,-2-12-1 15,2-19 0-15,-13-3 0 16,-9-5 0-16,-9-7-22 16,1-6-494-16,-5-5-494 15,-4 2 172 1,-21 1 269-16,-2 6 356 15,-5 2 298-15,-12 7-14 16,-23 3 129-16,7 7-97 16,-11 0-178-16,-9 13 315 15,-10 8 59-15,-2 7-208 16,-13 5-268 0,0 14-119-16,-6 6-896 15,23-3-1735-15,-2 20-4125 16,0 7-3566-16</inkml:trace>
  <inkml:trace contextRef="#ctx0" brushRef="#br0" timeOffset="61127.35">31267 8504 10570 0,'0'0'2792'0,"0"0"535"15,0 0-390-15,2 0-919 16,-2 0-586-16,0 0-392 16,2 0-52-16,-2 7-391 15,-4 10-571-15,2 16-430 16,4 2-614-16,-2 15 83 16,0 5 1273-1,2 11 763-15,-2 2 579 16,7 8 606-16,1-11-308 15,0-5-671-15,-8 1-845 16,4-14-310-16,2-3-95 16,2-8-36-16,-4-2-12 15,0-6-6-15,-2-11-1 16,-2-9-177 0,0-6-1506-16,0 0-987 15,0-4-2842-15,-6-32-3188 16</inkml:trace>
  <inkml:trace contextRef="#ctx0" brushRef="#br0" timeOffset="61603.54">31296 9268 5541 0,'0'-1'3391'0,"-4"-12"1289"15,-6-15 599-15,-9-4-1840 16,-13-8-1805-16,-10-4-944 16,6 8-322-1,1-5 92-15,-11 1 226 16,-19-10 385-16,5-3-505 15,-1 2-237-15,-7-9-223 16,7 2 237-16,-2-4-329 16,-6 0-237-16,13-1-200 15,-46-45-1657 1,62 53-1152 0,8 4-1916-16,12 11-2749 15</inkml:trace>
  <inkml:trace contextRef="#ctx0" brushRef="#br0" timeOffset="62200.18">31366 9292 24343 0,'7'2'2368'0,"11"-2"-112"15,14-11-684-15,5-12-933 16,3-13-424-16,13-8-88 16,-3-5-64-16,-5-4-193 15,10-4 219-15,8-7-492 16,-6 1 17-16,1-3 181 16,7 1 303-1,-2 3-25-15,4 5 625 16,-9 4 77-16,-9 2-387 15,0 3-263-15,-5 7-84 16,-2 5-28-16,-12 5-86 16,-6 10-1970-16,-7 6-1244 15,-7 6-2835-15,-6 5-1501 16</inkml:trace>
  <inkml:trace contextRef="#ctx0" brushRef="#br0" timeOffset="63221.25">31271 9279 16239 0,'0'0'3670'16,"2"0"-80"-16,1 0-1620 15,-1 0-1376-15,-2 0-726 16,-2 9-956-16,-14 18-1318 16,-15 3 1550-16,-7 8 1349 15,-55 72 724 1,40-45-548-16,-9 12-208 16,7 1 240-16,3 5 53 15,-53 96 847 1,52-90-876-1,-1-2-130-15,3 0-87 16,7-7-118-16,-9 5 23 16,1-13 38-16,15-2-585 15,11-15-199-15,8-8 303 16,-17 7-548 0,31-47 121-1,4-3-938-15,0-4 281 16,4-11 120-16,13-25 635 15,3-12 346-15,15-22 73 16,14-8 188-16,-2-7 146 16,6 1-74-16,12-16-38 15,-1 0-138-15,-7 3-202 16,6 0 66 0,1-1 304-16,-3 18 22 0,3-5 668 15,-7 16-147 1,-13 13-101-16,-6 1 86 15,9 15 47 1,-9 19-135-16,-15 2-485 0,-4 11-156 16,-2 14-739-16,5 17-1505 15,9 45-260-15,-5 17 1019 16,-12 12 361-16,-1 0 497 16,2 24 822-1,4 6 1102-15,4-4 1605 16,0 12-386-16,3 2-2008 15,6-5-476-15,6-16-110 16,-3 1-25-16,-7-20-6 16,8-6-1-16,5-27-1 15,-8-14 0-15,-5-16-774 16,-9-19-6025 0</inkml:trace>
  <inkml:trace contextRef="#ctx0" brushRef="#br0" timeOffset="210014.37">1469 9950 17937 0,'-2'0'1198'0,"-5"4"1392"16,0 5-1016-16,-5-3-1291 15,-3 3-2307 1,7-1-700-16,-1 3 923 16,3-3 848-16,1-2 412 15,5 1 368-15,9-1 1049 16,10-1 1618-16,2-1 173 15,5-8-425-15,16 1-718 16,-1-1-534-16,-3 0-195 16,2-3-327-16,-30 7-323 15,25-1-10-15,4-2-133 0,5 6 19 16,3-2 27-16,4 2 72 16,-4-6-97-1,-1-3 281-15,5-5 383 16,0 5-110-16,1-2-37 15,-3-5-108-15,7 4 441 16,5 1-393-16,-6 0 53 16,7 1-255-16,-6 1-183 15,-5 4-62-15,10 2-21 16,-1 2-7-16,-1-4-4 16,5 4 0-1,7-6-1-15,-18 1 0 16,9 3 0-16,7-4 0 15,-11-2 0-15,7 4 0 16,6-4 0-16,2 1 0 16,10-1 0-16,-23 4 0 15,-2 0 0-15,15-2 0 16,-8-3 0 0,3 3 0-16,3-1 0 15,-2 1 0-15,2 3 0 16,-9 1 0-16,-1-5 0 15,7 5 0-15,-9-2 0 16,2 2 0-16,5-2 0 16,-9-2 0-16,5 4 0 15,-3-2 0-15,-4 2 0 16,7-3 0-16,-1 6 0 16,-2-1 0-1,-3 0 0-15,5-4 0 16,-3 0 0-16,-4 4 0 15,15 2 0-15,-8-4 0 16,-1 2 0-16,-5 2 0 16,6 0 0-16,5 3 0 15,-3-1 0-15,-9 1 0 16,-5 5 0 0,14-1 0-16,-6 2 0 15,-13-5 0-15,8 0 0 16,7-8-4528-16,-1-6-6925 15</inkml:trace>
  <inkml:trace contextRef="#ctx0" brushRef="#br0" timeOffset="212315.67">9019 9861 27322 0,'0'0'1246'0,"0"0"-163"15,0 0-1048-15,0 0-483 16,0 0-581-16,2 0-46 15,4 0 309-15,9 0 209 16,-4 3 731-16,-1-3 349 16,21 0 782-16,14 0 76 15,6-7-115-15,2 1 36 16,6-3-644 0,7 1-428-16,8-1-150 15,2 3-55-15,-6-1-17 16,8 6-5-16,9-4-2 15,-9 7-1-15,-3 1 0 16,1-3 0-16,11 1 0 16,0 2 0-16,-6-1 0 15,0 0 0-15,8-2 0 16,-2 6 0 0,2 1 0-16,-5-1 0 15,9 5 0-15,-6-3 0 16,0 3 0-16,2-1 0 15,4-1 0-15,-4-5 0 16,8 0 0-16,-3 0 0 16,-1 3 0-16,2-3 0 15,8 0 0-15,-12-1 0 16,5 1 0 0,4-3 0-16,-7 8 0 15,0-3 0-15,2 3 0 16,-8-3 0-16,6 3 0 15,8-1 0-15,6-2 0 16,0 1 0-16,-7-1 0 16,-3 0 0-16,-6-3 0 15,11 3 0-15,6-4 0 16,2 3 0 0,4-4 0-16,-10 4 0 15,-1 3 0-15,-12-1 0 16,16-1 0-16,-6 4 0 15,-8-5 0-15,4-1 0 16,3 2 0-16,4-4 0 16,-3-2 0-16,14-4 0 15,-10 4 0 1,-3 0 0-16,4 0 0 16,-3 2 0-16,10 0 0 15,-16 1 0-15,12 1 0 16,-8-4 0-16,-4 8 0 15,6-8 0-15,6 3 0 16,0-3 0-16,-14 0 0 16,8 5 0-16,-6-5 0 15,4 7 0-15,4-7 0 16,-4 2 0 0,0 2 0-16,-2 1 0 15,8-1 0-15,-16-4 0 16,-6 4 0-16,8-4 0 15,10 2 0-15,-3-4 0 16,-3 4 0-16,-8-4 0 16,8 6 0-16,5-4 0 15,-2 0 0-15,-7 5 0 16,-6-3 0 0,8 0 0-16,4 2 0 15,-4 1 0-15,0-4 0 16,-4 2 0-16,10-2 0 15,2-1 0-15,-8 3 0 16,11-6 0-16,-10 3 0 16,3 0 0-16,6-4 0 15,-5 3 0-15,0-2 0 16,-1-1 0-16,9 0 0 16,-8 2 0-1,1-1 0-15,-4-1 0 16,14 4 0-16,-10-4 0 15,-4 0 0-15,10 2 0 16,-6-3 0-16,2 5 0 16,-3-6 0-16,10 8 0 15,-9-6 0-15,6-1 0 16,-4 4 0 0,-8-3 0-16,12 1 0 15,-8-3 0-15,10 4 0 16,-2 4 0-16,-4-2 0 15,2-2 0-15,-10-2 0 16,8 1 0-16,-2-1 0 16,22 0 0-16,-8 4 0 15,-16 0 0-15,7 0 0 16,2 2 0 0,0-2 0-16,-8 2 0 15,7 2 0-15,-3 1 0 16,-4-3 0-16,12-4 0 15,-19 4 0-15,13 2 0 16,-2-4 0-16,-3-2 0 16,-4 2 0-16,5 6 0 15,-2-8 0 1,-3 0 0-16,2 4 0 16,-9-4 0-16,15 4 0 15,-8 0 0-15,12 1 0 16,-4-3 0-16,-5 5 0 15,-1 2 0-15,-10-7 0 16,7 5 0-16,5-4 0 16,2 4 0-16,-12-10 0 15,16 12 0-15,7-5 0 16,2 6 0-16,-12-3 0 16,6-1 0-1,8 2 0-15,-11 1 0 16,2-6 0-16,6 4 0 15,-12-3 0-15,16-2 0 16,-2 0 0-16,1 0 0 16,1 4 0-16,-1-4 0 15,2 2 0-15,1 5 0 16,-6-1 0-16,8-2 0 16,-102-4 0-1,80 6 0-15,5-1 0 0,8 1 0 16,-12-1 0-16,-4 1 0 15,1-2 0-15,2 0 0 16,8 1 0-16,-14-5 0 16,74 1 0-1,-86 6 0-15,4-3 0 16,-16-2 0 0,8 2 0-16,-9 5 0 15,-20 0 0-15,13-7 0 16,-12 2 0-16,-19 0 0 15,-10-2 0-15,-1 0 0 16,-5-2 0-16,-7 0 0 16,-2-2-3096-16,-3 2-5709 15</inkml:trace>
  <inkml:trace contextRef="#ctx0" brushRef="#br0" timeOffset="-199409.87">11438 10488 28955 0,'0'0'1359'0,"-5"-2"-441"16,-1-1-286-16,-8-3-754 15,-18-4-1042 1,-9 1 133-16,1-6 113 0,13 9 425 16,-1-5 378-16,-10-1 347 15,-11-1 352 1,7 5 326-16,2-1-96 16,-11 1-151-16,-2-3 33 15,3 0-160-15,-9 5-334 16,-1-2-131-16,5-1-47 15,-6 1-15-15,-13-1-5 16,5 0-3-16,0 5-1 16,-9-4 0-16,3 4 0 15,2 2 0-15,3 0 0 16,-17-1 0 0,12-1 0-16,0 2 0 15,0-2 0-15,-5 4 0 16,-9-4 0-16,24 0 0 15,-12 4 0-15,9-7 0 16,-3 5 0-16,-6-2 0 16,16 2 0-1,-9 4 0-15,-2-2 0 0,4-2 0 16,-10 2 0 0,19 0 0-16,-9 0 0 15,-6 0 0-15,17 2 0 16,-13 4 0-16,8 1 0 15,5-1 0-15,-19 0 0 16,5-4 0-16,7 1 0 16,-2 1 0-16,9-2 0 15,2 4 0-15,-10-2 0 16,7 0 0 0,-5 5 0-16,-10-1 0 15,10 3 0-15,2 0 0 16,-3-5 0-16,10 1 0 15,-6 1 0-15,-6 0 0 16,12 1 0-16,3 1 0 16,-15-1 0-16,9 1 0 15,8 1 0-15,-15 0 0 16,5-1 0 0,9 5 0-16,-7 0 0 15,7-2 0-15,4 4 0 16,-7-1 0-16,0 8 0 15,7 1 0-15,6 0 0 16,-3 14 0-16,1-8 0 16,-1 3 0-16,7 15 0 15,5-2 0-15,-1 10 0 16,2 6 0 0,-14 9 0-16,1-2 0 15,15 8 0 1,4-4 0-16,3 9 0 0,-3-3 0 15,4 1 0-15,0-3 0 16,3 0 0-16,2 7 0 16,0-2 0-1,3 14 0-15,4 7 0 16,-1-5 0-16,0 5 0 16,1-11 0-16,4 15 0 15,6-13 0-15,0 9 0 16,-4-5 0-16,6 5 0 15,-4 6 0-15,4-6 0 16,-2 6 0-16,-4-8 0 16,2 3 0-16,0-5 0 15,4 2 0-15,-6 3 0 16,2-10 0-16,6 13 0 16,-6-6 0-1,0 6 0-15,-6-2 0 16,8 12 0-16,0-3 0 15,0-96 0-15,-2 63 0 0,0 22 0 16,7-9 0-16,-4 11 0 16,1-13 0-16,-2 11 0 15,6 0 0 1,-6-3 0-16,7 5 0 16,-1-9 0-16,0-1 0 15,3-8 0-15,4 8 0 16,-7-1 0-16,6-2 0 15,-4 3 0-15,2 7 0 16,-3 1 0-16,-5-3 0 16,9 1 0-16,-7-9 0 15,3 1 0-15,5-14 0 16,0-2 0 0,-8 3 0-16,6 3 0 15,-6 1 0-15,1-4 0 16,2 3 0-16,-1-14 0 15,3-1 0-15,-3-1 0 16,-4-6 0-16,2 5 0 16,10 65 0-1,-8-60 0 1,-2-7 0-16,-4-1 0 16,2-3 0-16,-2 5 0 15,7-13 0-15,2-7 0 16,-3-1 0-16,1-9 0 15,-7-5 0-15,2 1 0 16,11 4 0-16,-6-11 0 16,7 5 0-16,6-2 0 15,7 2 0-15,1-1 0 16,6-1 0 0,-7-3 0-16,1-8 0 15,14-4 0-15,3-1 0 16,-11-6 0-16,0 1 0 15,15-1 0-15,-7 1 0 16,5 1 0-16,-11 0 0 16,15 3 0-16,-9 0 0 15,1-3 0 1,5 3 0-16,16-3 0 0,-11 3 0 16,-13-1 0-1,19 3 0-15,1 2 0 16,-13 0 0-16,14 0 0 15,-1-1 0-15,-3 1 0 16,4 2 0-16,3 0 0 16,-3-2 0-16,-7-3 0 15,15 4 0-15,-4-6 0 16,0 1 0-16,-3-1 0 16,11-4 0-1,10 5 0-15,-23-7 0 16,3 3 0-16,10 1 0 15,-3-3 0-15,8 5 0 16,-16-3 0-16,12-14 0 16,4 5 0-16,4-6 0 15,3 5 0 1,-16-12 0-16,15-2 0 0,-21 3 0 16,8-1 0-1,3 2 0-15,0 2 0 16,-2 3 0-16,-11 0 0 15,20 1 0-15,-7-1 0 16,-1 2 0-16,-6-3 0 16,-5 3 0-16,12-3 0 15,-10 5 0-15,6 2 0 16,15-4 0 0,-30 3 0-16,12-11 0 15,3 1 0-15,-25-2 0 16,8-8 0-16,7 4 0 15,-14-2 0-15,-3-3 0 16,1-3 0-16,1 4 0 16,-5-7 0-16,2-6 0 15,-7 2 0-15,13-4 0 16,-9-2 0-16,-15-15 0 16,-2 6 0-1,-3-6 0-15,-1-8 0 16,6-1 0-16,0 0 0 15,-2-5 0-15,-9 7 0 16,-1 3 0-16,12-11 0 16,-12 13 0-16,4-6 0 15,3-5 0-15,2 2 0 16,-8-6 0 15,1-86 0-31,-7 69 0 0,-2 1 0 16,1-11 0-16,-4 12 0 15,7-3 0-15,-1 9 0 16,3-8 0-16,-4 11 0 16,-3-11 0-1,-2 0 0-15,4-13 0 0,-8 5 0 16,-4-15 0-16,4 0 0 16,2 8 0-1,-6-8 0-15,2-1 0 16,4-5 0-16,-4-3 0 15,10 12 0-15,-6-12 0 16,-2-2 0-16,0 4 0 16,6-10 0-1,0-2 0-15,-4 4 0 0,0-8 0 16,0-5 0 0,2 2 0-16,0-2 0 15,-4 5 0-15,2-7 0 16,0 1 0-16,-2 3 0 15,0 9 0-15,-4-11 0 16,0 3 0-16,4 5 0 16,-4 14 0-16,2-7 0 15,0-4 0-15,-10 10 0 16,2-8 0-16,8 15 0 16,-4 2 0-1,-7 0 0-15,-4 6 0 16,13-2 0-16,-1 5 0 15,-5 3 0-15,-2-3 0 16,-2 16 0-16,6-4 0 16,-2 1 0-16,-8-4 0 15,-3 6 0-15,3 3 0 16,2 7 0 0,6 0 0-16,2 4 0 15,-5 2 0-15,4 15 0 16,-1-1 0-16,-1 8 0 15,3 3 0-15,-1 9 0 16,-2 0 0-16,-1 13 0 16,6 4 0-16,0 2 0 15,-4 3 0-15,6 3-2886 16,-4-2-7937 0</inkml:trace>
  <inkml:trace contextRef="#ctx0" brushRef="#br0" timeOffset="-198025.33">10441 11434 24567 0,'2'-4'920'16,"-2"-11"435"-16,0 4 548 16,2 3-201-16,-2-3-668 15,-21 3-109 1,-8 10-724-16,-6 19-106 15,-5 7-215-15,4 4-542 16,7-1 146-16,11-5 346 16,14-6 969-16,20 0-400 15,19-4-200 1,15-11-114-16,19-10-51 16,1-11-22-16,-15-8-9 15,0-8-2-15,-13-1 0 16,-16 5-1-16,-14 3 0 15,-12-7 0-15,-16 0 0 16,-27 0 0-16,-3 14 0 16,-3 13 0-16,0 10 0 15,2 7 0-15,7 3 0 16,17 4 0-16,9 5 0 16,6 1 0-1,6 2 0-15,12 10 0 16,6-8 0-16,5-6 0 15,9-6 0-15,0-2 0 16,-10-9 0-16,2-3 0 16,-9-6 0-16,3-11 0 15,2-16 0-15,-6-15 0 16,-4 7 0 0,-6 11 0-16,-4 8 0 15,0 6 0-15,-4 4 0 16,4 9 0-16,-12 7 0 15,-6 12 0-15,7 4 0 16,9 5 0-16,11-5 0 16,7 2 0-16,-1-9 0 15,8-6 0 1,9-8 0-16,-9-10 0 16,-8-32-15981-16</inkml:trace>
  <inkml:trace contextRef="#ctx0" brushRef="#br0" timeOffset="-196418.3">10631 12973 11018 0,'0'0'1929'0,"0"0"3758"31,0 0-3246-31,0 0-280 16,0 0-544-16,0-7 701 15,0 5-1952 1,-2 0-862-16,-8-4-742 16,-7 6-2360-16,-7 10 217 15,-5 16 1665 1,4 8 2465-16,10-3 1768 0,6 1 743 16,11 0 19-1,9-7-55-15,6-2-1764 16,11-3-785-16,18-4-368 15,-3-9-192-15,-6-9-72 16,-7-7-26-16,4-5-9 16,-2-10-5-16,-17 1-2 15,-11-11 0-15,-17-4-504 16,-17 0-1145-16,0 12 74 16,-3 9 364-1,-13 13-97 1,3 0 937-16,5 11 0 0,12 3 387 15,10 5 383-15,1 6 967 16,6 4 1392-16,11 3-1423 16,11 2-707-16,8-9-361 15,17-9-145-15,15-7-70 16,-13-10-35-16,-14-5-12 16,-3-9-2-1,9-9-3-15,2-4 0 16,-13-1-1-16,-15 7 0 15,-8 7 0-15,-17 0 0 16,-17 13 0-16,-23 27 0 16,-15 28 0-16,6 8 0 15,17-2-1421-15,13-2-9563 16</inkml:trace>
  <inkml:trace contextRef="#ctx0" brushRef="#br0" timeOffset="-194775.79">10585 14264 14478 0,'0'0'2658'16,"0"0"677"-16,0 0-791 15,0 0-567-15,-4-2-213 16,-5-2-595-16,5 4-460 15,-2-3-176-15,0 6-317 16,-6-2-23-16,2 8-125 16,2 2 488-16,-5 5-33 15,0 4 111-15,1 1-98 16,-1 8-42-16,0-3-285 16,6-7-122-1,5 0-669-15,4 0 128 16,10-4-97-16,11-2 225 15,5-12 631-15,16-7 401 16,15-13-56-16,-8 0-436 16,-13-2-139-16,-2 0-47 15,0 0-17-15,-15 4-6 16,-11 6-4 0,-1 1 0-16,-11-3 0 15,-28-8-1-15,-4 6 0 16,9 9 0-16,-2 8 0 15,-5 4 0-15,7-2 0 16,-9 18 0 0,27-12 0-16,5 9 0 15,6 0 0-15,17 9-2122 16,-3-24-5718 0</inkml:trace>
  <inkml:trace contextRef="#ctx0" brushRef="#br0" timeOffset="-191226.19">10598 15898 7655 0,'0'0'5112'0,"0"0"-784"0,0 0-598 16,0 0-984-16,0 0-730 15,0-2-638-15,-5 4-279 16,-7 11-640-16,-3 8-277 16,3 9-149-1,-2-3 145-15,4-4 120 16,8-8-269-16,6-2 92 15,4-2 65-15,10-3 367 16,11-2-115-16,3-3-101 16,0-3 74-16,-9-9 148 15,0-4-185 1,-4-10-374-16,-9 2-118 16,-2 6-396-16,-4 4-116 15,-2 5 289-15,-6-1 383 16,2 3-21-16,-16 2-450 0,-14 13 178 15,-17 16 73-15,12 5 115 16,13-3 400-16,12-5 869 16,6 1-415-16,8-1-432 15,6 3-186-15,9-2-94 16,8-8-45 0,6-4-18-16,-1-9-10 15,-6-6-3 1,-7-8-2-16,-5-1-1 0,-6-8-1634 15,-16-9-5804-15</inkml:trace>
  <inkml:trace contextRef="#ctx0" brushRef="#br0" timeOffset="-181834.21">11455 10545 14606 0,'0'0'1641'15,"0"0"-341"-15,2 0 554 16,0 2-921-16,2-2-684 15,4-8-1676 1,-5-1 307-16,-6-8 122 16,-7-2 101-16,-4 4 865 15,-14 3 788-15,-15 7 969 16,-3-1-280 0,6 0 354-16,-72-3 1164 15,52-3-2172 1,-9 3-250-16,-4 0-209 15,-7-1-268-15,-7-3 1 16,6-4-24-16,0 11 61 16,4-5-72-16,5 3-42 15,-9-7 119-15,8 5-250 16,-6-3 120 0,-7 0 218-16,-1-1-92 15,14 5 252-15,-93-12 1037 16,85 12-710-1,3 1-27-15,11-1 225 16,-14-4-467-16,7 3 19 16,1 0-210-16,4-1-129 15,3 5-21-15,-14-5 219 16,8-4-94 0,-3 13-134-16,2-2-42 15,3 1-15-15,0 2-4 16,4-3-1-16,10 1-1 15,-9-3 0-15,7-1 0 16,5 5 0-16,-11-4 0 16,-1 0 0-16,-10 4 0 15,3-2 0-15,21-1 0 16,-4 7 0-16,-6 2 0 16,12-1 0-1,-4-1 0-15,-12 2 0 16,5-2 0-16,21 0 0 15,-11 7 0-15,-11-3 0 16,4 2 0-16,-5 3 0 16,6-2 0-16,7-1 0 15,0 3 0-15,-3-3 0 16,1 2 0 0,11-1 0-16,4 0 0 15,-9-1 0-15,-6 1 0 16,11-3 0-16,4 4 0 15,8-3 0-15,-8-1 0 16,-1-2 0-16,5 5 0 16,8-7 0-16,7 4 0 15,-6 5 0-15,0 4 0 16,-7 4 0 0,-6 0 0-16,-2 10 0 15,11 3 0-15,5-2 0 16,7 6 0-16,1 6 0 15,6 7 0-15,3 2 0 16,-4 2 0 0,-1 6 0-16,2 8 0 0,-3 10 0 15,-8-3 0 1,-2 9 0-16,5-3 0 16,6 0 0-16,4 7 0 15,-6 2 0-15,-6 4 0 16,12-6 0-16,4 10 0 15,-5-4 0-15,-3 7 0 16,4-5 0-16,4 6 0 16,-10-3 0-16,0 6 0 15,2-7 0-15,-3-1 0 16,2 9 0 0,3-8 0-16,2 3 0 15,-3-5 0-15,1 15 0 16,-8-6 0-16,6 15 0 15,6 5 0-15,-4-16 0 16,-8 13 0-16,8 2 0 16,2-7 0-16,-9 3 0 15,4-1 0-15,1-1 0 16,-5 14 0-16,1-11 0 16,-10 3 0-1,5 4 0-15,2 7 0 16,4-9 0-16,3 6 0 15,8-6 0-15,0-6 0 16,-3 1 0-16,10 1 0 16,-3 1 0-16,-6-3 0 15,6 1 0-15,-9-3 0 16,5 1 0-16,6-1 0 16,-4-16 0-1,3 5 0-15,9 94 0 16,1-106 0-1,-5 10 0-15,-2-7 0 16,1 3 0-16,4-5 0 16,-16-6 0-16,10-6 0 15,-5-1 0-15,4-7 0 16,-6-6 0-16,8-5 0 16,2-9 0-1,5 0 0-15,-2-9 0 16,3-3 0-16,-7-16 0 15,1 1 0-15,-4-5 0 16,1-8-362-16,-1-4-536 16,2-3 236-16,-1-2 418 15,9-2-67 1,8-8 165-16,16-9 31 16,-1 1 317-16,-1 10-236 15,-1-3 148-15,1 5-139 16,16 3 136-16,-1 5 737 15,9 0 143-15,15 1-627 16,-15-1-255-16,-3 12-71 16,22-1-24-16,-12 0-10 15,5-2-3-15,5 4 0 16,-10 0-1 0,9 2 0-16,1 5 0 15,7-14 0-15,-4 8 0 16,-5-3 0-16,18 4 0 15,-17-6 0-15,17 4 0 16,-16 2 0-16,7 9 0 16,0-6 0-16,8 3 0 15,-10-1 0-15,3-7 0 16,-3 2 0 0,11-1 0-16,-4-2 0 15,2-9 0-15,0 6 0 16,7-4 0-16,-5-1 0 15,-2-1 0-15,6 2 0 16,1 2 0-16,-10-7 0 16,17 5 0-16,-12-1 0 15,8 1 0 1,-8-5 0-16,16 3 0 16,-12-5 0-16,12-1 0 15,-6-5 0-15,-12 0 0 16,-5-5 0-16,-10-1 0 15,-2 4 0-15,-5-4 0 16,2-3 0-16,-11-1 0 16,-1-3-84-16,-4 0-131 15,1-2-277-15,0-1-365 16,-16-1 147-16,-9 0 178 16,4-2 58-1,-1-3 154-15,-16 4 232 16,8-8 269-16,-9 3 195 15,4-9 49-15,-8-2-12 16,3-15 55-16,0 3-118 16,7-14-145-16,0 6-115 15,0-12-59 1,9-2-108-16,-4-10 142 16,-11 4-2-16,15-104 886 15,-24 78-780 1,10 5-123-16,4-13-33 15,-7 3-9-15,2 1-3 16,2-10-1-16,-9 3 0 16,-4 8 0-1,-6-12 0-15,5-3 0 0,4-9 0 16,-3 4 0-16,-12-8 0 16,14 2 0-1,-2-7 0-15,7 7 0 16,-5-6 0-16,3 2 0 15,-7-12 0-15,1 10 0 16,-3-11 0-16,0-2 0 16,-2-3 0-1,10-1 0-15,0 4 0 16,0 2 0-16,-12-3 0 16,2 6 0-16,8 1 0 15,-4 6 0-15,-4 1 0 16,4 1 0-16,0 1 0 15,2 10 0-15,-6-12 0 16,-2 2 0-16,4-3 0 16,7 11 0-16,-11 0 0 15,-9-10 0-15,9 12 0 16,-2-2 0-16,-6-2 0 16,-6 15 0-1,4-9 0-15,-7 7 0 16,4 6 0-16,0 7 0 15,-3-1 0-15,-12-2 0 16,2 9 0-16,1 4 0 16,-5 8 0-16,10-1 0 15,2 8 0-15,-8 1 0 16,-5 12 0-16,3 6 0 16,8 6 0-1,10 11 0-15,3 10 0 16,5 22 0-16,4-9 0 0,-4 2 0 15,2 4 0-15,-2 3 0 16,4 1 0-16,-2 6 0 16,0-4 0-16,-4 5-504 15,4 0-722-15,-14-4-235 16,-20 8-366-16,-9-8 855 16,3-3 466-1,-17-1 210-15,-30-3 365 16,0 3 110-16,-10-5 638 15,-14 5 76-15,-1 2-396 16,-18-3-99-16,-7 9 142 16,-11-6 9-16,8-2 216 15,3 1 97 1,-8 1 82-16,-1-5-728 16,7-1-168-16,7-12-36 15,11 12-10-15,-12 3-1 16,8-2-1-16,25 3 0 15,-18 12-574-15,24-6-4645 16,6 11-9465-16</inkml:trace>
  <inkml:trace contextRef="#ctx0" brushRef="#br0" timeOffset="-167562.61">10917 17179 6214 0,'0'0'8625'16,"0"10"-609"-16,-2 0-3603 16,0 2-1942-16,-2-2-1129 15,-11 17-104 1,6-10-1009 0,1 2-117-16,-4-4-58 15,5-4-30-15,7-5-12 16,-3-4-6-16,3 0-2 15,8 5-1-15,0 3-1 16,0-1-1-16,-4-5-1 16,1 2 1-16,5 5-1 15,7 4 0-15,4 4 0 16,13 4 0 0,7 11 0-16,-5-2 0 15,2 10 0-15,8 3 0 16,11 3 0-16,-6 7 0 15,-5-2 0-15,19 2 0 16,-7 5 0-16,1-10 0 16,12 7 0-16,-15 7 0 15,-9-7 0-15,-1-2 0 16,-1 6 0 0,-15-12 0-16,0-9 0 15,-16-14 0-15,-10-7 0 16,7-7 0-16,-9-8 0 15,0 1 0-15,-2-5 0 16,0 2 0-16,2-2 0 16,-2 0 0-16,2-2 0 15,3-4 0-15,-5-3 0 16,2-8 0 0,2-6 0-16,-8-3 0 15,4-11 0-15,2-8 0 16,0-6 0-16,-2-8 0 15,9-13 0-15,1-8 0 16,-4-9 0-16,8-4 0 16,-4-20 0-16,0-5 0 15,-1-7 0-15,3 0 0 16,6-21 0-16,4-2 0 16,-6 6 0-1,5-19 0-15,-4 13 0 16,-2 2 0-16,7 12 0 15,-2 14 0-15,-6 1 0 16,2 15 0-16,-4 20 0 16,-1 18 0-16,-3 9 0 15,-6 28 0-15,-2 16 0 16,-2 7 0 0,2 3 0-16,0-1 0 15,0 4 0-15,0 0 0 16,-2 0 0-16,2 0 0 15,-2 19 0-15,4 11 0 16,-6 4 0-16,0-7-1514 16,-3-1-10456-16</inkml:trace>
  <inkml:trace contextRef="#ctx0" brushRef="#br0" timeOffset="-165256.52">11838 18123 12172 0,'0'0'2784'0,"0"4"1181"15,0 0-772-15,0-2-1086 16,-2 0-753-16,2 0-633 15,0-2-379-15,-2 3-198 16,2-3-414-16,0 2-906 16,0-2-310-1,0 0 254-15,-3 0 39 16,3 0 347 0,-2 0 268-16,2 0 219 15,2 0 496-15,3-2 894 16,-3-3 401-16,0 5-158 15,9-4 89-15,1 0-308 16,4 1-27-16,0-1-153 16,1 0 108-16,7-2-3 15,12-3 625 1,-18 7-914 0,4 0-343-16,13 0-160 15,-9 0-115-15,10-4-37 16,0 3-21-16,0-3-8 15,2 0-5 1,51-3 0-16,-61 12-2 16,4-6 0-16,-1 6 0 15,13-10 0-15,-6 9 0 16,-4 4 0-16,-23-3 0 16,17-7 0-16,14 4 0 15,7 0 0-15,-11-3 0 16,-9 6 0-16,-1-8 0 15,12 5 0-15,4 5 0 16,-5-1 0-16,-5-2 0 16,8-4 0-16,-5 4 0 15,4 0 0-15,-7 0 0 16,-6 0 0 0,18 3 0-16,7-4 0 15,-7-2 0-15,-9 2 0 16,5-1 0-16,2 7 0 15,1-3 0-15,-7-2 0 16,-7 2 0-16,25 7 0 16,-40-9 0-1,-3 3-297 1,-5-5-760-16,-3 0-907 16,-3 0-1473-16,-2 0-441 15,0-3-2626 1</inkml:trace>
  <inkml:trace contextRef="#ctx0" brushRef="#br0" timeOffset="-164566.39">13424 17801 19987 0,'-24'32'7990'0,"3"-9"-4975"16,8-8-2442-16,1-3-963 16,5-1-757-16,5 0-522 15,4-3-256-15,5 3-940 16,3-1 317-16,14 3-127 16,-4-5 618-1,12 3 684-15,7-3 381 16,3 3 514-16,11 4 380 15,-11-2 592-15,7 1 334 16,5 1 412-16,-1 9 1264 16,-23-7-1152-16,6 4 1270 15,5-1-692-15,-7-2-484 16,-9 0 137-16,-6 2-345 16,-6-3-388-1,-5-5-389-15,-4-1-208 16,-2-5-295-16,-4 9-262 15,-6 0-117-15,-16 2 257 16,-9-5 217-16,-3 1 619 16,-7 2-218-16,-9-2 341 15,-10 3-242-15,-6-3 134 16,20-6-479-16,-8-1-126 16,5 3-54-1,22-7-18-15,4-2-6 16,12 0-3-16,3 0 0 15,3 2-1-15,3-2 1 16,4 0-1442-16,0 0-1413 16,2-2-2868-16</inkml:trace>
  <inkml:trace contextRef="#ctx0" brushRef="#br0" timeOffset="-160801.29">12619 10411 26265 0,'0'0'55'0,"0"0"-74"15,0-4-42-15,2 2-462 16,0 0-44 0,0-4 37-16,3 2-8 15,5-5 195-15,3 1 212 16,-1 1 219-16,31-5 79 15,-9 5 298 1,2 3 198-16,6-2 24 16,5-5 122-16,16 0 120 15,3 1-288 1,-7-5-219-16,11 4 246 16,9-1-292-16,-6 6-370 15,8-1 351-15,8 1 411 16,0 4-248-16,-7 4-192 15,3 0 132-15,-14 0-89 16,16-2-179-16,2-8-20 16,9 5-122-16,-9-5-36 15,6 1-10-15,6 3-2 16,-1-2-2-16,-16 6 0 16,1 0 0-1,2 0 0-15,6 2 0 31,81-4 0-31,-90 0 0 0,11 0 0 16,-10-1 0-16,-2-1 0 16,2 2 0-16,6-4 0 15,4 6 0-15,-13 0 0 16,5-2 0 0,6 0 0-16,-4 4 0 15,-8 4 0-15,8 1 0 16,-3-1 0-16,1-2 0 15,-12 4 0-15,-2-3 0 16,-7-1 0-16,8 0 0 16,14 3 0-16,-9-3 0 15,0 2 0-15,-23 0 0 16,0 10 0-16,5 0 0 16,-8-1 0-1,-9 4 0-15,7 3 0 16,3 1 0-16,-17 2 0 15,-3-2 0-15,-2 7 0 16,6 2 0-16,7 8 0 16,-12 5 0-16,-7-4 0 15,0 12 0 1,-8 5 0-16,-3 1 0 16,0 2 0-16,2 7 0 15,-3-2 0-15,8 8 0 16,-4 4 0-16,21 96 0 15,-22-90 0 1,-6 14 0-16,-7-11 0 16,4 16 0-16,0-3 0 15,-2 8 0-15,0 2 0 16,2 0 0 0,-4 8 0-16,-4 128 0 15,-6-117 0 1,2 0 0-16,-8-6 0 15,6 10 0-15,4-4 0 16,0-6 0-16,0 8 0 16,4-6 0-16,2-2 0 15,-4 0 0-15,6 1 0 16,-6 4 0 0,0-12 0-16,-8 3 0 15,0-5 0-15,2-2 0 16,-7 6 0-16,4-5 0 15,5 5 0-15,-9 7 0 16,-3-10 0-16,-6 5 0 16,8-1 0-16,-10-9 0 15,-1 6-526-15,3-3-600 16,14-6 411-16,-2 9 356 31,6-3-255-31,2 8 333 0,-8-1 282 16,4-6-72-16,0-1-113 15,0-3-170-15,1-6-180 16,-11 1 293-16,3-7 269 16,2-1 165-16,1-1 343 15,0 7-55-15,2 1-141 16,-6 0 103-16,-1 1 121 16,0-5-20-1,9-5-117-15,-7-11-153 16,3-5 160-16,-1-11-217 15,0-9 104-15,-1 2-188 16,1-14-90-16,0-7-27 16,-5-8-10-16,3-7-4 15,-2-6-1 1,-4-1 0-16,-7-8-195 0,6-4-75 16,-17-6 130-1,-3-4 77-15,-9-7 97 16,1 7-42-16,1-5 122 15,-16-1 229 1,12 2-232-16,-23-3-68 0,8-1-30 16,15 1-10-16,-10 0-2 15,-5-2-1 1,5 1-1-16,1-1 0 0,-5 2 0 16,2 1 0-1,-5-7 0-15,-6 0 0 16,6 2 0-16,-4-4 0 15,7 3 0-15,-7 0 0 16,-9 0 0-16,14-4 0 16,-20 1 0-16,13-2 0 15,-68-21 0 1,80 23 0-16,-7 0 0 16,-6 2 0-1,6 0 0-15,7 2 0 16,1 2 0-16,-3-3 0 15,-9-4 0-15,11 8 0 16,1-7 0-16,2 4 0 16,-5 0 0-16,-8 0 0 15,2 2 0-15,2 5 0 16,-3-5 0-16,-8 3 0 16,-2-3-775-1,12 3-195-15,-3-1 871 16,-13-2-45-16,18 7 447 15,-1-5 821-15,2 5-749 16,7 0-255-16,-16-3-75 16,12 7-31-16,0-9-9 15,-7 5-4-15,9-2 0 16,-12-1-1 0,1 1 0-16,28 3 0 15,-5 1 0-15,-4-5 0 16,5 1 0-16,7-2 0 15,7-5 0-15,5-6 0 16,-5-13 0-16,4-8 0 16,6-7 0-16,8-8 0 15,10-22 0-15,0-1 0 16,1-11 0-16,-1-2 0 16,-2-19 0-1,3 10 0-15,5-12 0 16,0-9 0-16,0 5 0 15,-2-22 0-15,4-4 0 16,9-11 0-16,2-6 0 16,-3 5 0-16,3-7 0 15,-4-7 0-15,-7 3 0 16,0-9 0-16,2 16 0 16,-8-5 0-1,0 1 0-15,-8 8 0 16,2-3 0-16,4 5 0 15,6 1 0-15,0-3 0 16,-4 8 0-16,-1 8 0 16,5 0 0-16,3 5 0 15,-6-11 0 1,-9 8 0-16,1 1 0 16,-4 5 0-16,-1-3 0 15,-2 1 0-15,4 5 0 16,1 6 0-16,6-3 0 15,5 1 0-15,2 104 0 16,5-75 0-16,8-14 0 0,1-4 0 16,-8 3 0-16,-4 8 0 15,5-3 0-15,-2 9 0 16,-3 3 0-16,-2 8 0 16,-2 6 0-1,-3-5 0-15,-4 17 0 16,-1-4 0-16,2 11 0 15,1 6 0-15,1 2 0 16,-3 0-326-16,1 12-1951 16,3 5-675-16,1 9-2396 15,2 6-2418-15</inkml:trace>
  <inkml:trace contextRef="#ctx0" brushRef="#br0" timeOffset="-160085.48">13572 11525 30012 0,'0'0'835'16,"0"0"-204"-16,0 0-161 16,-9 0-960-16,-8 2-1501 15,-4-2 37-15,-7 9 384 16,8-3 164 0,4 5 420-16,4 5 397 15,1 4 490-15,1 1 119 16,3-6-352-16,3-5-535 15,0-3 366-15,6-6 1007 16,9-2 1197-16,20-19-589 16,9-20-1611-16,1-6-354 15,-5 3 1650-15,-20 10 992 16,-10 13 773 0,-3 5-425-16,-16-2-936 15,-21 9-548-15,-15 15-371 16,11 11-178-16,3 12-64 15,5 2-2184-15,14-7-2167 16,8 3-2591-16</inkml:trace>
  <inkml:trace contextRef="#ctx0" brushRef="#br0" timeOffset="-159467.35">13561 12941 26777 0,'0'0'1661'16,"-2"0"-187"-16,2 2-455 16,0-2-374-16,-2 2-837 15,2-2-337-15,0 0-45 16,0 0-166 0,0 0-137-16,0 0 112 15,0 0 47-15,0 0-117 16,4 0 265-16,13-8 446 15,-5-7 504-15,4 0 821 16,-4 2 407-16,-6 5 148 16,-1 4-901-16,-3 0-356 15,-11-3 31 1,-23 14-366 0,-10 7-89-16,7 10-47 15,5-1-17-15,4-2-6 16,16-2-4-16,3-2-1438 15,3 2-1809-15,8-4-4978 16</inkml:trace>
  <inkml:trace contextRef="#ctx0" brushRef="#br0" timeOffset="-158899.61">13584 14359 23446 0,'0'0'2745'15,"-2"0"-439"-15,2 0-920 16,0 0-418-16,-2 0-220 16,-15-2-180-16,-10 2-1384 15,1 11-741-15,3 12 442 16,1 13 1166 0,4 6 1131-16,11-12 433 15,20-7-938-15,13-4-361 16,20-15-163-16,3-16-93 15,-9-12-39-15,-2-5-13 16,3-7-5 0,-21 8-2-16,-9 18 0 0,-5-1-1 15,-17 0 0-15,-15 7-2836 16,-11 15-3400 0,1 10-3606-16</inkml:trace>
  <inkml:trace contextRef="#ctx0" brushRef="#br0" timeOffset="-158294.23">13592 15963 20499 0,'0'0'4468'0,"-4"3"-1588"15,2-1-1047-15,0-2-718 16,-44 25 426 0,7 3-1274-16,12 6-166 15,16 8-63-15,9-4-23 16,2-4-9-16,9-13-4 16,24-6-1-1,14-11 0-15,-1-16-1 16,-11-14 0-16,-6-8 0 15,-4-4 0-15,-5 2 0 16,-14-11 0-16,-6 14 0 16,-6-1-4146-1,-14 4-8246 1</inkml:trace>
  <inkml:trace contextRef="#ctx0" brushRef="#br0" timeOffset="-142582.93">11213 10467 23478 0,'0'0'839'0,"0"0"-91"0,-4-2-77 16,-2-5-136-16,-9-4-522 16,-4 1-509-1,-8-7-304-15,-1 4-384 16,1 3-494-16,-5 1 312 15,-21 1 483-15,-15 4 657 16,-8 4 149-16,0 0 141 16,-11 0-22-16,7-5-29 15,7 1 229-15,-9 0 553 16,-7-5 448-16,2 1 126 16,14-3-705-1,-6 5-14-15,-8-5-82 16,9 5-269-16,-1-1-340 15,-3 2 207-15,0-6-160 16,7 0 105-16,-1 1-229 16,-2-1 36-16,4-6 79 15,-5 2 90 1,3 2 161-16,-4 5 28 0,2 4 30 16,-7 8-209-1,2-2-202-15,-1 7 118 16,-3-1-10-16,8 3 43 15,2-5 12-15,0 3 289 16,-6-9-281-16,-1 8-45 16,5-1-59-16,6 1 70 15,-2 7-263-15,-1-2 378 16,-7 4-593-16,6 1 68 16,-2 1 87-1,5 3-87-15,-3-4 305 16,10-1 29-16,-5-4-57 15,2-4 90-15,-6-3 226 16,6 1-795-16,5 9-479 16,-10-3 451-16,6 2 636 15,1 4 240-15,3 0 441 16,11 6-232-16,5 1-129 16,-44 23-318-1,51-20-449 1,8 3-214-16,9 8 397 15,-3 7-102-15,5 1 111 16,4 10 333-16,-6 7 39 16,5 5 34-16,6 13-120 15,1-5 158-15,4 9-14 16,3-5-166-16,2 1 176 16,-2 4 32-1,1-1 98-15,-1 7 264 16,4 5-43-16,-2-1-357 15,-12 7-335-15,2-1-396 16,0 10 331-16,-4-9-370 16,6 3-109-16,-3-3 612 15,0 2 161 1,0-5 460-16,7-3 122 16,4 5-186-16,0-9-502 15,-4 14-418-15,4 8-72 16,-4-8-972-16,2 8-735 15,0-8 1313-15,1 2 534 16,1-2 308-16,0-6 81 16,-5-5-163-16,5-8 207 15,2 7-32-15,0-3 241 16,-3 11 611 0,1-11-335-16,2 27-444 15,0-9 53-15,-6 7-270 16,-10 0-94-16,4-12 191 15,-5 15 1080-15,6-9 559 16,-4-8-699-16,9 4-261 16,6 6-472-16,-9 4 62 15,-4 6-150-15,5 0-354 16,2-5 34 0,-4 8 296-1,-2-13-309-15,3-2 396 0,-1-10 145 16,1-5 315-16,6 3-43 15,5-3 395-15,-6 7-243 16,8 63-79 0,2-85-787-16,1-1-8 15,1-5-266-15,-1-16-163 16,3 7-117-16,5-5-158 16,-1-3-58-1,10 2 121-15,3-16 261 16,-2-7 26-16,11 0 213 15,9-7 141-15,3-1-64 16,5-4 244-16,20 6-35 16,-9-7 7-16,-1 4 258 15,12 10 238-15,1 5-185 16,10-6-7 0,5-2-52-16,-7-6 293 15,5 4-35-15,4-5-245 16,2 1-187-16,7-7-192 15,0 7-8-15,3-9 45 16,-3 0 83-16,8 3 211 16,-15-8-91-16,19 9-203 15,-2-14-35-15,-4 2 39 16,4-1-62-16,9 4-495 16,-10 0 357-1,2-3-127-15,3 0 61 16,-95-9 255-16,87 9-217 0,10 8-112 15,2-2-48-15,19 7 222 16,-24-12 116-16,0-3 212 16,12 4 156-16,-11-3 148 15,118 5 64 1,-129-19-288 0,19 4 27-1,-22-4-262-15,-81 2 30 0,63-8-19 0,5 3 41 16,-10 1-98-1,-2-5 58-15,1 4 18 0,-9 0 69 16,-6-1-104-16,-7 1 111 16,-7-5-124-16,13-7-50 15,-14-2 151-15,-5-7-87 16,-6-3 85-16,-1-9-169 16,0-9-65-1,-13-5 370-15,-4-1-218 16,-2-11-39-16,0-6 138 15,-2-8 48-15,-7-7 173 16,4-4 122-16,6-8-53 16,-12-9-204-16,6-12-249 15,-10-10 28-15,-2 6-63 16,0-14 5 0,8-2 28-16,-6-5-463 15,13 1 364-15,-11 4 35 16,4-4 104-16,-2-1 75 15,7-8 67-15,-7 5-36 16,5-8-131-16,1-5 70 16,10 4 91-16,-4-4-5 15,6-3-178 1,-5 5 388-16,-1 3 310 16,0 8 829-16,0-3-173 15,8 1-219-15,-6-2-196 16,-1-7-641-16,1 1-70 15,0 1-541-15,2 1-294 16,-6-7-18-16,-3 6 480 16,-1-1-476-16,1-3 197 15,-2 6-503-15,-1 1 163 16,-4 2 407 0,-4 12 464-16,-2-8 201 15,-2 6-4-15,-4 7-196 16,-3-7-144-16,-2 11-128 15,-2 6 136 1,-1 1 9-16,-6 5 290 0,8 7 141 16,-6 11 195-16,-3-5 553 15,-1 17-364-15,0 5-59 16,0 3-463-16,5 10-179 16,-17 3-206-1,-10 4-70-15,1 1-606 16,5 10-13-16,-9 3-446 15,-10-5-1520-15,1 6-1045 16,-15-6-2497-16</inkml:trace>
  <inkml:trace contextRef="#ctx0" brushRef="#br0" timeOffset="-139417.56">7808 9446 4805 0,'-25'5'8046'0,"-33"-3"-3517"0,11-2-886 16,8-4-3174 0,5 1-1117-16,-2 1-410 15,4-2-152-15,5-3 682 16,7 3 323-16,12 3 122 15,4-2-21-15,2 3-741 16,2 0-5-16,29 3 193 16,13-3 933-1,10-3 279-15,0-1 964 16,18-4 431 0,-2-1 182-16,13 5-82 15,5-4-645-15,3 9-624 16,-4 2-61-16,12 3 448 15,15 0-432-15,-8-1-312 16,-3-5 388-16,3-9 44 16,23-8 617-16,22-10-1003 15,-10-1-365-15,11-6-81 16,159-19-17 0,-152 34-7-1,-1 8 0-15,-18 1 0 16,-15 8 0-16,12 4 0 15,5 0 0-15,-30 2 0 16,9 0 0-16,1-1 0 16,-16-7 0-16,-8 1 0 15,-12 2 0-15,-37-2 0 32,-22 1 0-32,-18 2 0 15,-3-2 0-15,0 2 0 16,-4 0 0-16,0 0 0 15,0 0 0-15,0 0 0 16,0 0 0-16,-4 0 0 16,-16 0 0-16,-12 0 0 15,-22-4-5494-15,-1-3-10977 16</inkml:trace>
  <inkml:trace contextRef="#ctx0" brushRef="#br0" timeOffset="-138393.55">12215 9313 14958 0,'0'0'3453'0,"0"0"-1535"16,6 0-1450-16,11 0-874 16,6 2-923-16,7 0-619 15,2 0 522-15,5-2 791 16,25 2 404-16,-7 3 1303 16,2 1 376-1,22-4 456-15,-1 4 245 16,21 5 189-16,-4-9-1146 15,4 5-483 1,10-1-244-16,4-2-83 0,13 9 11 16,1-7 306-16,-12 9 65 15,2 2 484-15,-2-2 165 16,2 4-96 0,8 2-976-16,2-4-257 15,-7-2-64-15,7-1-15 16,9-3-3-16,-9-2-2 15,-4-5 0-15,18 2 0 16,-9-8 0-16,1-2 0 16,13 0 0-16,3-1 0 15,9 1 0-15,-16 4 0 16,-2-4 0 0,-9 4 0-16,-6 10 0 15,-17-7 0-15,-3 3 0 16,-24-6 0-16,-7 4 0 15,-11-4 0-15,-25 0 0 16,-14 2 0-16,-9-2 0 16,-9 4 0-16,0-4 0 15,-6 0 0-15,0 0 0 16,-10 3-356 0,-26-1-4286-16,-19 0-6064 15</inkml:trace>
  <inkml:trace contextRef="#ctx0" brushRef="#br0" timeOffset="-137474.3">17886 9499 7687 0,'-5'0'7881'16,"-10"0"-2832"-16,7 0-2602 16,8 2-1423-16,-2-2-775 15,2 0-772-15,4 0-504 16,15-4 366-16,10-4 301 16,12 5 101-1,20-1-191-15,7 3 334 16,-3 2 1078-16,10 2 1541 15,3 1-791-15,3 4 770 16,6 1 289-16,-3 3-1791 16,7-1-684-16,4 2-210 15,7-5-61-15,-1 0-19 16,12-1-4-16,12-1-1 16,6-2-1-1,-4 1 0-15,8-3 0 16,11 2 0-16,-2-2 0 15,-9 0 0-15,-8-4 0 16,13-2 0-16,17-2 0 16,2 2 0-16,-11-3 0 15,2 1 0-15,5 10 0 16,3-2 0 0,-7 6 0-16,-7 3 0 15,-9-4 0-15,-10 1 0 16,-13 2 0-16,-14 1 0 15,-3 0 0-15,-10-5 0 16,-14 1 0-16,-3-3 0 16,-7 0 0-16,-21-2 0 15,-10-2 0-15,-9 2 0 16,-7-4 0 0,-10 2 0-16,-4 0 0 15,2 0 0 1,-16 0 0-16,-4-2-4731 15,-8 2-7895-15</inkml:trace>
  <inkml:trace contextRef="#ctx0" brushRef="#br0" timeOffset="-136564.18">23450 9531 18834 0,'0'0'2261'15,"0"0"-526"-15,-2 0-324 16,-3-2 41 0,5 2-468-16,3 0-311 15,1-8-906-15,7-1-257 16,3-2-348-16,16 5 331 15,23 0 521-15,2 10 526 16,13 4 327-16,15 3 1373 16,-6-1 401-16,2 5-1823 15,10-4-561 1,-1 6-180-16,-3 0-55 16,6 2-16-16,6 0-4 15,8 2-1-15,0 0-1 16,4 0 0-16,8 3 0 15,-8-7 0-15,-6-2 0 16,12 12 0 0,-3-6 0-16,2-2 0 0,0 0 0 15,-5-2 0 1,7-4 0-16,11 0 0 0,-11-3 0 16,7-1 0-1,17-1 0-15,-7 5 0 16,1-4 0-16,11 11 0 15,6 6 0 1,7 1 0-16,6 3 0 0,-1 0 0 16,-15-7 0-16,-3-17 0 15,4-3 0-15,-1-6 0 16,-21-3 0 0,-4-5 0-16,2-4 0 15,-17 3 0-15,-11 1 0 16,-10-2 0-16,-13 1 0 15,-13 1 0-15,-8 3 0 16,-23 3 0-16,-24 4-2678 16,-4 1-5413-16</inkml:trace>
</inkml:ink>
</file>

<file path=ppt/ink/ink3.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0:22:01.366"/>
    </inkml:context>
    <inkml:brush xml:id="br0">
      <inkml:brushProperty name="width" value="0.05292" units="cm"/>
      <inkml:brushProperty name="height" value="0.05292" units="cm"/>
      <inkml:brushProperty name="color" value="#FF0000"/>
    </inkml:brush>
  </inkml:definitions>
  <inkml:trace contextRef="#ctx0" brushRef="#br0">7945 8508 15983 0,'0'0'891'16,"5"-10"-961"-16,-5 2 61 15,-2-3 131-15,-1-1-288 16,1 1-34-16,-4-2-99 16,-5-2 165-16,-1 5 365 15,-1-1 79-15,0 3 345 16,-8-3 1051 0,-2 2 829-16,-4 5-454 15,9 0-824-15,-2 0-207 16,0-2-327-16,-7-5-123 15,-9-4 18-15,8-2 17 16,-4 0-86-16,-1 5 191 16,-7-1 290-16,-7 4 33 15,-2-1-525-15,9 6-343 16,-18 6-109 0,4-4-56-16,11-1-20 15,-10-1-5-15,-8 0-4 16,10 0 0-16,-6-3-1 15,-8 3 0-15,9 2 0 16,5 0 0-16,-14 0 0 16,5 2 0-1,3 0 0-15,-8 4 0 0,1-2 0 16,3 2 0 0,-11-4 0-16,7 5 0 15,7 1 0-15,-7-4 0 16,6 0 0-16,-7 2 0 15,-1 1 0-15,13-7 0 16,-13 8 0-16,-2-6 0 16,4 8 0-16,-5 1 0 15,5 0 0-15,-1 1 0 16,-6 1 0-16,13 1 0 16,-2 3 0-1,2-2 0-15,-3-1 0 16,1 5 0-16,-3 0 0 15,13 0 0-15,15 0 0 16,-13 4 0-16,-6 0 0 16,17-4 0-16,9 2 0 15,3-3 0-15,3 4 0 16,-4 1 0 0,5 5 0-16,-1-5 0 15,-1 4 0-15,10 3 0 16,8 2 0-16,2 5 0 15,2 0 0-15,6-4 0 16,4 5 0-16,11 3 0 16,4-6 0-16,0 3 0 15,3-6 0 1,2 1 0-16,-1-3 0 16,7-3 0-16,12 1 0 15,-1-3 0-15,-1 0 0 16,17 3 0-16,-1-11 0 15,-15 2 0-15,7 4 0 16,5-2 0-16,-6 0 0 16,0-4 0-16,8 2 0 15,-6-7 0-15,4 1 0 16,5-5 0 0,1 0 0-16,5-3 0 15,9 1 0-15,-16-2 0 16,6-2 0-16,9 2 0 15,-9-2 0-15,-2-2 0 16,3 2 0-16,-1-4 0 16,3 6 0-16,-5-2 0 15,-5 0 0 1,3-2 0-16,-2 2 0 16,-5 2 0-16,13-2 0 15,-4-2 0-15,-13-3 0 16,15 1 0-16,-2 0 0 15,-9 0 0-15,11-2 0 16,-11-1 0-16,-9 3 0 16,10-3 0-16,-7 2 0 15,-5-4 0 1,9 0 0-16,0-1 0 16,1-3 0-16,-8 1 0 15,7-1 0-15,-2 2 0 16,-21-4 0-16,-1 1 0 15,2-5 0-15,13-3 0 16,-5 5 0-16,0-6 0 16,-5 2 0-16,-11-1 0 15,8 4 0 1,-3-4 0-16,-5-1 0 16,-4 0 0-16,0 2 0 15,-5-2 0-15,-5-1 0 16,-2 1 0-16,-1-1 0 15,-2 1 0-15,-1-2 0 16,0-5 0-16,0 5 0 16,-2-1 0-16,-4-1 0 15,-4 0 0 1,0 3 0-16,3-1 0 16,-6-5 0-16,1 5 0 15,-2 1 0-15,-3 1 0 16,-9-2 0-16,2 6 0 15,-4-4 0-15,-5-3 0 16,-9 3 0-16,2 6 0 16,-15 0 0-16,-4 2 0 15,11-4 0 1,-20 11 0-16,-13-13 0 16,6 8 0-16,-16 0 0 15,13 0-2522-15,-23 0-7614 16</inkml:trace>
  <inkml:trace contextRef="#ctx0" brushRef="#br0" timeOffset="4290.22">7702 11444 16111 0,'0'0'1284'0,"-2"-1"-89"16,0 1 464-16,-2-5 255 16,-2 3-577-16,1 0-543 15,-2-2-152-15,-3-1-308 16,2 1-319 0,-1 0-242-16,-12-5-453 15,-8 8-110-15,-5-6 357 16,-13 1 494-16,9 2 190 15,0-7 403-15,-3 3-230 16,-13-8 63-16,1 4-250 16,10-1 37-16,-3-4 180 15,-14 0-132 1,3 0 576-16,-2 5-34 16,-7 3 102-16,1 3-536 15,-1 0 161-15,-8 2 137 16,2 1 37-16,11-3 27 15,-3-1-518-15,3 3-183 16,46 2-67-16,-38-2-8 16,-6 0-10-16,-3 2-4 0,-9-3-1 15,4 5-1 1,-4 2 0-16,-54 9 0 16,70-4 0-1,-5 5 0-15,6-1 0 16,-1 3 0-16,-3-1 0 15,5 6 0-15,0 0 0 16,-10 3 0-16,15-2 0 16,8 0 0-16,-1 1 0 15,-1 4 0-15,4-2 0 16,1 5 0 0,7 1 0-16,-3 1 0 15,-5-2 0-15,4-1 0 16,6 5 0-16,-1 2 0 15,10-2 0-15,-2-2 0 16,5 1 0-16,0-3 0 16,3-1 0-16,7 3 0 15,0-3 0 1,3-1 0-16,6 5 0 16,1-5 0-16,7 3 0 15,1 3 0-15,0 2 0 16,0-4 0-16,-2-5 0 15,7-1 0-15,8 3 0 16,5-4 0-16,3 3 0 16,10-5 0-16,-13-6 0 15,8 3 0-15,19 6 0 32,-6-9 0-32,-7 4 0 0,0-5 0 15,16 2 0-15,-5-2 0 16,4-1 0-16,7-4 0 15,-9 3 0-15,2-3 0 16,9 1 0-16,-11 1 0 16,9-3 0-16,3-1 0 15,-9 1 0 1,3 0 0-16,6-3 0 16,-10 1 0-16,2 3 0 15,5-8 0-15,-5 6 0 16,5-3 0-16,5-4 0 15,-9 2 0-15,3-4 0 16,-1-2 0-16,-13 4 0 16,10-7 0-16,5 1 0 15,-13 4 0-15,12-2 0 16,-1-5 0 0,-13 1 0-16,1-4 0 15,5 1 0-15,-14 2 0 16,3-7 0-16,8-4 0 15,-4-1 0-15,-3 4 0 16,-3-4 0-16,7 0 0 16,-9-9 0-16,-12 13 0 15,-5-6 0-15,3-7 0 16,3 3 0 0,3-3 0-16,-2 0 0 15,-8 3 0-15,-5-7 0 16,1 0 0-16,-6 0 0 15,-4 1 0-15,3 1 0 16,-3-4 0-16,1-2 0 16,-9 4 0-16,2-2 0 15,-6 0 0-15,0-2 0 16,0 0 0 0,-6 4 0-16,-5-4 0 15,-2 4 0-15,1 0 0 16,-2-2 0-16,-5 2 0 15,-6 0 0-15,-1 2 0 16,-5 3 0-16,-6-5 0 16,13 8 0-16,-12 1 0 15,-10 2 0 1,-3 2 0-16,0 4 0 16,-12 2 0-16,-3 0 0 15,-10 2 0-15,-15 7 0 16,-9-5 0-16,-11 7 0 15,-14 7-2022-15,-18 7-2365 16,-23-2-4878-16</inkml:trace>
  <inkml:trace contextRef="#ctx0" brushRef="#br0" timeOffset="15144.54">9734 14425 2947 0,'0'0'3307'0,"0"0"-336"16,0 0-421-16,0-2-428 15,-2-1-50-15,-2 1-481 16,0 0-640-16,0 0-245 16,-6 0-283-16,2 2 47 15,-4-2-120 1,-3 2 91-16,-2 0-186 16,4 2-81-16,-1 0-82 15,0-2-44-15,-4-2 173 16,-10-2 74-16,-3 2 229 15,-7-4 348-15,8 6-157 16,6-3-22-16,-3 1 4 16,-7-2-117-16,0 2 91 15,-5-3 178 1,6 1-244-16,1 2-25 16,-10 0-82-16,-9-4 10 15,3 4-222-15,3-1-102 16,-5 3-31-16,-8 0-52 15,3 3-66-15,-4-3-1 16,-3 0-85-16,16 0 153 16,-9-3-62-16,-8 2 123 15,16 1-269 1,-4 1-36-16,-21-2 237 16,0 2 66-16,9 2-238 15,-5-1 30-15,5-2 31 16,3 2 137-16,-12-2-143 15,2 0 295-15,3-4-120 16,1 1 174-16,1 2-345 16,-12-4 295-16,7 3 93 15,3 2-61-15,-8-2-115 16,-1 2-133-16,4 0-41 16,2 0-14-1,-3 2-4-15,-2-4-1 16,1 2-1-16,-7 0 0 15,6 0 0-15,2 0 0 16,8-4 0-16,-7 4 0 16,-11-3 0-16,9 2 0 15,5-2 0-15,-6-1 0 16,8 0 0-16,-11 2 0 16,11 0 0-1,0-3 0-15,-13 1 0 16,7 2 0-16,0-4 0 15,3-1 0-15,4 6 0 16,-10-6 0-16,6 5 0 16,-4-2 0-16,0 4 0 15,2 0 0-15,-2 0 0 16,-4 0 0 0,-3 1 0-16,5 4 0 15,6-1 0-15,0-1 0 16,-4 2 0-16,-4-2-176 15,8-3 79-15,-5 2-132 16,10 0 349-16,4-2-269 16,44 0 112-16,-42 0 260 15,-9 2-271-15,11-2-153 16,0 4-14-16,-5 3 241 16,-7-1-404-16,9-2 132 15,13 2-34-15,-6 1 111 16,-5 2 209-16,3-1-334 15,5 0-31-15,-1 1 144 16,1-1 114-16,1 7-98 16,5-4-15-16,-9 3 7 15,2 6 110 1,11-8-16-16,4 1 334 16,2 4-342-16,-6-4 186 15,1 1-195-15,6 3 191 16,-1 2-150-16,8 1 33 15,-5-4 12-15,-5 4-32 16,14-4 26-16,8-1-7 16,-1-2-5-16,6 0-62 15,3-3-202 1,4 7-110-16,0 0 300 16,0 4 50-16,4 0-89 15,-2-2 23-15,2 7 93 16,2-3 134-16,2 5-181 15,4-1 164-15,-4 1-140 16,8-3 9-16,10 0 95 16,-3-3 20-1,0 1 325-15,6 2-282 16,-5-6 18-16,5 5 39 16,1 1-234-16,6-2-25 15,-3-3-24-15,1-2 119 16,-2 0-81-16,4 0 77 15,3-3 91-15,1 0-40 16,1 0 131-16,-5-5-110 16,4 3 51-16,6 0 41 15,3-5 151 1,-3 5-3-16,1-4 118 16,8-3-364-16,-7 2-49 15,-4 3 83-15,60 1-77 16,-46-7-7-1,-16-1 3-15,2 0 62 16,15 0-155-16,-4-1 347 16,-7 3 98-16,9 2 97 15,-4-1-145 1,0-1-209-16,6 3-75 0,6-1-31 16,-7-2-10-1,-1 1-4-15,6 3-1 16,-8-4-1-16,11 3 0 15,-1-2 0-15,-3 3 0 16,3-1 0-16,5-1 0 16,-5-2 0-16,0 3 0 15,9-1 0 1,-6 1 0-16,6-7 0 0,-4 6 0 16,-5 1 0-1,7-3 0-15,0-1 0 16,4 5 0-16,-2-4 0 15,-4-2 0-15,10 3 0 16,-1-5 0-16,-6 2 0 16,3-4 0-16,3 4 0 15,10-1 0 1,-7-3 0-16,-8 2 0 16,2 4 0-16,5-4 0 15,2 2 0-15,-8 3 0 16,11-1 0-16,-1-1 0 15,-2 0 0-15,-16 2 0 16,13 2 0-16,3-1 0 16,-3-4 0-16,15 4 0 15,-15-1 0 1,16-1 0-16,-14-2 0 16,13-1 0-16,-7 1 0 15,-3-4 0-15,-2 4 0 16,8 0 0-16,4-4 0 15,0 0 0-15,-11 0 0 16,-1-2 0-16,0 0 0 16,-18 0 0-16,15 2 0 15,3-6 0 1,-1-2 0-16,-17 3 0 16,-6-6 0-16,14-1 0 15,-7 1 0-15,-7-3 0 16,-1-4 0-16,-3 0 0 15,0-2 0-15,5-7 0 16,-6 3 0-16,-11-7 0 16,-1-3 0-16,6-2 0 15,-1-6 0-15,-9 3 0 16,-13-7 0 0,1-1 0-16,-4 3 0 15,6-9 0-15,-5 2 0 16,-2 7 0-16,-8-3 0 15,-3-2 0-15,-2-3 0 16,-4 7 0-16,-2 1 0 16,2-5 0-16,3 5 0 15,0 3 0-15,-3 3 0 16,0-4 0 0,-4-3 0-16,-5 12 0 15,0 3 0-15,-7-4 0 16,-5-2 0-16,-5 11 0 15,-1-5 0-15,0 5 0 16,1 1 0-16,-5 3 0 16,-7-2 0-16,0 4 0 15,0 2 0 1,-7-2 0-16,-10 0 0 16,-3 4 0-16,3 2 0 15,-5 5-104-15,-9 4-3230 16,-3-5-5227-16,-7 1-4474 15</inkml:trace>
  <inkml:trace contextRef="#ctx0" brushRef="#br0" timeOffset="20895.54">19852 8176 4548 0,'0'0'3867'0,"2"-4"-777"15,4 2 685 1,7-2-137-16,-7 2-1372 16,-3-1-729-16,-1 2-434 15,0-2-328-15,-2 1-347 16,-4-2-309-16,-7-2-367 15,-2 1-154-15,-4 5 118 16,-7 3 389-16,-11 1 207 16,-5 0 127-16,6 0 127 15,-2-2-13 1,-2 1-69-16,-3-2-4 16,-1 2-144-16,-1-6 202 15,3-1-287-15,-13 4 159 16,3 0 122-16,3 0 60 15,-5 0-281-15,1 7 64 16,0-5 128-16,0 0 141 16,-8 2-392-1,4-2 20-15,2-2-176 16,-1 0 141-16,-4 0-230 16,-3-4-193-16,5 0 122 15,-11 2 62-15,5-2-124 16,1 4-22-16,4 0 180 15,-9-3-42-15,7 3-55 16,0-2-396-16,-7-2-124 16,15 2 372-16,-6-2-257 15,-11-5 125 1,11 5 275-16,-13 2 23 16,7-3-95-16,4 5 344 15,-5 0-193-15,-1 3 207 16,-2-3-335-16,2-3 206 15,1 3-58-15,3 0 66 16,-5 0-233-16,9-1 238 16,-6 1-127-1,5 0 38-15,-1 0-153 16,-9 0 305-16,1 0-751 16,-3 6 543-16,-6-2 228 15,14 0 101-15,5 1 143 16,-9-3-397-16,12-2-163 15,3 0 84-15,6 2 209 16,-1-2-296-16,-15 4 40 16,9 2 63-16,-5 1 21 15,1-1 70 1,1 9-120-16,3-4-183 16,-3 1 30-16,13 3 162 15,-5 0 152-15,-5 0-143 16,7-1 87-16,7-3-26 15,-11 8-50-15,7 0 80 16,0-4 107-16,4 4-152 16,-7 0-161-16,-1 2 159 15,-1 3-41 1,9-7 163-16,9 3-261 16,-1 2 192-16,-6 1-108 15,4-2 34-15,7-4-167 16,1 5-24-16,1 3 121 15,8-2-158-15,-2 5 98 16,1 1-101-16,-6 3 29 16,1 0-21-16,-7 6 82 15,8-7 215-15,6 3-199 16,6-6 177 0,4-1 265-16,2 3 305 15,0 0-338-15,4-7-150 16,0 4 27-16,6 1-92 15,3-3-80-15,6 1 35 16,2-1-75-16,7 0 23 16,-6-8-7-16,4 1 120 15,3 3-145 1,7-7 196-16,49 16 105 16,-45-19-74-1,0-1 105-15,57 11 268 16,-50-12-399-1,1 1 6-15,11-1 579 16,-15-3-697-16,5 3 431 16,-3-1 43-16,5-2-95 15,-3 5-242-15,-5-3-92 16,3 3-31 0,8 2-13-16,1-7-6 15,-7-1-2-15,7-4 0 16,2 2-1-1,-7-1 0-15,10-2 0 0,-3 6 0 16,-2-4 0-16,-9 2 0 16,9 3 0-16,-3-1 0 15,0 1 0 1,5 1 0-16,-7 0 0 16,-3 3 0-16,5-5 0 15,3 5 0-15,0 0 0 16,-4-1 0-16,0-2 0 15,12-1 0-15,-4-1 0 16,-6 3 0-16,6-1 0 16,4 1 0-16,-10-5 0 15,7 6 0 1,7-5 0-16,-4-1 0 16,7 2 0-16,-5-3 0 15,-1-3 0-15,5 1 0 16,-5 2 0-16,-7-1 0 15,6 2 0-15,10 0 0 16,-6-1 0-16,1-6 0 16,-3-3-106-16,3 4-120 15,13-3 12 1,-16-5 151-16,1 6 0 16,7-3 150-16,1 3 91 15,7-4 103-15,-16-1-198 16,2 3-54-16,20-3-19 15,-13 1-7-15,3 0-2 16,-8-3-1-16,15-2 0 16,-1 1 0-16,-4 1 0 15,5-4 0 1,-10 0 0-16,10-4 0 16,-5 2 0-16,-2-2 0 15,-5 2 0-15,1-2 0 16,0-6 0-16,-3 0 0 15,-17 3 0-15,2-5-230 16,7-3-365-16,-14 0-85 16,-7-3-152-16,4-3 400 15,-5 0 257-15,-4 0 34 16,-12 0 166 0,-8-5 45-16,-3-3-122 15,-11-5-147-15,-3 5-129 16,1-7 377-16,-8-2-31 15,-7 0-52-15,-17 0 126 16,-10 3 242-16,-3 3 331 16,11 0-287-16,-8 1-324 15,-14-1-36 1,-7 1-612-16,-18 3-116 16,-2-1 45-16,-6 4-799 15,-4 2 476-15,-15 0-737 16,-4 2-2899-16,-11-3-2757 15</inkml:trace>
  <inkml:trace contextRef="#ctx0" brushRef="#br0" timeOffset="43759.72">18747 11379 13325 0,'0'0'1771'0,"0"0"-156"16,0 0-244-16,0 0 78 15,-2 2-495-15,-5 0-556 16,-3-2-744-16,-1-2-86 15,0 0-625-15,-5 0-115 16,-12-4-159-16,-10-1 107 16,-3-6 638-16,17 9 516 15,-8-8 54-15,-15-1 430 16,-2 0 267 0,-1-4-206-16,-1 3-13 15,-3-4 856-15,2 6 180 16,-1-1 625-16,-4-2-288 15,-3 5-698-15,3 1-218 16,-15 5-257-16,9-4 231 16,-2 3-407-1,-10 1-74-15,5 0-177 16,3 1 294-16,-3-1-355 16,13 2 69-16,-20 0-24 15,14 2-1-15,1 8 1 16,-13 1 474-16,5-2-218 15,1 7-172-15,2-1 77 16,4 1 62-16,3-1-400 16,3 4 35-16,-2 1-134 15,-66 17 158 1,81-16-162 0,4 4 38-16,-11-1 14 15,-3 1 170-15,8 2-287 16,-1 1 19-16,-3 3-79 15,3 1-1-15,7-3 41 16,-1 3 92-16,8-2 171 16,-1-1-189-16,0 5 300 15,2-2-220 1,14-9 13-16,0 6-174 16,3-4 123-16,3-1 68 15,6 1-224-15,2 5 148 16,2-1 180-16,4-3-62 15,8 1-8-15,2 4 215 16,-1-7 19-16,4 5-64 16,0 3-135-16,-1-3-62 15,12 1-25-15,0-1-12 32,1 3-4-32,-3-7-3 0,2 5 0 15,-2 0-1-15,-1-8 0 16,13 0 0-16,7-1 0 15,-9-5 0-15,0-1 0 16,1 4 0-16,1-7 0 16,2 1 0-1,-2 0 0-15,1-5 0 16,1 3 0-16,15-3 0 16,-7-4 0-16,-1 0 0 15,7 0 0-15,3-2 0 16,-6 0 0-16,6 0 0 15,6 0 0-15,-4 0 0 16,-10-2 0-16,9 0 0 16,5 2 0-16,-5 0 0 15,-2 4 0 1,3-1 0-16,57 1 0 16,-46-3 0-1,-3-2 0-15,5 1 0 16,1-4 0-16,-8-3 0 15,3 3 0-15,-5-3 0 16,0 3 0-16,9 0 0 16,-5 0 0-16,5 2 0 15,3-7 0 1,-12 3 0-16,9-3 0 16,-11-1 0-16,-8-3 0 15,5-2 0-15,8 1 0 16,-9-6 0-16,-6 1 0 15,8-2 0-15,-1 2 0 16,24-21 0 0,-31 17 0-16,-14 2 0 15,-3-1 0-15,-10 1 0 16,0-4 0 0,8-3 0-16,-7 5 0 15,-3 0 0-15,-2 1 0 16,0-5 0-16,-4 4 0 15,-7 4 0-15,-5-7 0 16,2-1 0-16,-4 1 0 16,-2 1 0-16,-2 2 0 15,-3 0 0 1,-5-5 0-16,-12 0 0 16,1-1 0-16,-2 1 0 15,-30-27 0 1,17 21 0-16,-7 2 0 15,3 0 0-15,-1-1 0 16,-1 1 0-16,-15 3 0 16,-3-6 0-16,-5 6 0 15,-14 1 0-15,1 9 0 16,-7 6 0 0,-6 5 0-16,-9-2 0 15,2 1-532-15,5-1-3708 16,-6-1-5466-16</inkml:trace>
  <inkml:trace contextRef="#ctx0" brushRef="#br0" timeOffset="57303.76">20524 14312 16656 0,'0'0'1787'16,"0"0"320"-16,0 0-367 15,0 3-643-15,0-1-302 16,0 0-318-16,3 0-112 16,-3-2-192-16,0 0-97 15,0 0-243-15,0 2-446 16,-5 2-284 0,-13 3 609-16,-12-3 562 15,3-4 465-15,-5 2 174 16,6-4-167-16,1 2-190 15,-9-6-16-15,-2 1 62 16,-4-1-187-16,8 0-232 16,5-1-109-16,-7 3 73 15,-7 0 10-15,3-1 98 16,-4 4 42 0,4-2 124-16,-6 3-146 15,-6-4 272-15,4 4 296 16,6-2 36-16,-5-2-515 15,-12-2-214-15,13 1-100 16,-1 1-30-16,-11-4-12 16,-1 3-6-16,3 1-1 15,-9 4 0 1,6 0-1-16,-1-2 0 16,1 4 0-16,-4-2 0 15,4 0 0-15,-11-4 0 16,-2 4 0-16,15-2 0 15,-17-5 0-15,-4 5 0 16,8 0 0-16,-14 2 0 16,3 2 0-16,2-4 0 15,-4 4 0-15,-6-2 0 16,2 2 0 0,-1 5 0-16,-5-5 0 15,12-4 0-15,-10 4 0 16,9-2 0-16,-11 0 0 15,-2-4 0-15,0 6 0 16,12-9 0-16,-4 10 0 16,-4-8 0-16,-8 1-23 15,16 4 39 1,-9 0-11-16,1 0-4 16,8 2 0-16,1-6-1 15,-8 4 0-15,-80 4 0 16,90-2 0-1,-5 3 0-15,4-1 0 16,2 0 0-16,-8 4 0 16,13 1 0-16,-9 2 0 15,3 1 0 1,0 5 0-16,2 0 0 16,3 2 0-16,0 5 0 15,5-1 0-15,11-2-21 16,-9 0-374-16,9 2-426 15,4 5 667-15,-7-5 121 16,-1 7-42-16,13-1 154 16,3-3 29-16,-3 8-150 15,7-2-618 1,7-3 423-16,5 3 9 16,-5 1 77-16,4-1 114 15,7 0-15-15,2 0-253 16,8 2 238-16,0 4-426 15,2-6 107-15,3 2-40 16,4-3 247-16,0 5 157 16,4 2 13-16,0 5 5 15,4-3 60-15,0-8-34 16,11 39-47 0,-6-41 12-1,5-4-82-15,7 1 70 16,3-8 33-16,4 3-42 15,1-4 113-15,5 1-179 16,2 2 136-16,2-3-99 16,0-1 116-16,4-7-52 15,-2 9 20 1,12-4 231-16,-2-2-302 16,-5-3 111-16,1-4-97 15,13 1 168 1,-4-3 36-16,-1 5 134 0,-3-1-47 15,3 1-19-15,-1-1-89 16,-4 3 144-16,8 2-10 16,-2 1 106-16,0-1-64 15,8 0 115-15,-3-1-150 32,-7 1-127-32,76 8 369 15,-72-6-189-15,11-7-219 16,1 3-82-16,74 6-22 15,-72-9-17 1,10 1 0-16,-9 2-1 16,2-3 0-16,6 2 0 15,-3-1 0 1,1-5 0-16,0 1 0 16,6-8 0-16,-3 1 0 15,0-2 0-15,-1 0 0 16,-10 2-22-16,16 2 15 15,-5-5-128-15,-61 5 105 16,39-2 156-16,21-4-101 0,-4-1-17 16,-2 3 16-16,9 0-16 15,-5 2-6-15,1 0-1 16,-4 0-1 0,-2 4 0-16,3-2 0 15,0-2 0-15,-10-1 0 16,18 1 0-16,1 0 0 15,-2-2 0-15,1 0 0 16,0 0 0-16,-7 1 0 16,-3-1 0-16,13 0 0 15,-11 0 0 1,4 4 0-16,-1-5 0 16,1 1 0-16,-3-2 0 15,-4 2 0-15,6-1 0 16,-9 1 0-16,8 0 0 15,-2-2 0-15,0-3 0 16,-8 5 0-16,-10-7 0 16,17-1 0-1,-5-1 0-15,5-4 0 0,0-6 0 16,-13 6 0 0,-5-2 0-16,7-9 0 15,-7 3 0-15,0-7 0 16,-5 0 0-16,-11-6 0 15,-7-2 0-15,0-4 0 16,4-7 0-16,-7 4 0 16,1 1 0-16,-17 1 0 15,-4-10 0 1,-1 2 0-16,1 11 0 16,-7-15 0-16,-4 6 0 15,-4 2 0-15,-7 5 0 16,1-13 0-16,-5 8 0 15,-2 1 0-15,-13-4 0 16,-1 2 0-16,-1 3 0 16,-6-1 0-16,-9-1 0 15,-12-2 0-15,6 13 0 16,-12-2 0 0,-14-5 0-16,-4-1 0 15,-10 10 0-15,-6 4 0 16,-14 1 0-16,-2 1-1460 15,-19-2-997-15,-12-2-619 16,2 9-3519-16,-4-5-3323 16</inkml:trace>
</inkml:ink>
</file>

<file path=ppt/ink/ink4.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0:23:28.197"/>
    </inkml:context>
    <inkml:brush xml:id="br0">
      <inkml:brushProperty name="width" value="0.05292" units="cm"/>
      <inkml:brushProperty name="height" value="0.05292" units="cm"/>
      <inkml:brushProperty name="color" value="#FF0000"/>
    </inkml:brush>
  </inkml:definitions>
  <inkml:trace contextRef="#ctx0" brushRef="#br0">1187 3099 1794 0,'0'0'373'0,"-3"0"-75"16,-1 4-108-16,-2-2-135 16,-2-2-168-16,6 0 147 15,-6 0 462-15,-4-5 825 16,-4 4 2270-16,5-4-431 15,9 5-732-15,-4-2 144 16,2-2-47-16,-1 2-428 16,3 0-641-16,-5 2-516 15,7-3-465-15,-2 3-421 16,2 0-104 0,0 0 52-16,5 0 187 15,10 3 385-15,6 1 49 16,-2 0-153-16,10 0 12 15,-7-1-164-15,13-2 190 16,-7 2 134-16,14-1-14 16,1 2 210-16,-9-2-273 15,0 3-197 1,59 3 522 0,-46-4-622-16,-7-2-70 15,27 0-154-15,-3-4 13 16,-15 2-98-16,18-2 88 15,1 4-160-15,-19 0 78 16,3 0 144-16,5 5-7 16,-3-3 16-16,-10 3 254 15,7 1-221-15,14-4-92 16,-20-2-61 0,15 7 334-16,9-9-427 15,-29 0 68-15,26 4 142 16,1-6-11-16,-16 0-112 15,17 6 154-15,8-4-96 16,-25-2-35-16,19 6-10 16,-2-8-3-16,-11 4-1 15,11 2-1-15,7-4 0 16,0 6 0 0,-14-2 0-16,-10-2 0 15,12 6 0-15,16-1 0 16,-32-5 0-16,20 8 0 15,-1-5 0-15,-3-2 0 16,9 6 0-16,-9-3 0 16,-5-4 0-16,-1 4 0 15,8-2 0-15,-3 0 0 16,5 1 0 0,-11-1 0-16,-7-2 0 15,20 4 0-15,-11-2 0 16,-5 0 0-16,18 1 0 15,-5-3 0-15,-3 1 0 16,-1-1 0-16,-5 0 0 16,6 3 0-16,-3-2 0 15,3-1 0-15,-10-1 0 16,15 1 0 0,8-3 0-16,-19 6 0 15,8-6 0-15,-5 2 0 16,5 1 0-16,6 0 0 15,-2-5 0-15,1 3 0 16,-17 0 0-16,13-2 0 16,3 1 0-16,2-1 0 15,-23 2 0-15,33 0 0 16,-16-2 0 0,3 2 0-16,11-4 0 15,-18 1 0-15,15 7 0 16,-7-10 0-16,-4 2 0 15,2 6 0-15,-7-9 0 16,5 9 0-16,11-2 0 16,-25-2 0-16,23 0 0 15,0-1 0 1,-6 7 0-16,10-4 0 16,-21-2 0-16,22 0 0 15,-8-3 0-15,-3 1 0 16,23 0 0-16,-18 3 0 15,2-1 0-15,-13 0 0 16,27 0 0-16,4-1 0 16,-6 5 0-16,2-4 0 15,-14 2 0-15,25-2 0 16,-9 0 0 0,9 0 0-16,-9 1 0 15,12-5 0-15,10 6 0 16,-16-4 0-16,15 3 0 15,-2-1 0-15,11-5 0 16,4 9 0-16,-15-4 0 16,21-4 0-16,8 2 0 15,0 4 0 1,-6-5 0-16,-5 1 0 16,15-1 0-16,-21 6 0 15,12-4 0-15,0-1 0 16,15 4 0-16,-7 6 0 15,-23-8 0-15,6-1 0 16,-9 10 0-16,-21-5 0 16,-15 6 0-16,-11-2-688 15,-45-6-3216-15,-10 4-6282 16</inkml:trace>
  <inkml:trace contextRef="#ctx0" brushRef="#br0" timeOffset="17385.15">14448 7226 3683 0,'0'0'4262'0,"0"0"-754"16,2 0-337-16,2-2-1048 16,0-2-582-1,1-1-782-15,5-5-240 0,3 1-532 16,-2-1-478 0,-3 3-287-16,-4-1 325 15,-2 2 662-15,0-5 462 16,-2-2 1-16,-2-1 278 15,0-3 728-15,0 0-329 16,0-2-437-16,0-2-231 16,-2-1-32-16,0 1-239 15,0 0 58-15,-8-4-59 16,-19-26 289 0,9 23-703-1,0 1 58-15,6 4-138 16,4-1 31-16,-1-1 99 15,-6-2-23 1,0-1 245-16,-5 0 52 0,6 5 151 16,-6-5 22-1,3 1-157-15,-2-1-153 0,2 3-200 16,8-1-114 0,-6-1-20-16,-2 1-78 15,2 1 132-15,-2 0 92 16,-9-5 42-16,5 3 73 15,-5 1 106-15,2-1-12 16,-1 1 9-16,3 3-70 16,-6-4-1-16,1-5-125 15,-1 0 49-15,2 5-40 16,10 3 112 0,-19-1-73-16,-7-5-59 15,4 5-124-15,7-1 135 16,-3 3 29-16,4 0-124 15,-1 0 47-15,3-3 192 16,2 5-228-16,-14-2-2 16,1-3 23-16,-10 3 91 15,7 4-69-15,10 2 55 16,-17-2-17 0,11 2-187-16,5 2 53 15,-11 3 129-15,-5-5 57 16,3 4-123-16,11-2 95 15,-7-4-122-15,-1 7 114 16,-5-5-38-16,3 2 5 16,-3 2 84-16,-11 0-177 15,15 5 66-15,5-1 20 16,-9 3 68 0,3-2-176-16,5 1 349 15,-10 1-198-15,-7-1 42 16,6-1-110-16,11 8 122 15,-14-2-155-15,7 0-56 16,13 4 177-16,-7 4-187 16,-22-4 35-16,12 3-240 15,11 1 302-15,-10 5-39 16,4-3 50 0,3 4 117-16,-56 20-442 15,54-15 223 1,13-2 28-16,-10 6 98 15,-3 3-59-15,7-1 59 16,10-4 40-16,5 4-59 16,-10 5 111-16,-1-1 84 15,2 5-67-15,4-5-106 16,7 3 96 0,3 4 56-16,-6 2 33 15,-2 4 44-15,0-4-23 16,1 2 151-16,-5 1-301 15,12 1 121-15,-3 2-127 16,3-2-51-16,4 0 39 16,0-4 15-1,0 7-31-15,7-3-13 0,-1 2 53 16,-6-1 39 0,6 3 78-16,-1 0-71 15,13-1 147-15,-5 1-154 16,-5 5-1-16,2-9-83 15,6 0-10-15,-7 0-120 16,7 3 145-16,-4 1 79 16,1-6-13-16,1 5 1 15,2-3-41 1,-2 6 28-16,4-7-38 16,-7-6 119-16,5 3-245 15,-2 2 253-15,6 1-406 16,-4-6 157-16,0 6 118 15,2-10 8-15,6 7-8 16,-4 2 88-16,0-2-79 16,1-6 75-16,5 6-236 15,-4-6 10 1,5 7 147-16,-3-2-29 16,5-8 42-16,-1 7-126 15,1-6 145-15,0 3-44 16,-3 7 73-16,2-6-28 15,6 6-142-15,-4-2 130 16,1 0-41-16,4 0-17 16,0 0-7-16,-1 2-3 15,0-6-2-15,2 2 1 16,1 0-1 0,5-1 0-16,4-5 0 15,-1-3 0-15,-4 1 0 16,2 1 0-16,1 5 0 15,-3 2 0 1,5-9-416-16,6 7-119 0,6-7-85 16,-6-3 201-16,1 1-7 15,8 2 95-15,1-2 165 16,3 3 104 0,-13-7 22-16,0 7 100 15,10-1-34-15,3 7 45 16,-9-5 131-16,-4 7 96 15,3-5 370-15,10 3-178 16,-5-2 43-16,3-3-110 16,2 3-268-16,6 0-97 15,-2-2-38 1,-7-5-13-16,15 0-4 16,1 2-2-16,-3-3-1 15,12 1 0-15,-11-2 0 16,-5 2 0-16,17-4 0 15,-9-2 0-15,-4 2 0 16,13 0 0-16,-9-6 0 16,1 2 0-16,7 2 0 15,-5-5 0 1,-5 4 0-16,4-6 0 16,3 5 0-16,-7-5 0 15,7-1 0-15,-2 1 0 16,2-3 0-16,3-7 0 15,-9 10 0-15,1-1 0 16,11-7 0-16,-23 2 0 16,16-2 0-16,-3-2 0 15,-16-4 0-15,15-3 0 32,10-1 0-32,-21 2 0 0,-3-7 0 15,12-4 0-15,-11-2 0 16,-5 0 0-16,7-2 0 15,-1-5 0-15,-7 3 0 16,1-4 0-16,-11-5 0 16,4-8 0-16,6 1 0 15,-6 4 0 1,-11-6 0-16,3-9 0 16,2 3 0-16,1-8 0 15,-3 7 0-15,-7-8 0 16,7-54 0-1,-20 49 0-15,2 2 0 16,-10 2 0-16,-2-11 0 16,8-2 0-16,2 0 0 15,-4-4 0-15,-2 4 0 16,0-8 0 0,-4 4 0-16,-4-4 0 15,-6-3 0-15,8 2 0 16,-4-3 0-16,-13-3 0 15,-3 3 0-15,-10-9 0 16,-1 4 0-16,-1 2 0 16,-4-6-93-16,-11 0-1078 15,-3-8-1554 1,8 23-535-16,-19-13-5295 16</inkml:trace>
  <inkml:trace contextRef="#ctx0" brushRef="#br0" timeOffset="23125.23">13940 12655 6470 0,'0'0'5603'16,"0"0"-773"-16,0 0-1667 16,2 0-715-16,0 0-1111 15,-2 0-442-15,2 0-350 16,2-4-19 0,-4-11-299-16,5 0-228 15,-5-3-33-15,-5-4 17 16,-1-1 43-16,-11 2 143 15,-4 4 35-15,-8 0 36 16,-3 6 438-16,4 1 0 16,-12-1 147-16,-11 2-124 15,4-1-230 1,14 2-83-16,-9-5-140 16,-12 7-186-16,3-5-80 15,9 0 108-15,-9-3 210 16,-6 1-61-16,7 2-14 15,5 1-147-15,-5 1 115 16,-8 1 25-16,7 2 0 16,-2-1 84-16,9 1-233 15,-9-1-62-15,0-3 57 16,2 4-1 0,-2-5-40-16,5 5-14 15,-3 3-6-15,-17-5-2 16,17 2 0-16,3 6-1 15,-15 0 0-15,1-5 0 16,7 8 0-16,-10-8 0 16,7 3 0-16,1 2 0 15,-11-4 0-15,7 4 0 16,10 6 0 0,-11 5 0-16,-3 6 0 15,14 0 0-15,-13 8 0 16,-3 7 0-16,12 2 0 15,-9 2 0-15,-1 6 0 16,-1-2 0-16,5 5 0 16,4 4 0-16,-1-5 0 15,1 7 0-15,3 12-650 16,-2-8 1096 0,9 2-307-16,1 7-94 15,1 2-31-15,14-5-10 16,-3 4-3-16,-4 3 0 15,-4 2-1-15,5 0 0 16,15-5 0-16,-8 12 0 16,6-5 0-16,1 8 0 15,1-6 0-15,-2 0 0 16,0 0 0 0,9 0 0-16,5 7 0 15,0-12 0-15,-4 6 0 16,6 1 0-16,0-2 0 15,2 4 0-15,4-10 0 16,6 2 0-16,2-5 0 16,-4-1 0-16,0 4 0 15,2-9 0-15,11 4 0 16,0 5 0 0,-7-8 0-16,13-1 0 15,1 0 0-15,28 53 0 16,-20-50 0-1,-9-11 0-15,5-3 0 16,8-6 0-16,1 5 0 16,-24-37 0-16,20 26 0 15,4 7 0-15,1-3 0 0,2 2 0 16,4 1 0 0,5-5 0-16,-13-6 0 15,-3-3 0-15,18 5 0 16,-7 0 0-16,-6-6 0 15,4 1 0-15,7 1 0 16,2-9 0-16,-9 0 0 16,4 0 0-16,5 0 0 15,-3 1 0 1,-7-1 0-16,-1-9 0 16,17 1 0-16,-9 2 0 15,-1-4 0-15,-7-1 0 16,6-3 0-16,3-3 0 15,-11 0 0-15,0-2 0 16,11-4 0-16,1 0 0 16,-5 0 0-16,1-1 0 15,3 2 0-15,1-6 0 16,-3 3 0 0,-1 0 0-16,5-7 0 15,6 1 0-15,-10 3 0 16,-10-2 0-16,11-3 0 15,6-1 0-15,-3 3 0 16,-13-3 0-16,8-4 0 16,7 0 0-16,-7 0 0 15,3 0 0-15,2-2 0 16,7-8 0 0,-13 3 0-16,-1-3 0 15,13-3 0-15,5 5 0 16,-16-2 0-16,7-1 0 15,4-4 0-15,-5-4 0 16,3-4 0-16,3 2 0 16,-5 0 0-16,-11-3 0 15,2-13 0 1,11-2 0-16,-11 3 0 16,3-12 0-16,1 1 0 15,51-71 0 1,-56 73 0-16,1-7 0 15,9-1 0-15,-7 10 0 16,-3-12 0-16,-9 1 0 16,-10-4 0-16,14-9 0 15,1 8 0 1,-7-1 0-16,-8 1 0 0,2-8 0 16,-1 5 0-1,5-7 0-15,-10 11 0 16,6-7 0-16,-9 1 0 15,-1 9 0-15,0-12 0 16,-6 8 0-16,-6-9 0 16,0 7 0-16,-2 4 0 15,-10-11 0 1,-2 11 0-16,-2-11 0 16,-7 3 0-16,-9-1 0 15,0 0 0-15,-1 10-533 16,-7-8-358-16,-11 1 285 15,-7-7 289-15,-9 4 183 16,-13-12 97-16,-11 8-959 16,-8 3-1309-16,2 24-46 15,-5 5-3335 1,-16 2-4075-16</inkml:trace>
  <inkml:trace contextRef="#ctx0" brushRef="#br0" timeOffset="27492.28">7266 12586 14766 0,'0'0'2598'0,"0"0"32"16,0 0-500-16,0 0-491 15,-6-5-411-15,-5-3-483 16,2-5-184-16,-1-8-409 16,-5 2-45-1,1-4-3-15,-10-12-264 0,-6 0-362 16,-3-14-41 0,7 9-25-16,0-7-167 15,-11-1 218-15,-11-8 325 16,-2 6 641-16,8 3 756 15,-11-6 97-15,-10-2 312 16,10 6-229-16,-13-8-173 16,-11-2 69-16,0 13-453 15,-8 1-573 1,-8-3-167-16,-11 1-50 16,-2 11-13-16,7 0-3 15,-5 6-2-15,-6-2 0 16,4 1 0-16,-4 5 0 15,9 1 0-15,-4 6 0 16,-4 4 0-16,5 0 0 16,0 11 0-16,7-3 0 15,-7 10 0-15,4 5 0 16,5 3 0 0,2 4 0-16,9 8 0 15,3 2 0-15,-71 41 0 16,88-28 0-1,-3 7 0-15,-4 3 0 16,23 3 0-16,1 2 0 16,-16 13 0-16,8 1 0 15,14 3 0-15,-22 74 0 32,42-70 0-32,4 0 0 15,5-4 0-15,9 13 0 16,8-16 0-16,-1 14 0 15,2-1 0-15,2 5 0 16,4 2 0-16,2 2 0 16,3 4-23-16,2-13 39 15,8 7-11 1,-9-13-4-16,4 11 0 16,25-7-1-16,1-2 0 15,-11 5 0-15,-7-1 0 16,8 5-183-16,10-3-420 15,-1 1 180-15,-1 2 394 16,7 5-72-16,11-9 3 16,-13 3 211-16,2 1 33 15,10 0-292 1,-5-11 222-16,9-2-54 16,5 0 31-16,-7-13-16 15,18 0 159-15,-5-1 19 16,-3-4 4-16,4 2-85 15,-4 1 39-15,5-4-191 16,3-2 59-16,-2-1-30 16,-6-7-8-16,6-3-70 15,1-6 138-15,7-5 42 16,-8-5-82 0,-2-5-21-16,12-7-7 15,71 5-2 1,-77-14-1-16,1-8 0 15,-5-8 0-15,-5-4 0 16,-3-6 0-16,0-11 0 16,8-6 0-16,-20-4 0 15,-1-16 0-15,9-1 0 16,-5-13 0-16,-1 4 0 16,-1-6 0-1,-22-2 0-15,-2-1 0 16,10-5 0-16,-3 3 0 15,-9-1 0-15,-10 2 0 16,-2-5 0-16,2 0 0 16,-2-2 0-1,-9-6 0-15,3-2 0 16,-4 2 0-16,-8-5 0 16,2 3 0-16,0-11 0 15,-10 15 0-15,0-4 0 16,-2 6 0-16,-4-2 0 15,-6 9 0-15,0 1 0 16,-1 3 0-16,3-3 0 16,-1-3 0-16,-2 7 0 15,1-1 0-15,0 4 0 16,2 8 0 0,-1 3 0-16,-8 6 0 15,-11 0 0-15,-1 8 0 16,-8 2 0-16,9 9 0 15,4-4 0-15,-20 0 0 16,-9 6-1333-16,0 4-1780 16,-17 4-2680-16,9 5-204 15,20-2-2238 1</inkml:trace>
  <inkml:trace contextRef="#ctx0" brushRef="#br0" timeOffset="33570.33">8504 5880 18706 0,'0'0'440'0,"4"-5"-117"15,0-3-39-15,-2 4-111 16,3-5-37-16,-3 3-73 15,-2-3-311-15,5-1 25 16,-3 3 68-16,-4-1-470 16,4 0 214-16,-9-3 77 15,-6 1 334-15,-1-1 516 16,-1 3 145-16,-13-3 162 16,5-4 1176-1,-12 0-119-15,7 5-635 16,6-9-544-16,1 6-257 15,-11-2-151-15,-1 0-242 16,7-2-31-16,-8-2-11 16,4 2-24-16,-5 3 181 15,-5 1-253 1,-5-4 211-16,9-2-80 16,10 9-27-16,-14-3 145 15,-9 2 47-15,1-1-72 16,5 3 30-16,-5 1-80 15,-1 1 6-15,-8-1-99 16,11 3 222-16,-7 1 74 16,-7-2-121-16,16 4-35 15,-9-1-100-15,-4-1 102 16,5 0-6-16,2 2-25 16,3 4-110-1,-3-6 49-15,1 4-68 16,-3 0 76-16,-5 0-116 15,-1 0 124-15,7 0 82 16,-6 4 119-16,-5 0-146 16,8 3-15-16,-5 1-63 15,0 1 59-15,-3-1-125 16,-3 3 82 0,-2-1 30-16,2 3-99 15,-3 0 11-15,11-5 169 16,-11 7-17-16,-3 2-186 15,15-4 314-15,7 4-319 16,-16-5-15-16,8 1 81 16,4 2 6-16,0 0-99 15,4-1 166 1,5 3-120-16,-13 5-27 16,-7-5 140-16,24-1-177 15,-3 5 73-15,-9 5 51 16,-3-3-127-16,0 0 164 15,4 3 36-15,-2 4-7 16,6-9-308-16,5 6 130 16,11-2 107-16,-18 5-100 15,7-7 26-15,6 3 67 16,-3 4 225-16,1 1-294 16,-4-5-11-1,1 1 95-15,5-1 36 16,3 3-46-16,-5 5-158 15,4 0 162-15,2-9-173 16,7 1 85 0,5 10 109-16,0-2-70 0,-4 2-29 15,-12 0-73-15,7 0 174 16,-3-3-270 0,9 3-121-16,-1-4 246 15,8 2-201-15,6 0 239 16,2-2-171-16,-6 4 124 15,1-2 115-15,0-1-121 16,5-3-100-16,-5 6 37 16,3 4 173-16,3 7-298 15,-4-11 34 1,3 0 77-16,4 0 202 16,0 6 200-16,-3-4 35 15,3-4-207-15,8 8 319 16,-4-8-337-16,7 4 40 15,3 1-4-15,-2-4-208 16,6-3 121-16,0 2 50 16,7 2-113-16,-4-7-22 15,0 5 60-15,1 5 65 16,-8-3-217 0,-2 1 38-16,5-1-262 15,8 3 181-15,4 3 88 16,-3-6 212-16,3 2 24 15,-2-2-32-15,-6-4 62 16,0 4 29-16,-4 0-64 16,-1 2 87-16,10-2-79 15,1-2-263-15,-2 2 145 16,2-4 38 0,5 3 75-16,-5 0-12 15,-2-4-41-15,2 1 231 16,5 2-366-16,4-2 203 15,4 4-239-15,-11-9 111 16,-5 0 149-16,0 1 208 16,-1 2 108-16,5 0-92 15,4-1 28 1,-1-2-10-16,-4-1-534 16,4 1 158-16,-3-3-157 15,2-1 83-15,-3 2 126 16,5 0 91-16,0 1-205 15,0-4 178-15,-5-6-6 16,3 3 75-16,2-2 33 16,-7-2-48-16,13 4-20 15,-10-4-45-15,4 0-104 16,-2-1-26 0,-5 3 23-16,7 1 65 15,6-4-82-15,-3-1 22 16,5 0 45-16,-2 1 76 15,-9-5-206-15,1-1 71 16,2-1 122-16,12 5 29 16,-5-8-169-16,-7 3 223 15,2-3-294 1,3-2 63-16,12 2 108 16,-3-4-72-16,-4 0-64 15,0-4 86-15,11 2 78 16,4-2-132-16,-7-4 32 15,2 3 31-15,7-1 54 16,-9 2-84-16,-14-3 12 16,7 3 40-16,13 0-20 15,-1-2 51-15,-15 2 50 16,-1-5 236 0,12 0 17-16,4-1 218 15,-8 3-279-15,1-6-187 16,11-1-72-16,-5-1-32 15,-7 0-11-15,3 0-3 16,11-2-2-16,1 3-1 16,-14-3 0-16,13 2 0 15,4-8 0 1,-12 8 0-16,3-4 0 16,9-7 0-16,-9 3 0 15,7-4 0-15,14-3 0 16,-21 0 0-16,10 1 0 15,10-11 0-15,-15 8 0 16,0-2 0-16,18-9 0 16,-25-1 0-16,-1-5 0 15,6-3 0-15,-3-1 0 16,-5-7 0 0,-5 1 0-16,5 0 0 15,-3-7 0-15,-14 3 0 16,15 6 0-16,-5-9 0 15,4-2 0-15,-7 7 0 16,-11-7 0-16,-6 5 0 16,-7-7 0-16,3 4 0 15,6 0 0-15,-10-1 0 16,2-1 0-16,-2 1 0 16,-4-2 0-1,3 6 0-15,-3 1 0 16,-1-3 0-16,-3 0 0 15,-4-11 0-15,-2 18 0 16,-5-3 0-16,-1-5 0 16,-1 5 0-16,-1 1 0 15,-8-3 0-15,4 10 0 16,-16-62 0 0,16 59 0-1,1 3 0-15,7 0 0 16,-5-3 0-16,2 4 0 15,5 1 0-15,-12-2-41 16,-4 11 66-16,-3-1-15 16,-7-1-6-16,0-2-3 15,-1 7 0 1,8 3-1-16,-4 0 0 16,-3 1-397-16,-4-4-318 15,7 7-377-15,5 5-465 16,-1 4-797-16,-7 2-3763 15,-10 10-4279-15</inkml:trace>
  <inkml:trace contextRef="#ctx0" brushRef="#br0" timeOffset="49734.86">14091 8706 19314 0,'0'0'2731'0,"0"0"-325"15,-5 0-660-15,-2-7-580 16,-3 1-504-16,-11-5-1323 15,4 7-271-15,-2 2 191 16,-3 8-509-16,-15 11 999 16,-3 13 1292-16,8 4 418 15,6-11 23-15,13-4-639 16,9-9-372 0,4 1-105-16,2-2 413 15,15-3 287-15,9-8-496 16,6-11-280-16,-1-10-164 15,1-17-154-15,-2 2-859 16,-12 2-18-16,6 0 416 16,-7 12 322-16,-1 1 708 15,-11 13 292 1,-5 1-346-16,-9 5-161 16,-14 6-212-16,-4 15-95 15,4 13 125-15,-5 10-85 16,11-6-37-16,9 2-13 15,5-4-6-15,14-3-200 16,-2-4-426-16,5 1-4 16,4-7 753-16,2-9-603 15,19-12-563-15,1-17 937 16,-10-6 545 0,-3-5 907-16,-4-12-635 15,-10 12-465-15,-9 7-147 16,-8 4-73-16,-15 6-1082 15,-13 18 417-15,-8 16 292 16,-9 21 1112-16,9-8 72 16,20-7-561-16,8-4-168 15,4-8-66 1,6-6-23-16,2-9-12 16,12-5-1-16,12-20-5 15,1-7-1-15,-2-4-3 16,-2-1 1-16,-5 11-1 15,-8 13 0-15,-6 5 0 16,-6 1 0-16,-16 5 0 16,-7 15-4044-16,-1 12-6010 15</inkml:trace>
  <inkml:trace contextRef="#ctx0" brushRef="#br0" timeOffset="94760.17">11251 7159 20660 0,'0'0'-350'15,"-2"0"-525"-15,2 0 203 16,0 0 206-16,2-3 248 16,0 1 99-16,-2 2-314 15,5-2 29-15,-5 2 156 16,3-2 151-16,3 2 248 15,-2 0 790-15,0 0 71 16,4 0 252-16,9 2 592 16,3 0-409-16,-4 0-406 15,8 1-361 1,3-2-131-16,3 6-205 16,-2-5-28-16,8 0-270 15,59-4-113 1,-62 2 50-16,9-2-29 15,1 6 106-15,5-4-17 16,-16 4 298-16,-4-2-111 16,15 7 81-16,-3-3 350 15,-5 2-141 1,-3-5-182-16,0 1-178 16,15 2-83-16,-1-6 12 15,-6 0-57-15,-3-2-19 16,7 0 111-16,11 4 69 15,-13-4-127-15,-6 0 239 16,1 2 62-16,0 4-75 16,7-2-72-1,-6-2 185-15,-3-4-300 16,-3 6-6-16,12-2-249 16,-2-4 170-16,-3-3-68 15,-8 3 119-15,3 0-206 16,2 4 133-16,6 0 21 15,-10-6-84-15,-5 6 213 16,12 0 18-16,-1 0-154 16,8 0-7-16,-10-4 127 15,-13 1-63 1,47 1 196 0,-23 0-97-16,-9-8 124 15,-11 5-342-15,21-1 143 16,53-15-462-1,-57 10 22-15,3 5 93 16,-35 6 180-16,35-6 23 16,-3-1-27-16,-8 1 49 0,13 4 116 31,0 0-34-31,-11-1 22 0,-2 3 69 16,-6 0 214-16,1 0 133 15,-5-4-275-15,-3 2-114 16,-4 0-59-16,-4 0-22 15,-11 2-12-15,2-2-3 16,5-2-73-16,0 4-40 16,-3-3 4-16,-4 3-59 15,-4 0 68 1,0 0 58-16,0 0-13 16,0 0-21-1,0-1 132-15,0 1 182 16,0 0-127-16,0 0-32 15,0 0-21-15,0 0-21 16,2 0-15-16,-2 0-11 16,0 0-4-16,0 0-5 15,0 0-3 1,-2 0-1430-16,2 0-3286 16</inkml:trace>
  <inkml:trace contextRef="#ctx0" brushRef="#br0" timeOffset="132900.92">7391 12706 6854 0,'0'0'3315'16,"0"0"22"-16,0 0-90 16,0-2-623-16,-2 0-887 15,0-4-552-15,2-5-474 16,0 2-306-16,0-1-308 15,2-1-845-15,0 3-954 16,-2-7-160 0,-4-4-414-16,-2-3 914 0,-10-5 648 15,4 8 467-15,-5-4 570 16,-7-7 873 0,4-6-476-16,0 7 371 15,2-7 205-15,-6 4-106 16,-1 2 880-16,-13-3-707 15,-3 3-263-15,7 0-333 16,0-6 306-16,3 2-209 16,-9 3-125-16,-5-10-164 15,11 8-104 1,0-3 71-16,-8-3 175 16,-7-3-196-16,3 2-261 15,8 6-54-15,-5-4-128 16,-12 2-49-16,7-5-20 15,7 5 56-15,-13-8-106 16,-4 4-424-16,7 8 422 16,-8 1 92-16,-4-5-98 15,7 14-91 1,-7-3 154-16,-1-3-53 16,9 3 341-16,-3 4-133 15,-2-2 79-15,1 2-460 16,-11-1-101-16,4 1-109 15,-1 6 563-15,-20-2 20 16,17 11-116-16,0-1-8 16,-86 3-479-1,87 3 320 1,-4 1 60-16,-8 0-313 16,9 1 153-16,3 6 195 15,-6 3 105-15,9 1 74 16,-5 4-34-16,-1-2 6 15,15 7 124-15,0 4-288 16,5-1 129-16,4 0-240 16,-9 12-120-16,-2 1-185 15,12-5-41 1,3 7 195-16,-5 7-167 16,-4 1 70-16,0-1 357 15,11 3-142-15,7-1 289 16,0 4 185-16,1-7-316 15,8 1-63-15,12 8-68 16,-3-5 284-16,2 5 82 16,9-2-113-16,2 6 65 15,-3-8-227 1,3 6 41 0,0 2 285-16,6-4-271 0,-4-4 87 15,-2 5 403-15,8-1-102 16,-2-2 16-16,2-2 160 15,2 6-284-15,-1-6-13 16,3 4-118-16,2 2-129 16,-3 2-129-16,0-4-84 15,1 4 23 1,-2 6 286-16,9-8-132 16,2 5-278-16,6 5 199 15,3-12 280-15,2 4-282 16,-4 2 114-16,2-6-4 15,5 7 340-15,3-1-55 16,3 3-235-16,1-8-164 16,-8 6 203-16,-1-5-124 15,15 0 0 1,7 4-308-16,-9-4 172 16,-2-9 30-16,13 6 155 15,-1-4 141-15,-4-1 362 16,5-1 4-16,2-4-291 15,-9 7-26-15,-3-4 91 16,7 3-192-16,10-3-70 16,-15-1-25-16,1 3-6 15,5-3-3 1,-2 1 0-16,-9-3-1 16,2-2 0-16,13-4 0 15,0 0 0-15,5-6 0 16,-8 2 0-16,-1-1 0 15,-2-5 0-15,10 4 0 16,5 1 0-16,-5-3 0 16,5-1 0-16,-1 5 0 15,-4-5 0 1,7-5 0-16,-3-3 0 16,-9-3 0-16,19 4 0 15,3-5 0-15,-5-7 0 16,-6 1 0-16,-8-3 0 15,5-2 0-15,11-4 0 16,-15 2 0-16,-1-6 0 16,8-7 0-16,1 1 0 15,-5-9 0 1,3-5 0-16,-9-3 0 16,4-22 0-16,5 3 0 15,-13-5 0-15,-9-13-307 16,9-3-284-16,1-9 272 15,-11 1 319-15,-9-9 204 16,-8-1 286-16,-4 2-123 16,1-10-256-16,-8-4-78 15,-9-119-1832 1,-4 102-609 0,-8-11-2921-16,-14-10-4051 15</inkml:trace>
  <inkml:trace contextRef="#ctx0" brushRef="#br0" timeOffset="143618.82">7065 13764 25464 0,'-3'0'-12'16,"1"2"-296"-16,0-2-1713 15,2 3-1147-15,0-3-1456 16</inkml:trace>
  <inkml:trace contextRef="#ctx0" brushRef="#br0" timeOffset="143745.82">7070 13735 32767 0,'-8'12'-112'0,"2"-3"-1413"0,4-5-4313 15</inkml:trace>
  <inkml:trace contextRef="#ctx0" brushRef="#br0" timeOffset="158815.57">5704 8839 3267 0,'0'0'165'16,"2"0"226"-16,4-4-72 15,-3 4-143-15,7-4-312 16,-2 1 156-16,6 3-67 16,-8 0 224-16,2 3 111 15,0-2 51 1,3 4 115-16,2 1 237 16,2 2 346-16,-3 3 945 15,6-5-191-15,4 3-356 16,6-3-340-1,2-4-114-15,-5 1-250 0,7-1-256 16,6-2-157-16,3 2-69 16,-6-2-112-1,5 0 132-15,4 0 405 16,-1 0 20-16,-1 0-154 16,9-4-219-16,1-1-178 15,-2 3-10-15,5-6-84 16,-6-3 149-16,1 5-83 15,14-7 205-15,-15 2 914 16,8 1 372 0,9-7-573-16,-18 4-443 0,5-5 24 15,10-4-452 1,-3 3 271-16,5-2-197 16,1 4-7-16,-11-2 115 15,4-4 95-15,7 2-201 16,-9-1-99-16,-4-1 53 15,9-3 179-15,-1-1-185 16,-17 1 14-16,15-5-36 16,-1-3-2-16,-9-2 78 15,-3-2 117 1,3-5 126-16,1-1 155 16,-5 0-52-16,-3-3-24 15,1-4-181-15,-1 5-38 16,-2-13-205-16,-13 10 92 15,5-4 41-15,4-13-152 16,0 12-124-16,7-8-62 16,-12 3 131-16,1-2-64 15,6-7 22 1,0 0 7-16,-8 6-20 16,-3 3-6-16,-9-11-2 15,-8 9-1-15,3-7 0 16,12-4 0-16,-4 13 0 15,-7-8 0-15,-2-1 0 16,-4 4 0-16,-4-4 0 16,2 9 0-16,-8-2 0 15,-6-7 0 1,0 7 0-16,2-1 0 16,-6-4 0-16,0 7 0 15,-3 0 0-15,2-1 0 16,-4 1 0-16,7 5 0 15,-3-2 0-15,-4 7 0 16,-21 1 0-16,4-1 0 16,1-1 0-16,-12 7 0 15,11 3 0 1,-4 4 0-16,-17-4 0 16,11-1 0-16,3 14 0 15,-7 0 0-15,-9-5 0 16,13 11 0-16,-25-5 0 15,-1-1 0-15,21 9 0 16,-20 6 0-16,1-1 0 16,5 5 0-16,-18 0 0 15,11 1 0 1,-3 5 0-16,-2-2 0 16,-7 4 0-16,-1 0 0 15,-4 2 0-15,6-2 0 16,2 8 0-16,-28-1 0 15,21 1 0-15,1 5 0 16,2-1 0-16,-12 5 0 16,15 0 0-1,-12 1 0-15,13-2 0 16,-10 5 0-16,13-4 0 16,-7 6 0-16,2-1 0 15,-1 3 0-15,-7 1 0 16,17 3 0-16,2 1 0 15,5-7 0-15,-5 9 0 16,-3-5 0-16,19 5 0 16,-12 4 0-1,-2-6 0-15,13 8 0 16,-9 2 0-16,5 0 0 16,15 1 0-16,-9 5 0 15,-8 1 0-15,10-3 0 16,10 1 0-16,-1 5 0 15,11-1 0-15,-11 6-86 16,12-4-24-16,9-4 133 16,-1 8 47-16,-1 3-44 15,4-2 3 1,-4 3-18-16,-3 4 14 16,1-1-38-16,-5 5 30 15,18-5-54-15,-6 4 24 16,10-1 9-16,0-3 24 15,8 10 8-15,-4-11-19 16,8 7-6-16,2-5-2 16,0-1-147-16,-2-3-383 15,5 7 298 1,6-5 153-16,0 4-34 16,3-7 264-16,6 1-205 15,6-2 78-15,-9 4 110 16,-4-1-90-16,6-1-155 15,-1 2 220-15,-2 1-221 16,6-5 73-16,3 6 25 16,-7 1 73-1,3-7-40-15,-4 2 50 16,6-4-46-16,5-2-142 16,11 0 162-16,1 4-29 15,-6-12-427-15,9 1-1352 16,23-3-2455-16,-3-12-5664 15</inkml:trace>
  <inkml:trace contextRef="#ctx0" brushRef="#br0" timeOffset="-190417.58">4848 7978 15439 0,'0'0'59'15,"0"0"61"-15,0 0 146 16,0 1 1036-16,16 23 2047 15,3 12-952-15,6 4-995 16,8 1-741-16,2-6-428 16,3-5-146-1,-4-11-94-15,-2-2 23 16,21-9-29-16,-5-8 249 16,-5-6 294-16,11-9 665 15,9-2-438-15,-9-4-345 16,-5 0-23-16,1-3-452 15,-1-1 61-15,-7 2 1 16,-12-3-133-16,3-7 157 16,-7 1 24-1,-9 6-66-15,0 3 189 16,0-2 248-16,-7 2-103 16,0-3 40-16,-6-1-172 15,0-1-155-15,-2-2 56 16,-2-6-378-16,-6 1 186 15,-3-4 63-15,0 12-61 16,-3-5 260-16,-5 2-291 16,-7-1 76-16,0 1 266 15,6 5 737 1,-3 2-513-16,-7 3 429 16,-4 1-599-16,-3 2-74 15,-5 0-284-15,0 3-871 16,-13 1 74-16,-5 0 483 15,5 7-252-15,-19-5-79 16,7 3 661-16,20 6 214 16,-13 4-160-16,-9 0-215 15,21 9-110 1,-3 16-692-16,-6 11 41 16,5 11 424-16,4 6 26 15,17 21 636-15,10 5 12 16,15-3-132-16,10 2-1503 15,3-12-3099-15,8 0-3570 16</inkml:trace>
</inkml:ink>
</file>

<file path=ppt/ink/ink5.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0:33:13.909"/>
    </inkml:context>
    <inkml:brush xml:id="br0">
      <inkml:brushProperty name="width" value="0.05292" units="cm"/>
      <inkml:brushProperty name="height" value="0.05292" units="cm"/>
      <inkml:brushProperty name="color" value="#FF0000"/>
    </inkml:brush>
  </inkml:definitions>
  <inkml:trace contextRef="#ctx0" brushRef="#br0">16895 6068 12428 0,'0'0'6025'15,"0"0"-2251"-15,0 0-952 31,0 0-1323-31,-5 0-1632 0,-5-2-586 0,-16 0-1481 16,8 0 830-16,-23 4 877 16,9 4 1614-1,5 9 235-15,-13 6-133 16,2 2 526-16,-2 3-282 16,1 0-280-16,16-5-6 15,6-5-197-15,7-7-579 16,6-2-216-16,1-3-86 15,3-4-46-15,5-4-8 16,11-9-16 0,24-13-14-16,9-1-12 15,4-1-4-15,13 1-2 16,3-3-1-16,4 7 0 16,5-5 0-16,-1 7 0 15,2 8 0-15,-2 3 0 16,-1 6 0-16,72 1 0 15,-70 6 0 1,1 1 0-16,4-2 0 16,-4 2 0-1,-2 5 0-15,3 4 0 16,-3-5 0-16,14 7 0 16,-22 2 0-16,8 2 0 15,-3-2 0-15,-3 4 0 16,8 4 0-16,-5 0 0 15,-2 3 0-15,6 3 0 16,3-1 0 0,-5 2 0-16,-9-2 0 15,8 6 0-15,-9 4 0 16,-3-2 0-16,11 4 0 16,-6 1 0-16,-18 3 0 15,10 3 0-15,-3 0 0 16,-8 4 0-16,-3 0 0 15,3 1 0-15,-15 1 0 16,-4 5 0 0,-10-10 0-16,-11 6 0 15,2 7 0-15,-3-10 0 16,-6 2 0-16,-8-4 0 16,2-5 0-16,-5-1 0 15,-4-7 0-15,-5-2 0 16,-14-4 0-16,-21 0 0 15,2-11 0-15,-11 4 0 16,-11-8 0-16,3 0 0 16,-13-4 0-1,-6-3 0-15,-2-3 0 16,-8-3 0-16,4-4 0 16,6-2 0-16,-17-7 0 15,8-1 0-15,1-3 0 16,2-2 0-16,4-2 0 15,4-6 0 1,-2-1 0-16,5-7 0 0,5 3 0 16,1 1 0-1,-9 0 0-15,10-1 0 16,-12 3 0-16,14-1 0 16,-18 0 0-16,12 6 0 15,-3 4 0-15,-1 4 0 16,6 1 0-16,-10 3 0 15,1 6 0-15,7 4 0 16,14 4 0 0,-4 7 0-16,4 6 0 15,16 6 0-15,4 5 0 16,12 4 0-16,9-2 0 16,16-3 0-1,12 11 0-15,16 1 0 0,17-5 0 16,5-4 0-16,21-5 0 15,11-6 0 1,3-10 0-16,4-7 0 0,10-8 0 16,-10-5 0-1,-15-10 0-15,-12-4 0 16,5-7 0-16,-16-4 0 16,-22 7 0-16,-17-3 0 15,-26-10 0-15,-26 6 0 16,-16 7 0-16,-23 20 0 15,-12 7 0-15,12 7-2740 16,18-7-5212-16</inkml:trace>
  <inkml:trace contextRef="#ctx0" brushRef="#br0" timeOffset="453.16">17050 5996 14894 0,'-30'-10'10352'15,"-29"-9"-5426"-15,3 6-3261 16,-17 9-1030-16,-8 17-2075 15,-12 16 637-15,6 18-2325 16,4 10-567 0,3 6 2632-16,25 3 1544 15,17-7 1384-15,32-12 525 16,14-3 168-16,22-10-654 16,27-9-1097-16,17-16-521 15,9-22-193-15,10-14-64 16,-14-13-21-16,-2-3-6 15,-15-2-1 1,-9 8-1-16,-19 3 0 0,-18 16 0 16,-22-2 0-1,-28-8-688-15,-36 13-4868 16,-10 24-470-16,-20 20 5935 16,11 22-931-16,13 11-4181 15,6 7-2805-15</inkml:trace>
  <inkml:trace contextRef="#ctx0" brushRef="#br0" timeOffset="2319.17">19644 6913 32767 0,'-6'16'0'0,"-5"29"0"16,-5 25 0-16,2 8-1085 15,0 9-501-15,1 15 389 16,-2 1 607-16,13 20 763 15,-2 2 1265-15,-2 15 748 16,3 1-1679-16,1 10-387 16,0 1-94-1,2 9-20-15,4-7-4 16,-1 6-2-16,-10-14 0 16,5 8 0-16,-6 3 0 15,8-16 0-15,0 3 0 16,0 4 0-1,-13-19 0-15,8 0 0 0,3-105 0 16,2 80 0-16,-6-2 0 0,2-5 0 16,2-15 0-1,-2 1 0-15,2-30 0 16,2-9 0-16,0-20 0 16,-2-10 0-16,-4-5 0 15,-4-5 0-15,-4-4 0 16,-1-10 0-16,-6-10 0 15,-10-12 0 1,-8 1 0-16,-7-7 0 16,-8 2 0-16,-9-1 0 15,-2 0 0-15,-14-3 0 16,-10-3 0-16,-15 3 0 16,3 0 0-16,-7-1 0 15,-17 1 0-15,6-2 0 16,1 10 0-16,-16-1 0 15,6 3 0-15,3-4 0 16,-10 0 0 0,-6 7 0-16,6 3 0 15,9 7 0-15,-21 0 0 16,-9 2 0-16,13 0 0 16,6 3 0-16,-5 1 0 15,-4-6 0-15,-9 0 0 16,22 5 0-16,-7-3 0 15,-3 5 0-15,-1 1 0 16,-1-4 0 0,10 5 0-16,-5-1 0 15,9 3 0-15,4-2 0 16,13-1 0-16,-11 0 0 16,8 1 0-16,16-1 0 15,-4-1 0-15,11 6 0 16,1-5 0-16,-2 5 0 15,20-2 0 1,-4-1 0-16,4 3 0 0,-3 2 0 16,6 4 0-1,26 6 0-15,-2 1 0 16,4 2 0-16,7 4 0 16,15-3 0-16,5 5 0 15,4 8 0-15,7 10 0 16,0 6 0-16,3 2 0 15,-3 2 0-15,0 20 0 16,-2-5 0 0,4 1 0-16,-4 15 0 15,6-6 0-15,0 6 0 16,4 2 0-16,2-10 0 16,4 10 0-16,-4-12 0 15,4 6 0-15,2 0 0 16,3-4 0-16,4 4 0 15,2-15 0-15,9-2 0 16,-3 0 0 0,5-7 0-16,4-1 0 15,-7-6 0-15,11 0 0 16,11-2 0-16,2-14 0 16,12-6 0-16,12-2 0 15,-14-10 0-15,15-3 0 16,11-7 0-16,6 2 0 15,6-4 0-15,8-5 0 16,-2 7 0 0,-4 2 0-16,24-12 0 15,5 13 0-15,-12-3 0 16,-97 2 0-16,94-4 0 0,29-1 0 16,-3 2 0-16,-1-3 0 15,2-6 0-15,14 1 0 16,162-3 0-1,-165 13 0-15,1 4 0 16,5 2 0-16,-1 3 0 16,-1-1 0-1,2-2 0-15,-1 2 0 16,-9 3 0-16,-3 4 0 16,-125-11 0-16,106 4 0 15,28 0 0-15,-7-1 0 0,-17 10 0 16,-14-7 0-16,5 0 0 15,-4-5 0 1,-18-3 0-16,4-7 0 16,-9-1 0-16,4-7 0 15,-12-12 0-15,-10 1 0 16,-1-10 0-16,-15 3 0 16,-10-8 0-16,-9-10 0 15,-8 7 0-15,-7-14 0 16,-11 4 0-16,-8-8 0 15,-8-3 0 1,-8-1 0-16,-16 7 0 16,-7 0 0-16,3 10 0 15,-4 2 0-15,-4 5-2227 16,1 8-885-16,5 6-1300 16,0 10-314-16,7 0-1757 15</inkml:trace>
  <inkml:trace contextRef="#ctx0" brushRef="#br0" timeOffset="3009.17">19206 11021 32767 0,'-31'7'0'0,"-16"1"0"0,-9-2 0 16,-15 7-567 0,-6 4-1194-16,3 8 293 15,3 14 742-15,-2-2 973 16,-3 10 988-16,11 21 940 16,20-5-1580-16,7 7-409 15,13 9-127-15,10 1-42 16,4 1-11-16,22-1-5 15,21 5 0-15,6-11-1 16,7 4 0-16,22-6 0 16,9-11 0-1,15 1 0-15,-2-16 0 16,2-10 0-16,13-12 0 16,2-12 0-16,8-12 0 15,-12-19 0-15,-1-15 0 16,-12-14 0-16,-21-16 0 15,-7-12 0-15,-14-1 0 16,-26-11 0 0,-23-18 0-16,-17-6 0 15,-20 2 0-15,-9-4 0 16,-13 8 0-16,-16-1 0 16,-5 17 0-16,-7 15 0 15,-17 21 0-15,-6 26 0 16,-11 16 0-16,-11 18 0 15,19 13 0 1,-10 19-3715-16,-7 11-2898 0,11 10-5239 16</inkml:trace>
  <inkml:trace contextRef="#ctx0" brushRef="#br0" timeOffset="3836.26">14731 11051 32767 0,'-34'2'0'0,"-23"-2"0"15,-19 0 0-15,-11 4 0 16,-4 4-1480-16,-4 5 66 15,12 9 769-15,-12 3 1095 16,6 11 1372-16,-2 2-911 16,3 9-653-1,22 8-189-15,2 15-48 16,5 7-15-16,9 4-5 16,5 8 0-16,13 0-1 15,20 2 0-15,20 0 0 16,17 0 0-16,15-9 0 15,11-3 0-15,17-7 0 16,2-9 0 0,23-18 0-16,17-3 0 15,-4-16 0-15,14-20 0 16,-5-21 0-16,-9-21 0 16,12-6 0-16,-8-22 0 15,-2-16 0-15,-19 1 0 16,-12-15 0-16,-8 5 0 15,-18-5 0-15,-25 7 0 16,-14-14 0 0,-10 16 0-16,-10-14 0 15,-26 14 0-15,-21 0 0 16,-6 9 0-16,-11 13 0 16,-19 10-747-16,-22 23-2890 15,-11 16-2444-15,5 15-5152 16</inkml:trace>
  <inkml:trace contextRef="#ctx0" brushRef="#br0" timeOffset="4291.3">14331 11496 3331 0,'0'0'11398'0,"7"0"-4367"16,-7-3-3375-1,-5 1-413-15,-21-15-3147 16,-30 7-2027-16,1 10 71 16,-6 12-65-16,-9 12 2245 15,9 5 2145-15,12 11 1904 16,9 13-2654-16,24 0-1167 15,23-2-351-15,16-2-124 32,22 2-46-32,27-13-17 0,1-19-7 15,4-11-2-15,10-14-1 16,-7-15 0-16,-3-22 0 16,-10-3 0-16,7-10 0 15,-8 4 0-15,-26-1 0 16,-20 2 0-16,-16 2 0 15,-18 1 0-15,-17 12 0 16,-25 13 0-16,-15 16 0 16,-10 15 0-1,11 14-1848-15,5 8-1862 16,4 1-4295-16</inkml:trace>
  <inkml:trace contextRef="#ctx0" brushRef="#br0" timeOffset="4991.3">19111 11296 32767 0,'0'0'0'0,"0"0"0"0,-5 2 0 16,-11 7 0 0,-24 3 0-16,-7 10 0 15,3 16 0-15,9 4 0 16,-9 17 0-16,0-2 0 16,9 62 0-1,49-53 0-15,17 2 0 16,11-11 0-16,11-7 0 15,21-10 0 1,7-20 0-16,0-14 0 16,-1-21 0-16,0-25 0 15,-8-25 0-15,-27-10 0 16,-15-7 0-16,-20-9 0 16,-18 6 0-16,-28 0 0 15,-35 24 0-15,-6 16 0 16,-19 18 0-16,-8 25 0 15,11 19-2902-15,4 17-9018 16</inkml:trace>
  <inkml:trace contextRef="#ctx0" brushRef="#br0" timeOffset="-194786.19">13832 9717 17392 0,'0'0'1283'0,"0"0"436"16,-2 0-491-16,-2-8-383 15,0-14-419-15,1-9-673 16,-4-7-304-16,-5-2-5 15,-9 4-1125 1,-9 0 270-16,-16 8 558 16,-16 7 656-16,-7 23 1539 15,-8 8 1992-15,-3 12-1307 16,-3 3-977-16,-1 16-804 16,-3 3-35-16,11 9 189 15,-3 6-99-15,12 0 372 16,5 18 216-1,20-9-382-15,13 3-43 16,17 3-254-16,32 0-57 16,16 1 77-16,17-14-716 15,18-8-167-15,14-9 187 16,10-10 284-16,7-11-8 16,6-3 208-16,13-8-540 15,-12-14 63-15,4-7-111 16,-3-16 775-16,-12-7 1219 15,-13-8 1607-15,-20-2-1525 32,-6-5-1043-32,-11-3-319 0,-14-1-98 15,-18 6-31-15,-18-1-10 16,-14-12-2-16,-13 4-2 16,-15 11-1-16,30 33 0 15,-34-18-1739-15,1-6-2011 16,11 17-4035-16</inkml:trace>
  <inkml:trace contextRef="#ctx0" brushRef="#br0" timeOffset="-194343.14">13677 9872 24791 0,'-4'-8'3299'0,"-13"-14"-742"16,-6-1-1338-16,0-4-692 15,-5-3-305-15,-4 4-131 16,-8 12-54-16,2 7-270 15,-10 16-932 1,-20 14 462-16,-3 26 306 16,4 16 505-16,21-4 626 15,20-12-253-15,18-9-1281 16,29-10-1226-16,34 0 336 16,32-19 548-16,16-16-675 15,10-20 463 1,-16-9 2891-16,-20 2 1219 0,-10-4 526 15,-27 8-1757 1,-28 7-1027-16,-7-11-254 16,-26-14-127-16,-32-2-3351 15,-30-3-9217-15</inkml:trace>
</inkml:ink>
</file>

<file path=ppt/ink/ink6.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1:10:57.065"/>
    </inkml:context>
    <inkml:brush xml:id="br0">
      <inkml:brushProperty name="width" value="0.05292" units="cm"/>
      <inkml:brushProperty name="height" value="0.05292" units="cm"/>
      <inkml:brushProperty name="color" value="#FF0000"/>
    </inkml:brush>
  </inkml:definitions>
  <inkml:trace contextRef="#ctx0" brushRef="#br0">14311 4656 3683 0,'0'0'-279'16,"-2"-1"36"-16,2-6-76 15</inkml:trace>
  <inkml:trace contextRef="#ctx0" brushRef="#br0" timeOffset="1097.99">14279 4602 1602 0,'0'0'398'0,"-7"0"439"0,-1-3 328 16,1 3-149-16,7 0 995 15,-6 0 1273-15,6 0-578 16,0 0-419 0,0 0 917-16,-2 0-336 15,2 0-818-15,-2 0-285 16,2 0-733-16,-2 3-217 16,2-3-369-16,0 0-235 15,2 1-133-15,-2-1 5 16,8 0 26-1,1 0-26-15,10 4-63 16,-5-4 6-16,4 0 50 16,-8 3-141-16,5-3 57 15,-2 0 245-15,-1 2 290 16,15 0 61-16,3 0-20 16,-2-4-118-16,-3 2-211 15,1 4 8-15,-10-4-222 16,2 0 176-16,3-2-44 15,0-2 151-15,4 8-222 16,3-2-45 0,2 0 206-16,-5 1-33 15,-6-3-57-15,4 2 42 16,9-2-100-16,2 0-54 16,4 4-25-16,-11-4-13 15,3 0-4 1,-9 2-1-16,7 2-2 15,4-2 1-15,-1-2-1 16,5 2 0-16,-10-2 0 16,3 3 0-16,3 3 0 15,2-4 0-15,4 0 0 16,-13 2 0-16,3-1 0 16,10 1 0-16,7-2 0 15,-1 0 0-15,-8-2 0 16,-3 0 0-16,6 2 0 15,-1 0 0 1,11-2 0-16,-24 0 0 16,8 0 0-16,6 0 0 15,7 0 0-15,-10 2 0 16,1-4 0-16,-3 6 0 16,6-1 0-16,-9 1 0 15,5-2 0-15,4 0 0 16,-3 0 0-1,3 0 0-15,0-2 0 16,-6-2 0-16,9 0 0 16,-10 0 0-16,13 0 0 15,-5 0 0-15,-7 0 0 16,2-1 0-16,4 1 0 16,3 2 0-16,-1-2 0 15,-13-2 0-15,9 2 0 16,15 0 0-1,-15-1 0-15,2-2 0 16,-10 2 0-16,17 1 0 16,4 2 0-16,-5-7 0 15,5 3 0-15,-7 4 0 16,11-2 0-16,-3 0 0 16,0 0 0-16,3 0 0 15,6 0 0-15,-29 0 0 16,15 4 0-1,15-2 0-15,-18 0 0 16,-11-2 0-16,14 6 0 16,0-2 0-16,-2-4 0 15,-14 2 0-15,1 2 0 16,2 0 0-16,-1 2 0 16,-3-4 0-16,-8-2 0 15,-6 2 0-15,-10 0 0 16,3-2 0-16,-7 2 0 15,0 0-1176 1,-2 0-935-16,3 0-3284 16</inkml:trace>
  <inkml:trace contextRef="#ctx0" brushRef="#br0" timeOffset="4146.71">20343 4550 1794 0,'0'0'584'0,"0"-4"207"0,-5-2 655 16,1 0 66 0,-2 2 1301-16,-4-1-149 15,6 5-816-15,2 0 192 16,-4-2-304-16,6 2-162 16,0 0-191-16,0 0 1179 15,0 0-1482 1,0 0-278-16,0 0 4 15,2-2 327 1,-2 2-182-16,6-2 183 16,8-3 90-16,-4-1-287 15,5 2-198-15,-2 0-164 16,2 0-274-16,-3 1-143 16,10 3-34-16,10 0-93 15,-13 0-18-15,8-4-6 16,0 2-4-1,5-2-2-15,11 2 0 16,-1-2-1-16,-2 1 0 16,-3-1 0-16,-6 4 0 15,9 2 0-15,8 3 0 16,-5-5 0-16,1 0 0 16,-3 1 0-16,1-1 0 15,-4-1 0-15,0 1 0 16,1 1 0-16,9 4 0 15,3-7 0 1,-5 2 0-16,5 2 0 16,0-2 0-16,-11 2 0 15,4 0 0-15,-1 0 0 16,13-2 0-16,-17 0 0 16,7 0 0-16,4 0 0 15,-1 2 0-15,-3-8 0 16,7 4 0-16,2 6 0 15,-9-6 0 1,-12 0 0-16,4 4 0 16,15 0 0-16,0 0 0 15,32 2 0 1,-39-1 0-16,5 1 0 16,-11-6 0-16,-2 2 0 15,5-2 0 1,3 2 0-16,1-5 0 0,-5 3 0 15,7 2 0 1,7-2 0-16,-8 0 0 16,1 4 0-16,5-2 0 15,-1 0 0-15,-10 0 0 16,5-2 0-16,14 2 0 16,-5-4 0-16,2 4 0 15,9 0 0-15,-19-4 0 16,1 5 0-1,5-1 0-15,-10 0 0 16,-5 3 0-16,-10-1 0 16,0 2 0-16,-1-2 0 15,-12-2-863-15,-4 2-2227 16,-7-2-2766-16</inkml:trace>
  <inkml:trace contextRef="#ctx0" brushRef="#br0" timeOffset="5714.7">25933 4567 15887 0,'0'0'5729'0,"0"0"-2228"15,0 0-870 1,0 0-1063-16,6-1-202 16,-4 1-1298-16,5-5-453 15,5-1-136-15,3 1 293 16,0 1 203-16,-3 0 162 16,10 0 255-16,6 4 615 15,3 0-92-15,-1-2-506 16,-2 2-234-16,5 2-95 15,5 2-44 1,13 0-20-16,3 0-10 16,-8 1-4-16,5-1-1 15,10-2-1-15,0 0 0 16,5 1 0-16,2-3 0 16,-9-3 0-16,17 3 0 15,-6 0 0-15,8 3 0 16,7-3 0-16,-4 1 0 15,1 4 0 1,-4-3 0-16,20 2 0 31,70-6 0-31,-85 2 0 0,8 0 0 16,-4-2 0-16,13 0 0 16,1 2 0-16,5 2 0 15,-19 2 0-15,27 0 0 16,4 0 0-16,-18 1 0 15,18 1 0 1,1-4 0-16,-15 2 0 16,27 5 0-16,-14-9 0 15,-5 4 0-15,34-6 0 16,-23 6 0-16,1-4 0 16,5 2 0-16,0-4 0 15,-16 13 0-15,-1-3 0 16,-6 5 0-16,-23-3-4643 15,-18-5-10690 1</inkml:trace>
  <inkml:trace contextRef="#ctx0" brushRef="#br0" timeOffset="122352.08">14501 6528 3876 0,'0'0'6518'16,"0"0"-1994"-16,0 0-983 15,0 0-901-15,0 0-364 16,2 0-567-16,-2 0-341 16,4-3 782-16,18-3 12 15,-6 2-1179-15,-3 0-496 16,13-3-202-16,0-1-148 16,0 1-77-16,4-7-31 15,-5 3-17-15,-1-1-6 16,1-4-4-16,13-3-1 15,2-6 0 1,-14 2-1-16,1 0 0 16,1-3 0-16,-12 3 0 15,6 0 0-15,-3 1 0 16,-2-1 0-16,-2 4 0 16,-5 2 0-16,2 0 0 15,0 4 0-15,-2 1 0 16,-4-1 0-16,3 0 0 15,-7 1 0 1,0 3 0-16,2 1 0 16,-1-3 0-16,-3 7 0 15,0-2 0-15,2-1 0 16,0 1 0-16,-6 0 0 16,4 1 0-16,0 1 0 15,0 2 0-15,0 2 0 16,0-2 0-16,0 2 0 15,0 0 0 1,0 8 0-16,0 3 0 16,-5 6 0-16,3 2 0 15,0 0 0-15,0 6 0 16,-5-1 0-16,1 7 0 16,4 1 0-16,-4-4 0 15,0 3 0-15,-1 5 0 16,4 0 0-1,6 0 0-15,-6 0 0 16,3 0 0-16,-4 0 0 16,-6 2 0-16,2 5 0 15,4-6 0-15,-3 4 0 16,3-3 0-16,-7-4 0 16,11 2 0-16,0 0 0 15,0-4 0-15,0 1 0 16,0-3 0-1,0 0 0-15,4-3 0 16,-4 5 0-16,3-2 0 16,1-9 0-16,-6 2 0 15,6-2 0-15,5-1 0 16,-9-10 0-16,4-2 0 16,-4-5 0-16,0 1 0 15,0-2 0-15,0-2 0 16,-2 2 0-1,2-2 0-15,-2 2 0 16,2-2 0-16,0 0 0 16,0 0 0-16,0 0 0 15,0 0 0-15,0 0 0 16,0 0 0-16,0 0 0 16,0 0 0-16,0 0 0 15,0 0 0-15,2 0 0 16,-2 0 0-1,0 0 0-15,0 0-2666 16,-2 0-6764-16</inkml:trace>
  <inkml:trace contextRef="#ctx0" brushRef="#br0" timeOffset="125265.54">14586 7209 21332 0,'-9'-4'1504'15,"0"-2"-762"-15,-1-3 136 16,-7-6-171-16,-2 5-449 15,0-1-152 1,-9-2-123-16,5 5 27 16,0-3 182-16,8 7 31 15,7 2 766-15,2 2 62 16,3 0-435-16,3 0 96 16,7 0 795-16,11-2-494 15,10 2-503-15,-5-4-278 16,-1 0-127-1,5-3-52-15,-6 3-30 16,2 2-12-16,-3-1-6 16,4 3-2-16,0 0-2 15,4 0 0-15,-11 3-1 16,1-1 0-16,8 0 0 16,-5-2 0-16,5 2 0 15,-3-2 0-15,8-2 0 16,-5 0 0-16,-1 0 0 15,-3 2 0 1,-4 2 0-16,4 0 0 16,10 4 0-16,-7-3 0 15,5-2 0-15,-9 2 0 16,2-1 0-16,-10 0 0 16,8-2 0-16,-4 2 0 15,6-2 0 1,-2 0 0-16,4 0 0 0,-3 0 0 15,-8 0 0 1,2 0 0-16,-8 2 0 16,2-2 0-16,-3 2 0 15,3 0 0-15,-7-2 0 16,-1 0 0-16,-2 0 0 16,2 2 0-16,-2-2 0 15,0 0 0-15,0 0 0 16,0 0 0-16,0 0 0 15,0 0 0-15,0 0 0 16,0 0 0 0,0 0 0-16,0 0 0 15,0 0 0-15,0 0-2250 16,0 0-4866-16</inkml:trace>
  <inkml:trace contextRef="#ctx0" brushRef="#br0" timeOffset="132824.22">15487 6953 14446 0,'-2'-2'3847'16,"-4"-11"-1116"-16,-1 0-910 16,1 3-399-16,2-1-543 15,-2 5-342-15,1 0 412 16,-2 2 291-16,5 1 75 15,2 3-131 1,-2 0-372-16,2 0-263 16,0 0-169-16,2-2-148 15,0 2-74-15,5 0-59 16,-5 0-44-16,1 0-15 16,1 2-14-16,-2-2-10 15,2 4-4-15,2 1-5 16,5-1-3-1,-5 2-1-15,7 1-2 16,2 3 0-16,-1 1 0 16,0 2-1-16,-4-1 0 15,-2 3 0-15,1 4 0 16,-3 4 0-16,-4 3 0 16,-8 10 0-16,2 4 0 15,-3-2 0-15,-5 0 0 16,-4-2 0-16,-2-2 0 15,-4-2 0 1,10-11 0-16,3-8 0 16,1-3 0-16,4-3 0 15,2-5 0-15,2 0 0 16,0 0 0-16,0-2 0 16,0 0 0-16,0 0 0 15,0-11 0-15,12-14-4027 16,20-5-6053-1</inkml:trace>
  <inkml:trace contextRef="#ctx0" brushRef="#br0" timeOffset="133665.82">16264 6064 19346 0,'0'0'4632'0,"0"0"-1864"0,0 0-683 15,0 0-832 1,0 0-330-16,-2 4-274 16,0-2-248-16,0 0-141 15,-2 5-66-15,2-3-96 16,-6 5-27 0,4 1-33-16,-4 5-14 0,2 2-11 15,4 6-7-15,-6 2-3 16,-6 7-1-1,4-2-1-15,-5 10-1 16,3-6 0-16,-2 2 0 16,-2 2 0-16,-1-4 0 15,0 2 0-15,2-9 0 16,3 1 0-16,1-3 0 16,0 3 0-16,-5-3 0 15,2-6 0-15,8-6 0 16,2 0 0-1,6-5 0-15,0-2 0 16,-2-1 0-16,2-1 0 16,20 3 0-16,-2-7 0 15,15-3 0-15,-1-5 0 16,-5-3 0-16,11 5 0 16,2-2 0-16,12-5 0 15,-13 4 0-15,4 9 0 16,7 0 0-16,-12 0 0 15,-11 2 0 1,-14-4 0-16,-9 4 0 16,1 2 0-16,-1-1 0 15,-6-2 0-15,2 4 0 16,0-3 0-16,-2-2 0 16,0 2-1810-16,0-2-3601 15</inkml:trace>
  <inkml:trace contextRef="#ctx0" brushRef="#br0" timeOffset="134598.89">16490 6394 32767 0,'0'0'0'16,"0"0"0"-16,5 5 0 16,7 3 0-16,-5-2 0 15,-5-2 0-15,4 1 0 16,-6-1 0-16,3-4 0 16,-1 4 0-16,0-2 0 15,-2-2 0-15,2 0 0 16,-2 0 0-1,0 0 0-15,0 2 0 16,2-2 0-16,-2 0 0 16,0 0 0-16,0 0 0 15,0 0 0-15,0 0 0 0,0 0 0 16,0 0 0-16,0 2 0 16,2-2 0-16,-2 5 0 15,4-3 0-15,-2 4 0 16,2 1 0-16,5 1 0 15,-7 0 0 1,5 5 0-16,-3-2 0 16,2 2 0-16,-2 3 0 15,0 4 0-15,-2 3 0 16,-2 2 0-16,5-1 0 16,5 1 0-16,-1 4 0 15,2 1 0-15,-5 2 0 16,4 2 0-16,-2 2 0 15,6 1 0 1,-8 0 0-16,0 1 0 16,-2-2 0-16,5 0 0 15,-5 0 0-15,3 0 0 16,-3 0 0-16,2 2 0 16,-6-8 0-16,2-1 0 15,0 3 0-15,3-4 0 16,-1 3 0-1,0-8 0-15,-4-8 0 16,2-4 0-16,-2-5 0 16,-2-4 0-16,4 3 0 15,-2-3 0-15,2-2 0 16,-2 0 0-16,0 2 0 16,0-2 0-16,0 0 0 15,0 0 0-15,0 0 0 16,0 0 0-1,0-2 0-15,0 0-2231 16,0-1-2706-16,0 1-2853 16</inkml:trace>
  <inkml:trace contextRef="#ctx0" brushRef="#br0" timeOffset="139331.89">16971 7304 22677 0,'0'0'3100'15,"0"0"-925"-15,0 0-705 16,0 0-411-16,0 0-328 16,0 0-208-16,0 0-197 15,0 0-99-15,0 0-69 16,4 4-34-16,-4 5-37 16,0 6-36-16,0-5-24 15,2 5-12-15,-2-2-7 16,4 4-4-1,-6-4-1-15,0 4-2 16,2-1-1-16,-2-1 1 16,2 2-1-16,2 2 0 15,-4-4 0-15,-2-4 0 16,2-1 0-16,0-6 0 16,2-4 0-16,0 3 0 15,2-3 0-15,6-13-485 16,3-11-3543-16,6-1-4317 15</inkml:trace>
  <inkml:trace contextRef="#ctx0" brushRef="#br0" timeOffset="140168.79">17299 6324 3683 0,'0'0'10253'16,"-2"0"-3558"-16,2 0-2361 16,-5 3-1457-16,3 3-912 15,0 2-670-15,-2 5-525 16,0 2-333-16,-6 0-210 16,3-3-117-16,0-4-56 15,7 1-26-15,2 4-10 16,3-7-9-16,2 5-4 15,-1-1-1 1,8 9-3-16,14 1 0 16,5-3 0-16,2 2-1 15,-1-2 0-15,2 3 0 16,2 6 0-16,2 0 0 16,5-8 0-16,-12 8 0 15,-1-1 0-15,10 3 0 16,-12-1 0-1,-1 7 0-15,-1-4 0 16,-18 5 0-16,-7 2 0 16,3 7 0-16,-6-8 0 15,-2 4 0-15,-9-2 0 16,-1-6 0-16,2 0 0 16,-8 0 0-16,1-9 0 15,-10-4 0-15,6-6 0 16,3-4 0-16,0-5 0 15,-4-4 0 1,1-4 0-16,-17-12 0 16,2 4 0-16,9-3 0 15,3-2 0-15,4-2 0 16,-2-2 0-16,1 2-1087 16,-5-3-2350-16,10-3-3228 15</inkml:trace>
  <inkml:trace contextRef="#ctx0" brushRef="#br0" timeOffset="140691.79">17266 6221 31133 0,'0'0'509'0,"0"0"-139"15,0 0-139-15,0 0-60 16,0 0-57-16,0 0-34 15,0 0-30 1,-3 1-11-16,3-1-13 16,7 5-6-16,7-1-9 15,14 0-4-15,7-1-3 16,6-1-3-16,-7-4 0 16,4-1-1-16,15 2 0 15,-3-4 0-15,-7 1 0 16,-9 1 0-16,8-1 0 15,-4 4 0 1,-1 0 0-16,-13-2 0 16,-4 0 0-16,-10 2 0 15,3 0 0-15,6 0 0 16,0 0 0-16,0 2 0 16,0 0 0-16,-4-2 0 15,-5 4 0 1,-1-1-2374-16,-5 1-4004 15</inkml:trace>
  <inkml:trace contextRef="#ctx0" brushRef="#br0" timeOffset="143559.12">18110 7159 32767 0,'0'0'0'0,"0"0"0"16,-2 10 0-16,-9 24 0 16,-4 6 0-16,-1 2 0 15,-6 1 0-15,9-7 0 16,7-3 0-16,2-3-806 16,4-7-1731-16,-7-3-4138 15,7-6-2501-15</inkml:trace>
  <inkml:trace contextRef="#ctx0" brushRef="#br0" timeOffset="144218.72">18406 6182 32767 0,'2'-1'0'0,"-2"-2"0"16,2-5 0-16,11-7 0 16,2 0-230-16,11-2-351 15,9 0-116-15,-7 4 590 16,4 3 60-16,6 6 365 15,12-3 266 1,-7 3-124-16,-9 6-286 16,17 3-95-16,-3 3-50 15,-14 1-18-15,-5 12-7 16,-5 4-2-16,-3 9-2 16,0 4 1-16,-8 9-1 15,-5-3 0 1,-2 11 0-16,-10 2 0 15,-4 9 0-15,0-3 0 16,-10 3 0-16,4 2 0 16,-3 6 0-16,-1-4 0 15,0 8 0-15,1-4 0 16,-2-4 0-16,4-6 0 16,3-14 0-16,5-10 0 15,2-14 0-15,3-13-577 16,-2-7-2226-1,4-4-1650-15,2-9-5757 16</inkml:trace>
  <inkml:trace contextRef="#ctx0" brushRef="#br0" timeOffset="144518.96">18645 6667 13549 0,'0'0'6591'0,"2"0"-2004"0,9 0-932 15,11 0-1385-15,11 3-1051 16,11-2-676-16,12 2-317 15,-10-3-147 1,5 2-49-16,10 0-18 16,-10-2-8-16,-13 2-3 15,6 4-2295-15,-5 1-1069 16,-7-1-4067-16</inkml:trace>
  <inkml:trace contextRef="#ctx0" brushRef="#br0" timeOffset="147356.9">20643 5891 24407 0,'-10'0'2715'0,"-6"1"-1151"16,8-1 145-16,6 3-824 16,-2-1-339-16,4 0-184 15,-6 9-95-15,6 14-101 16,2 3-86-16,2 5-42 16,-4 7-21-16,0-1-11 15,0 5-3-15,0-2-2 16,0 9 0-16,2-2-1 15,-2 0 0 1,0 8 0-16,-8-4 0 16,4 69 0-1,0-65 0-15,-7 1 0 16,4-12 0-16,1-3 0 16,6-14 0-16,-2-4 0 15,4-10 0-15,-2-6 0 16,2-3 0-16,0-4 0 15,-2-2-1209 1,4-2-1880-16,14-21-4867 16</inkml:trace>
  <inkml:trace contextRef="#ctx0" brushRef="#br0" timeOffset="148156.99">21054 5910 17873 0,'0'0'2208'16,"-2"0"-428"-16,2 0-258 15,-5 0-308-15,5 0-292 16,-2-3 48-16,2 3 39 16,0 0-268-16,0 0 67 15,0 0 167-15,0 0-52 16,0 0-318-1,0 4-136-15,0 9-123 16,0 2-154-16,0 6-84 16,2 3-54-16,3 3-27 15,-3 3-15-15,-2-3-7 16,2 3-3-16,0 6-1 16,3 0 0-16,-1-2-1 15,-4-3 0-15,0 3 0 16,0 0 0-16,2 0 0 15,2 2 0 1,-6-5 0-16,-2 8 0 16,-3-3 0-16,-1 2 0 15,5-2 0-15,6-4 0 16,-8 5 0-16,1 0 0 16,4-8 0-16,-2-1 0 15,2 2 0-15,0-12 0 16,0-5 0-1,-2 6 0-15,0-6 0 16,6-2 0-16,-2 4 0 16,-2-3 0-16,-2 11-1309 15,4-14-1140 1,0-3-2115-16,-2-2-2410 16</inkml:trace>
  <inkml:trace contextRef="#ctx0" brushRef="#br0" timeOffset="148796.63">21401 6771 30493 0,'0'0'694'16,"0"0"-129"-16,0 0-222 15,0 0-113-15,0 0-84 0,0 0-45 16,0 0-32-1,0 0-27-15,2 8-6 0,-2-3-17 16,2 5-7 0,-2 3-4-16,0 6-3 15,-2 2-3-15,2 4-1 16,0 7 0-16,-6 0-1 16,2 0 0-16,-1 4 0 15,3-2 0-15,-2-2 0 16,0-1 0-1,-2 1 0-15,-3-9 0 0,-6 0 0 16,-3-2 0 0,6-1 0-16,4-5 0 15,-4-1 0-15,-3-1 0 16,8-4 0-16,-3 1-2154 16,-1 5-10282-1</inkml:trace>
  <inkml:trace contextRef="#ctx0" brushRef="#br0" timeOffset="177043.53">26225 6337 13453 0,'0'0'3867'0,"-13"-4"-53"16,1 4-1261-16,-1-2-681 16,2-1-528-16,3 2-303 15,-1 1-160-15,5-3-336 16,2 3-43-16,-2-2 225 16,0 0 126-16,4 2-384 15,0-6-116-15,4-9-115 16,8-9-99-16,7 1-74 15,3-2-36 1,6-5-16-16,5 5-7 16,9-5-4-16,-6 3-1 15,-4 1-1-15,9 12 0 16,9-5 0-16,-5 8 0 16,-5 7 0-16,-4 4 0 15,15 8 0-15,2 9 0 16,-23-6 0-16,-4 10 0 15,-4 6 0 1,1 9 0-16,-10 7 0 16,-6 3 0-16,-17 5 0 15,-13 12 0-15,-4-3 0 16,-14 9 0-16,-3 6 0 16,-9-5 0-16,7-3 0 15,7-3 0-15,6-5 0 16,-5-8 0-16,8-7 0 15,9-16 0 1,2-1 0-16,-2-3 0 16,8-9 0-16,0-3 0 15,-3-1 0-15,0-1 0 16,0-3 0-16,-6 1 0 16,7-3 0-16,1 1 0 15,4-2 0-15,0 0 0 16,6-2 0-16,2-2 0 15,2 0 0 1,8 0 0-16,22 0 0 16,21-4 0-16,7-4 0 15,9-1 0-15,-6 1 0 16,1 1 0-16,1 3 0 16,1 2 0-16,-19 2 0 15,1 4 0-15,-8 5 0 16,-2-1 0-16,-6 1 0 15,-5 1 0 1,-14-4 0-16,-3 3 0 16,0 2 0-16,-6-5 0 15,0 0 0-15,0 3 0 0,-4-3 0 16,4 3 0-16,2 1-1732 16,-8 1-3840-16,-4 1-5174 15</inkml:trace>
  <inkml:trace contextRef="#ctx0" brushRef="#br0" timeOffset="193518.45">27214 7021 6790 0,'0'0'2846'0,"0"0"-5"16,2-3-284-16,0-3-823 15,2-2-538-15,2-1-183 16,2-1 489-16,-6 7-50 16,1 2-12-16,2-3-201 15,-5 4 1-15,0 0 258 16,0 0 425-16,-12 4-326 15,2 4-713 1,2-2-430-16,2 3-201 16,-1 1-111-16,0-1-68 15,1-1-34-15,0 1-17 16,-3-1-9-16,3 1-8 16,2-1-2-16,-2 3-2 15,-6 3 0-15,2 2-2 16,2-2 1-1,-5 3-1-15,4-4 0 16,1 0 0-16,2 6 0 16,-3-2 0-16,-1-1 0 15,-7 4 0-15,2-3 0 16,3-3 0-16,2 1 0 16,4 0 0-16,0-3 0 15,-6 5 0-15,-1-4 0 16,2-2 0-1,5-1 0-15,-3-1 0 16,-1 1 0-16,6-3 0 16,0-3 0-16,4 0 0 15,-2-2-244-15,2 0-2068 16,0-2-3000-16</inkml:trace>
  <inkml:trace contextRef="#ctx0" brushRef="#br0" timeOffset="201059.83">27630 6263 1890 0,'0'0'8945'0,"0"0"-2739"16,0 0-1847-16,0 0-1442 15,0 0-1213 1,0 0-823-16,0-4-1000 15,-4 2-97-15,-6-7 135 16,-7 5 381-16,4 0 669 16,2 2 39-16,1-1 361 15,6 3-332-15,0-1-448 16,0 1-211-16,4 0-172 16,0 0-39-16,18-7-33 15,10-2-65-15,5-5-37 16,1-1-18-1,13 0-9-15,-5 2-2 16,7 5-3-16,15 6 1 16,-3-4-1-16,-19 10 0 15,7 4 0-15,-13 5 0 16,0 6 0-16,-13 10 0 16,-15 3 0-1,-6 11 0-15,-8-1 0 0,-10 2 0 16,-10-1 0-1,1-1 0-15,-9-6 0 16,0-2 0-16,-21 4 0 16,12-17 0-16,11-6 0 15,12-9 0-15,7 1 0 16,2-3 0-16,7-4 0 16,4 0 0-16,2-4 0 15,9-11 0-15,2-4 0 16,9-4 0-1,10 1 0-15,11 1 0 16,-7 4 0-16,-11 5 0 16,13 5 0-16,2 5 0 15,1 4 0-15,-20 5 0 16,0 5 0-16,-9 3 0 16,4 6 0-1,-2 7 0-15,-11-3 0 0,1 0 0 16,0 11 0-1,-4-4 0-15,-4 4 0 16,4-2 0-16,-2-6 0 16,-7 1 0-16,-3-2 0 15,-8 1 0-15,-5-2 0 16,-15 1 0-16,2-6 0 16,0-6 0-16,-23-7 0 15,-1 5 0 1,11-4 0-16,-10-5 0 15,5-4 0-15,12-2 0 16,17 0 0-16,-7-3 0 16,0 0 0-16,7-4 0 15,1-2 0-15,5 3 0 16,10-1 0-16,3-2 0 16,6-5 0-16,8-3 0 15,4-3-3709-15,12-3-6778 16</inkml:trace>
  <inkml:trace contextRef="#ctx0" brushRef="#br0" timeOffset="201678.82">28428 6902 32767 0,'-2'0'0'15,"2"0"0"-15,0 0 0 16,0 0 0-16,0 0 0 16,0 0 0-16,0 0 0 15,0-2 0-15,0 2 0 16,0 0 0-1,0 0 0-15,0 2 0 16,2 11 0-16,-4 4 0 16,2 6 0-16,-2-1 0 47,-2-2 0-47,-2 10 0 0,4 2 0 0,-9 8 0 0,5-8 0 15,-3 2 0-15,7 0 0 0,-9 3 0 16,7 2 0-1,-4-6 0-15,0-1 0 16,-6-2 0-16,-2-3 0 16,3-7 0-16,11-12 0 15,2-4 0-15,0 0 0 16,2-4 0-16,13-2 0 16,1-12 0-16,2-12 0 15,-8-6-7365-15</inkml:trace>
  <inkml:trace contextRef="#ctx0" brushRef="#br0" timeOffset="210326.39">29444 6373 27354 0,'-2'-6'562'0,"4"-15"853"16,5-1 54-16,2-1-563 15,-1 0-663-15,-4 2-619 16,0-2-281-1,-2-3 189-15,-12 3 125 16,-10-3 489-16,-13 5 891 16,-9 6-123-16,1 5-573 15,5 6-211-15,-10 4-72 16,-5 4-35 0,9 4-15-16,8 0-5 0,17 3-2 15,4 6-1 1,0 8 1-16,3 3-1 15,0 4 0-15,0 0 0 16,6-1 0-16,6-1 0 16,2-1 0-16,2-3 0 15,4-5 0-15,0-4 0 16,1-2 0-16,12 2 0 16,18-2 0-16,-3-5 0 15,-5-3 0-15,9-3 0 16,3-2 0-16,1 0 0 15,-1-6 0 1,-11 0 0-16,0-5 0 16,-15 1 0-16,-4-3 0 15,4-4 0-15,-5-6 0 16,-3 0 0-16,-2 2 0 16,-3 0 0-16,0 0 0 15,2 0 0 1,0 4 0-16,-8 4 0 15,4-1 0-15,0 5 0 16,-4 1 0-16,0 4 0 16,0-2 0-16,-4-3 0 15,4 3 0-15,2 2 0 16,-4-2 0-16,2 4 0 16,0 0 0-16,0 0 0 15,0-3 0-15,2 1 0 16,-2 2 0-16,0 0 0 15,0 0 0 1,0 0 0-16,0 0 0 16,0 0 0-16,0 2 0 15,0-2 0-15,0 3 0 16,2 3 0-16,2 5 0 16,0-1 0-16,0 7 0 15,5 4 0 1,-3 9 0-16,5 4 0 15,4 0 0-15,-5 2 0 16,0 1 0-16,-6 8 0 16,0-1 0-16,0-4 0 15,-4 3 0-15,-4 2 0 16,0 1 0-16,-8-12 0 16,-5 6 0-16,-2-6 0 15,-6 0 0-15,-11 2 0 16,0-9 0-1,7-1 0-15,1-1 0 16,-4-2 0-16,-9 3 0 16,7-7 0-16,3 2 0 15,14-2 0-15,4-4 0 16,3-3 0-16,8-7 0 16,0-3 0-16,-2 3 0 15,0-5 0-15,4 0-2020 16,2-3-3202-1,12-14-6189-15</inkml:trace>
  <inkml:trace contextRef="#ctx0" brushRef="#br0" timeOffset="210778.21">29891 7071 29244 0,'0'0'1363'0,"0"0"-689"16,-3 0-172-16,3 3-152 16,-4 3-71-16,2 20-90 15,-2-1-99-15,-2-4-51 16,-2 11-18-1,4 4-12-15,-1 6-5 16,-1-8-2-16,-5-5-1 16,3-5-1-16,-3-3 0 15,7-4 0-15,0-7 0 16,-12 10-322-16,-2-8-8487 16</inkml:trace>
  <inkml:trace contextRef="#ctx0" brushRef="#br0" timeOffset="-176719.68">4470 8020 32767 0,'0'0'0'0,"-2"0"0"16,0 0 0-1,-4-2 0-15,3 2 0 16,-1-3 0-16,-3 3 0 16,5 0 0-16,2 0 0 15,0 0 0-15,0 0 0 16,0 0 0-16,0 0 0 16,0 0 0-16,0 0 0 15,0 0 0-15,-2 0 0 16,2 0 0-1,0 3 0-15,-2 1 0 16,0 2 0-16,-4 7 0 16,-4 2 0-16,-14 4 0 15,3 2 0-15,-3 4 0 16,2 5 0-16,-6 2 0 16,-6 2 0-16,-7 2 0 15,12 1 0-15,-1 12 0 16,5 2 0-1,0-4 0-15,-5 8 0 16,9-2 0-16,1-5 0 16,4 1 0-16,0-2 0 15,8 3 0-15,2-7 0 16,10 7 0-16,10 1 0 16,-6 2 0-16,4-6 0 15,3 10 0-15,2 0 0 16,6-4 0-1,1 4 0-15,3 4 0 16,-6-10 0-16,11 9 0 16,13 7 0-16,1-3 0 15,-11-7 0-15,10 9 0 16,13-3 0-16,-3-6 0 16,-9 5 0-16,13-3 0 15,3-8 0-15,-7 2 0 16,13 2 0-16,-1-15 0 15,-8 4 0 1,9-1 0-16,-3-5 0 16,6-2 0-16,3-6 0 15,-7-3 0-15,8-1 0 16,-3-8 0-16,-5-3 0 16,4-7 0-16,6-5 0 15,0-3 0-15,-7-8 0 16,8-3 0-1,0-6 0-15,-6-7 0 16,9 1 0-16,-8-2 0 16,4-9 0-16,-3-2 0 15,-19-2 0-15,0 0 0 16,3-5 0-16,-18-7 0 16,-9-10 0-16,5 1 0 15,2-11 0-15,-6 5 0 16,-1-8 0-1,-11-4 0-15,-6 0 0 16,-3-1 0-16,-4-2 0 16,-1-7 0-16,0-2 0 15,-1 6 0-15,-5 0 0 16,-7 1 0-16,1-5 0 16,2 9 0-1,-9 0 0-15,-6 6 0 16,-1-3 0-16,-13-1 0 15,-5 2 0-15,0 9 0 16,8 1 0-16,-11 3 0 16,-19-5 0-16,7 7 0 15,6 6 0-15,-15-4 0 16,1 0 0-16,4 14 0 16,-7-5 0-16,5 3 0 15,-3 3 0-15,-9 2 0 16,20 4 0-1,-2 2 0-15,-23 0 0 16,18 4 0-16,-7 11 0 16,-17-4 0-16,16 10 0 15,-14 5 0-15,8 4 0 16,0 4 0-16,-10 4 0 16,-3 2 0-16,2 7 0 15,0 8 0 1,-3 4 0-16,5 5 0 0,-12 13 0 15,8 9 0 1,-12 14 0-16,12 25 0 16,-4 4 0-16,11 7 0 15,4 18 0-15,8-1-2318 16,5 4-7549-16,19 8-5043 16</inkml:trace>
</inkml:ink>
</file>

<file path=ppt/ink/ink7.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0:57:52.537"/>
    </inkml:context>
    <inkml:brush xml:id="br0">
      <inkml:brushProperty name="width" value="0.05292" units="cm"/>
      <inkml:brushProperty name="height" value="0.05292" units="cm"/>
      <inkml:brushProperty name="color" value="#FF0000"/>
    </inkml:brush>
  </inkml:definitions>
  <inkml:trace contextRef="#ctx0" brushRef="#br0">5592 6216 5509 0,'-3'0'3137'0,"-3"0"-349"16,-4-2-496-16,4 2-715 15,-1 0-118-15,-2 2-457 16,5-2-487-16,4 0-307 15,-2 0-744-15,2 0-176 16,0 0-35-16,10-4 41 16,0-2 292-1,6-1 129-15,-3 3 225 16,-3 0 72-16,1 2 209 16,0 2 90-16,1 0 97 15,-4 2 45-15,29 4 1143 16,-16-1-943-1,-4-3-100-15,2-2-251 16,0 0-92-16,-7 0 312 16,4 2-1-1,-2 0 35-15,7-2-251 16,7 4-145-16,-9 0-126 16,2 1-17-16,2-1 8 15,-3 2-13-15,-6-3 321 16,4 5 319-16,-4-4-114 15,7-2 208-15,11 0-229 16,-6-4-373-16,3-2 17 16,1 0-217-1,-9-2 15-15,-2 3-42 16,0 1-7-16,32 7 208 16,-20-5 19-1,-5 0-45-15,-1 0-16 16,5 0-21-16,0 0-85 15,1 0 53-15,5 0-87 16,-4 0 74-16,-2-5-6 16,-9 5 183-1,9 0-307-15,6 2 8 16,-3 1 66-16,5-3 102 16,-10 0-70-16,4 0 43 15,3 0 41-15,8 0 18 16,-1-7 25-1,-4 5-126-15,3-5 45 0,7 7-78 16,1-4 48-16,-9 0 57 16,-4-2-55-1,11 6-121-15,33-5 137 16,-50 5-71 0,13 0 26-16,-4 3 73 15,1-3-67-15,3 0 108 16,-13 2-93-16,4 2 40 15,6 0 18-15,0 0-33 16,-9-4-85-16,-1 0 72 16,4 2 34-1,11 2 33-15,-9-1 29 16,19-3-54 0,-28 0-37-16,15 0-25 15,-2 2 7-15,-6-4 21 16,-4 2-63-16,-1-3 26 15,10 6 126-15,1-3-44 16,2-4-16-16,-10 1-46 16,9-1-77-1,1 4 104-15,2-2-54 16,-13-2-91-16,4 4 29 16,3 2 166-16,6 2-25 15,3-4-51-15,-17 4 89 16,-12-1-183-16,10 1 62 15,6-2 89-15,1 5-50 16,6-7 15-16,-13 0 40 16,4 1 145-1,1 2-298 1,14-3 129-16,0-4-83 0,-14-1 10 16,-1 3 21-16,8 0 84 15,-1 2-42-15,-5-4-108 16,-1 1 119-16,-1 1-5 15,0 2-73-15,8-2 2 16,5-2 21-16,-7 0 87 16,-13 0-97-1,9 1-5-15,4 1 73 16,4-2 16-16,-8 0-55 16,-5 1-56-16,3 3 66 15,0-1-44-15,4-2-20 16,0 3 104-16,-4-1-86 15,8-2 38-15,0 3-4 16,-1-4 56-16,-4 2-89 16,3-2 131-16,-6 4-96 15,2-2-1 1,0 2-2-16,-9-3 122 16,11 3-7-16,-15 3-54 15,11 1 80-15,8 0-21 16,-6-4-165-16,1 4 210 15,-7-4-222-15,0 3 68 16,4-2-60-16,-5 2 80 16,1-2-16-1,4-1 9-15,-3 3 5 16,-3-1-35-16,1 2 22 16,7 0 65-16,6 1-65 15,-4-5 102-15,-3 2-106 16,-2 2 49-16,15-2-34 15,-4-4 3-15,-7 0-19 16,1 0-43-16,4 0 95 16,15 2-77-1,-13-2-11-15,-6 2 110 0,5 2-50 16,9-2-19 0,-7 0 28-16,3-2 132 15,5 2-27-15,-1 0-33 16,-1-3 66-16,-11 3 34 15,5 5-66-15,-1-7-53 16,5 4 119-16,3-2-29 16,-3 0-119-1,11 2-103-15,-20-4-34 16,2 2 98-16,-5 0 2 16,12 2 60-16,-7-4-17 15,-2 2-102-15,5-2 93 16,3 2 1-16,7-3 1 15,1-1 79-15,-6 4-213 16,-3-2-36-16,-5-2 6 16,13 1 56-16,-7 2 125 15,5-3-172 1,0 1 55-16,-3 3 41 16,1 0 175-16,-7-4-38 15,7 2-7-15,4 0-24 16,-6-2-73-16,6-3-46 15,-11-1 4-15,4 3 20 16,-5 1-31-16,7-2 27 16,-5-1-86-1,-7 6 118-15,15-4-87 0,-1 1 86 16,-5 0-49 0,-5 6 59-16,9-4-72 15,1 0 130-15,-7-5 4 16,-7 7-35-16,4 0-10 15,7-6-121-15,-7-2 88 16,0 1 33-16,-7 7-119 16,21-8 25-16,-10-5 113 15,-1 5-155-15,1 1-20 16,15 1 48 0,-8-1 23-16,-7 3 8 15,5 4 2-15,-1 0-38 16,-5-4 5-16,-5 2 155 15,-2 2-242-15,7-4 130 16,-7-1 50-16,6-3-52 16,-9 3 88-1,7-1-71-15,5 0 104 16,-13 0-210-16,10 1 47 16,-14 3-13-16,13 4 141 15,-1-2-171-15,4 5-149 16,-9-3 125-16,0 4 60 15,-5 0 150-15,-6-2-182 16,2-1-47-16,-7-3 120 16,7 2 170-16,-8 0-141 15,8-2 21-15,0 5-8 16,7-5-76 0,1 4-52-16,-2-4-3 15,-3 0-74-15,-1 6-102 16,2-2-90-16,-3-2-439 15,-5-2-926-15,-6-2-3042 16,2 0-3241-16</inkml:trace>
  <inkml:trace contextRef="#ctx0" brushRef="#br0" timeOffset="5109.59">8568 6925 3748 0,'0'0'3894'0,"-2"-4"-2282"16,-3-2-942-16,-3 0-1201 15,4-1-908-15,-1-1-391 16,1 3 252-16,-2-1 481 16,-2 2 583-16,-4 0 491 15,6 4 332 1,-4 0 192-16,4 0 649 16,0 2 1525-16,-1-2 303 15,-2-2-140-15,5 2 148 16,-2-3 564-16,-1 1-1215 15,1 0-567-15,4 2-534 16,-2-2-303-16,0 2-530 16,4-2-272-16,0 2-220 15,0 0-142 1,0 0 137-16,0 0 24 16,8 6 391-16,-2-1-12 15,7 1 174-15,6 1 191 16,-8-3-105-16,-3 0-199 15,7 2-119-15,-4-4 18 16,-1 3-60-16,9-1 41 16,9 2 32-16,4-4-115 15,-9-2-30 1,2 0 83-16,2 0-167 16,1 2 61-16,0 0-28 15,3 1-80-15,-5-3 32 16,6 0-126-16,-13 0 86 15,2 0 2-15,0-3 18 16,7 3-61-16,3-2 97 16,-5 2-100-16,2-4 61 15,-4 4 10 1,-4-2-62-16,-8 2 66 16,20 0-118-16,2 0 143 15,-9 0-84-15,12 0 91 16,-1 0-34-16,-14 0-15 15,8-2 48-15,-3 2 21 16,5 0-25-16,-2-2-49 16,-3 2-2-16,7 2-132 15,-12 0 97 1,3 0 33-16,-1 0 34 16,12-2-17-16,-9 0-83 15,1 2 160-15,-8 0-38 16,10 1-45-16,4-3-61 15,2 1 102-15,-7 2-50 16,3-1 71-16,0-2-60 16,-9 4 9-16,7-2 41 15,-15 0-39 1,-3-2 31-16,-3 3 54 16,-2-3 44-16,-3 0 41 15,0 0-256-15,-4 0-754 16,0 0-719-16,0 0-2713 15,2 0-4318-15</inkml:trace>
  <inkml:trace contextRef="#ctx0" brushRef="#br0" timeOffset="24765.29">5967 11242 6054 0,'0'0'122'15,"0"0"317"-15,4 1 1425 16,-2 2-447-16,6 1-223 15,5-2-213-15,-5 0-369 16,7 0-94-16,8 0-187 16,-1-2-222-16,5-2-37 15,7 0-38 1,-2 2 54-16,-11-2-54 16,15 4 133-16,0-2 186 15,0 0 72-15,13 0 4 16,5-2-139-16,-3 0-7 15,0-5 3-15,0 3-79 16,2 2 14-16,46-6 191 31,-40 9-224-31,-5-1 142 16,-8 0-15-16,9 3-191 16,-2-1 206-16,-2-4-32 15,-5 2-29-15,3 2 34 16,7-4 123-16,0-2-148 15,-5 1-20-15,4 2-61 16,1-2 102-16,-4-1-275 16,7 2 131-1,-2 0-246-15,-5-2 241 16,0 4-216-16,16-3-23 16,-8 1 143-16,-4 2 89 15,7 2-218-15,-7-2 276 16,-7 0 49-16,12 3 267 15,-2-3-48-15,-6 6 284 16,6 0-346-16,-2 1 1 16,3-3-450-1,3 2 27-15,-4 1-73 16,-9-1 18-16,2 0 145 16,3 1-68-16,-4-3-64 15,13 2 182-15,-3 2 108 16,60 5-164-1,-54-6 8-15,-14 1-155 16,72 7 53 0,-75-9-7-1,4 1-41 1,13-5 45-16,-12 4-23 0,1 1 95 16,15 1 16-16,-11-6-124 15,-3 2 82-15,15-1-119 16,-11-3 132-16,-6 1 0 15,18-1-19-15,-4 0-95 16,-5 0 142-16,-1 0 45 16,-1 0-90-1,7-1 120-15,-1 1-47 16,-2 0-16-16,10 0-90 16,-13-5 13-16,7 5-61 15,72-4 146 1,-66 4 306-16,-5-2-116 15,-2 6 57-15,3-4 148 16,-7 2-279-16,16 3 28 16,-11-5-49-1,0 0-52-15,4-5-38 16,-9 3 48-16,12-2-42 16,-7-2 89-16,-1 3-78 15,10-5-23-15,1 2 147 16,5-1-133-16,-6-1 354 15,-4-3-352-15,4 3-20 16,9-5 63-16,-7 2 101 16,-2 5 35-1,10-2 63-15,4-1 218 0,-9 1-149 16,-6 2-132 0,7-3-74-16,3 1-71 15,1-1-45-15,2 0 282 16,5 3-120-16,-7 0-109 15,-6 1-74-15,1-3-111 16,10 6 308-16,-13 0-97 16,0 0-46-16,-7-2 270 15,5-1-45 1,-1-1-232-16,-4 8-77 16,4-4-21-16,-14 2-8 15,-11-2-2-15,17 2 0 16,-14 2-1-16,-24-2-746 15,0-4-925-15,3 8-367 16,-9-2-1037-16,-2-4-2241 16,-9 2-2624-16</inkml:trace>
</inkml:ink>
</file>

<file path=ppt/ink/ink8.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1:21:41.623"/>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
    <inkml:brush xml:id="br2">
      <inkml:brushProperty name="width" value="0.05292" units="cm"/>
      <inkml:brushProperty name="height" value="0.05292" units="cm"/>
      <inkml:brushProperty name="color" value="#0070C0"/>
    </inkml:brush>
    <inkml:brush xml:id="br3">
      <inkml:brushProperty name="width" value="0.05292" units="cm"/>
      <inkml:brushProperty name="height" value="0.05292" units="cm"/>
      <inkml:brushProperty name="color" value="#00B050"/>
    </inkml:brush>
    <inkml:context xml:id="ctx1">
      <inkml:inkSource xml:id="inkSrc183">
        <inkml:traceFormat>
          <inkml:channel name="X" type="integer" max="32767" units="cm"/>
          <inkml:channel name="Y" type="integer" max="32767" units="cm"/>
          <inkml:channel name="T" type="integer" max="2.14748E9" units="dev"/>
        </inkml:traceFormat>
        <inkml:channelProperties>
          <inkml:channelProperty channel="X" name="resolution" value="2047.9375" units="1/cm"/>
          <inkml:channelProperty channel="Y" name="resolution" value="3640.77783" units="1/cm"/>
          <inkml:channelProperty channel="T" name="resolution" value="1" units="1/dev"/>
        </inkml:channelProperties>
      </inkml:inkSource>
      <inkml:timestamp xml:id="ts1" timeString="2022-01-18T11:43:22.477"/>
    </inkml:context>
    <inkml:brush xml:id="br4">
      <inkml:brushProperty name="width" value="0.05292" units="cm"/>
      <inkml:brushProperty name="height" value="0.05292" units="cm"/>
      <inkml:brushProperty name="color" value="#7030A0"/>
    </inkml:brush>
    <inkml:brush xml:id="br5">
      <inkml:brushProperty name="width" value="0.05292" units="cm"/>
      <inkml:brushProperty name="height" value="0.05292" units="cm"/>
      <inkml:brushProperty name="color" value="#FFC000"/>
    </inkml:brush>
  </inkml:definitions>
  <inkml:trace contextRef="#ctx0" brushRef="#br0">20002 637 29244 0,'0'0'-93'0,"5"2"-1658"16,11 15-951-16,14 8 879 16,3 5-1439-1,-3 10-1287-15,-10 0-495 16,-2 7 2595-16,-7-5 1540 15,-3-2 526-15,1-10 239 16,-11-13 323-16,-1-8 1450 16,1-3 945-16,0-2-522 15,-6-4 379-15,-13-10 39 16,-9-26-2102-16,2-7-548 16,1-14 153-16,8-11 688 15,10 5 391 1,9 3-219-16,0 10-426 15,13 10-111-15,6 14 541 16,6 3 441-16,9 6-859 16,7 7-265-16,-5 11-2 15,25 14-100-15,-15 2-155 16,-1 23 104-16,13 16-441 16,-18-2-982-16,2 1 199 15,-25-8 83 1,2-9 789-16,-24-13 453 15,14-5 57-15,-11-8 2 16,13-1-89-16,-11-11 47 16,0 0-71-16,-2-4 365 15,-2-24-923-15,-10-10-423 16,2-8 1561-16,-5-16 209 16,10 14 404-1,3-10-62-15,15 10-678 16,0 9-12-16,3 12 582 15,4 10-230-15,-2 6-99 16,7 5-80-16,11 8-45 16,15 13-101-16,-13 6-185 15,4 19 103-15,-10 13-49 16,-7 2-566-16,1-2-1224 16,-6 0-1367-1,-12-15-3245-15,8-8-2676 16</inkml:trace>
  <inkml:trace contextRef="#ctx0" brushRef="#br0" timeOffset="436.66">21211 351 29180 0,'-15'0'1778'0,"-11"7"-1490"16,-16 18-519-16,18 9-46 15,-1 23-939-15,9 13-569 16,-10 6 254-16,22-19-544 16,4-8-697-1,14-15-1128-15,6-13-63 16,-1-8 2090-16,11-7 1193 15,1-12 2560-15,7-14 274 16,-8-9 868-16,-4-11-1156 16,-1-7-1101-16,2-8-745 15,-12 0-2030-15,5-9 2374 16,-8 11-1089-16,-12 17 1496 16,0 19 1249-1,0 9-92-15,-2 4-550 16,-6 8-287-16,-14 28-295 15,14 14-460-15,-3 12-116 16,11 12-97-16,0-16-906 16,11-9-3172-16,-7-9-4425 15</inkml:trace>
  <inkml:trace contextRef="#ctx0" brushRef="#br0" timeOffset="813.21">21676 311 23254 0,'-4'-2'1504'0,"-19"-2"-319"16,-5 10-441-16,-4 9-94 16,1 4-659-16,-3 4-396 15,15-4-360 1,4 0-1335-16,13-4 180 15,4 0-134-15,22 4 625 16,2-4 111-16,9-5 851 16,-12-1 884-16,6 3 1641 15,18 7 904-15,-15 5-1339 16,0 1-821-16,0 1-323 16,-16-3 53-1,-11 4-36-15,-5 7-59 16,-15-2 429-16,-15 8-78 15,-6-10-284-15,-4-5-508 16,-5-4-837-16,-5-4-1146 16,1-13-3004-16,7-8-3619 15</inkml:trace>
  <inkml:trace contextRef="#ctx0" brushRef="#br0" timeOffset="1046.96">21765 133 20083 0,'0'0'3390'0,"0"0"-960"16,7 2-1113-1,7 19-242-15,11 30-465 16,5 15-771-16,-8 12-1340 15,-24 9 519-15,6-1-74 16,-4-7-4366-16,-2-13-1535 16</inkml:trace>
  <inkml:trace contextRef="#ctx0" brushRef="#br0" timeOffset="1801.51">21754 503 1569 0,'0'0'7614'15,"0"0"-1330"-15,11-2-1459 16,10-2-2043-16,16 2-1826 16,19-6-3282-16,-9-5-433 15,-3-4 1778 1,-16 2 749-16,15-6 200 15,-3-2 1494-15,-11-1 1056 16,3 3 18-16,-18 4-371 16,-2 3-484-16,-8-3-666 15,-6 0-589-15,-7 6-366 16,-25 5-226-16,-6 12-196 16,-6 17 6-16,9 13 349 15,8 22-250 1,10 7 168-16,5 3 254 15,8-7-933-15,18-12-771 16,12-7-1766-16,2-8 32 16,23-5 783-16,-1-13 663 15,-1-14 725-15,-7-11 622 16,17-14-375-16,-6-7 223 16,-3-6 893-16,-16-6 765 15,0-18 813 1,0 3-586-16,-13 2-822 15,-4 11-623-15,-8 18 163 16,1 10 242-16,-4 9-153 16,-2 3 37-16,0 2-426 15,2 2-835-15,3 13-2716 16,5 12 742-16,1 3 394 16,2 8 212-16,7 4 1152 15,-20 2 1867 1,6 1 1228-16,-10-10 1555 15,4-1 1162-15,-6-8-227 16,6-10-82-16,-6-1-1349 16,-8-4-586-16,0-5-83 15,-11-11-528-15,-3-16-484 16,3-11-420-16,-2-27 221 16,5 4-97-16,22-72-423 31,14 82-344-31,16 5-19 15,5 6-6-15,5 12-4 16,27 14-2038-16,-2 5-2297 16,-1 8-6394-16</inkml:trace>
  <inkml:trace contextRef="#ctx0" brushRef="#br0" timeOffset="156230.6">1489 8556 32767 0,'0'0'0'16,"0"0"-467"-16,0 0-1665 15,4 1-3807-15,-1 2-2368 16</inkml:trace>
  <inkml:trace contextRef="#ctx0" brushRef="#br0" timeOffset="156388.64">1515 8460 32767 0,'0'0'0'0,"0"0"0"15,0 0 0 1,0 0-2209-16,0 2-5549 15</inkml:trace>
  <inkml:trace contextRef="#ctx0" brushRef="#br0" timeOffset="-191065.85">1310 3998 25592 0,'0'0'-694'16,"-5"8"-832"-16,-5 22 981 15,4 12 841 1,2 14-48-16,10 13-90 0,2 10-215 16,9 12-53-1,2 2-197-15,4 17-819 0,1-4 358 16,-8 12-253-16,-7 5 233 16,6 6 784-1,-2 11-120-15,-5 2 95 16,2 8 395-16,2 11 1076 15,4 6 9-15,-4 5-233 16,4 10-399-16,-4-5-477 16,5 14-143-16,-8 14 49 15,0-10-99-15,3 17-68 16,0-3-118 0,0 5 30-16,-4 12-153 15,-6-10 185-15,0 11 270 16,-8 3-31-16,4 10 447 15,8-14 228-15,2 9-243 16,5 4-471-16,-5 0-27 16,-1 3 155-16,1 1-213 15,-1 7 526-15,-5-8 217 16,-2-6-98 0,2 14-491-16,4-5 236 15,2-1-416-15,-4 6 39 16,-4-2-262-16,4 10 145 15,8 0 185-15,-2-8-186 16,-8 3-29-16,2-7-5 16,12 8-1-16,-2-6 0 15,-7-3 0-15,-1 3 0 16,2-9 0 0,-2 1 0-16,-1 9 0 15,-7-8 0-15,4 1 0 16,-2 3-882-16,3-6-807 15,-3-22-90-15,0-10-996 16,4-8-1625-16,-11-23-2421 16,2-20-1919-16</inkml:trace>
  <inkml:trace contextRef="#ctx0" brushRef="#br0" timeOffset="-189948.92">4963 5114 27226 0,'-6'23'-1464'0,"8"38"173"16,4 50 1362-16,-4 11 620 15,15 3-565-15,9 11 101 16,-12 16-322-16,4 4 174 15,-10 12 14-15,4 10-149 16,1 8 44-16,-8 6-94 16,14 12 60-16,-13-3 37 15,4 10 217 1,-3 3 197-16,2 9 645 16,-3 11 227-16,-2 1-237 15,-8 13-139-15,-4 4-269 16,-4-1-691-16,10 15-85 15,-4 2-14-15,4 5-56 16,0-6 316-16,-2 16-739 16,-9-8 568-16,7 20 278 15,-5-18 38 1,-4 11 118-16,3 2 699 16,-8-7-389-16,4 3-301 15,1-2-319-15,4 8-46 16,-4-2-8-16,-8 7-1 15,-6 1 0-15,3-8 0 16,3-2 0-16,-1-3 0 16,-1-1 0-16,2-8 0 15,4-1 0 1,10-3 0-16,0 5 0 16,-5 7 0-16,2-4 0 15,0 5-191-15,8-5-869 16,-15-13-73-16,9-13-91 15,-3-18-1475-15,9-18-1273 16,-15 115-12285 0</inkml:trace>
  <inkml:trace contextRef="#ctx0" brushRef="#br0" timeOffset="-188922.48">2895 3530 21717 0,'0'0'437'0,"10"22"-44"16,6 20 1119-16,7 13-536 15,-6 19-307-15,-2 19-407 16,-7 21-183-16,2 16-640 16,-8-23-974-16,-8-22-3488 15,0-11-4651-15</inkml:trace>
  <inkml:trace contextRef="#ctx0" brushRef="#br0" timeOffset="-188313.6">2703 3560 29756 0,'-2'-15'-1219'16,"12"-23"-41"-16,13 0 291 15,81-47 490 1,-41 51 558-16,22 5-144 16,-21 7-209-16,1 14-1110 15,5 2-1473-15,-4 15-212 16,-14 16 769 0,-13 6 1150-16,-20 7 310 15,-11 3 606-15,-16 3 317 16,-22 3 359-16,-8-9 966 15,-25 9-21-15,-7-3 569 16,15-6-713-16,6-4 925 16,11-13-1275-16,-2 0-634 15,21-13-1106-15,8-1-453 16,9-5-357 0,6 6 288-16,28 5 352 15,6 0 945-15,15 2 83 16,13 6 294-16,3 2 35 15,24 9-270-15,-29-2 99 16,-7 3-306-16,0 8 91 16,-23-3 31-16,4 4 10 15,-23-4 427-15,-11 1 795 16,-6-2 1594 0,-4-5-410-16,-33 8-440 15,-5-16-758-15,-11-1-718 16,-27-6-349-16,-14-7-300 15,12-3-849-15,9-9-108 16,20-4-2362-16,-6-11-1899 16,25-5-3407-16</inkml:trace>
  <inkml:trace contextRef="#ctx0" brushRef="#br0" timeOffset="-187799.98">4108 3926 25016 0,'-7'-4'3315'16,"-16"-13"-1393"-16,-9 7-1676 15,-2 5-212-15,-14 15-79 16,-17 14-641-16,10 14-866 16,3 13-153-16,15 10 510 15,-1-1 237-15,12-12-1615 16,13-7-145-16,20-8 620 16,7-7 902-16,16-3 246 15,8-15-620 1,1-1-1121-16,17-9 311 15,1-17 943-15,-29-2 628 16,8-14 402-16,1-7 249 16,-6-4 327-16,3-7 759 15,-18 0 3126-15,-12 10-1478 16,-4 12-85 0,0 14-177-16,-4 8-872 15,-4 8 302-15,-15 11-7 16,-5 13-190-16,10 9-293 15,16 6-598-15,0 4-103 16,6 3 94-16,4 4-46 16,17-9-1015-16,7-8-4049 15,6-9-5363-15</inkml:trace>
  <inkml:trace contextRef="#ctx0" brushRef="#br0" timeOffset="-187528.01">4597 4002 29180 0,'-23'-4'1973'0,"-20"2"-1519"16,3 8-1080-16,2 11 329 15,-3 13 97-15,25 16-73 16,7-3-23-16,16 6-325 16,19-3-246-16,14-8-1568 15,8-13-3137-15,13-8-260 16,-6-12-1698 0</inkml:trace>
  <inkml:trace contextRef="#ctx0" brushRef="#br0" timeOffset="-187224.39">4824 3541 26169 0,'0'0'309'16,"8"6"-169"-16,8 28 9 16,8 13 567-16,1 12-164 15,3 9-166-15,-2 6-238 16,-16 2 183-16,0 2-381 16,-3 9 214-1,-1-17-332-15,-4-9-1070 16,-6-12-2518-16,2-17-1437 15,4-9-2608-15</inkml:trace>
  <inkml:trace contextRef="#ctx0" brushRef="#br0" timeOffset="-186926.39">5293 3973 32767 0,'-13'0'0'0,"-1"4"-409"0,-18 11 55 16,2 4 258-16,1 4-250 16,-3 7-186-1,4 1 129-15,9-3 88 16,9 6-25-16,4 2-108 15,6 0 247-15,14 2 192 16,21-2-570-16,3-11-1102 16,3-5-696-16,13-12-2971 15,15-15-4411-15</inkml:trace>
  <inkml:trace contextRef="#ctx0" brushRef="#br0" timeOffset="-186639.29">5626 3714 25945 0,'0'0'834'0,"0"0"-621"15,0 7-61-15,-2 16 466 16,6 21 265-16,-8 11-417 16,10 9-188-16,-4 8-51 15,-4 2-131-15,-2 3-219 16,6-16-1570 0,0-10-5013-16,8-13-3379 15</inkml:trace>
  <inkml:trace contextRef="#ctx0" brushRef="#br0" timeOffset="-186346.54">6157 3985 28635 0,'-6'-4'348'0,"-18"-9"-659"16,-12 7 157-16,-6 8 128 15,6 9-95-15,4 10 49 16,8 15-54-16,-9 15-159 16,-1 6 143-1,24-2-566-15,8 2-2354 16,20-19-1963-16,10 0-2274 15,8-10 2165-15</inkml:trace>
  <inkml:trace contextRef="#ctx0" brushRef="#br0" timeOffset="-186224.54">6117 4389 4356 0,'28'-4'5253'16,"16"-6"1506"-16,17-9 130 15,-25-6-3079-15,0-7-1114 16,-23 4-1073-16,-1-8-887 16,-8 4-624-16,-12 3-515 15,-4 3-646 1,-8 3-1279-16,-13 4-4090 15,-3 0-4305-15</inkml:trace>
  <inkml:trace contextRef="#ctx0" brushRef="#br0" timeOffset="-185515.71">6866 4036 28539 0,'0'0'62'0,"-4"-12"-902"16,-4-3 312-16,-16 0 149 16,-12 0 182-16,-11 7 34 15,-1 8 160-15,-24 10-216 16,23 15 92-16,9 11 306 15,10 15-113-15,7 0-126 16,12-6-1295-16,11-7-1747 16,18-5 701-16,0 2 1095 15,12-10 1074-15,21-2 172 16,0-12 1336 0,-5-5-201-16,13-6 1445 15,-3-11-474-15,-1 1-791 16,-9-5-276-16,-3-2-326 15,9-4-944-15,-22 8-57 16,-11 3-89-16,0 1-146 16,4 11-454-16,7 13-197 15,-1 2 120-15,3 13 56 16,-2 12 619 0,-7 11 297-16,1 8 196 15,-10 3 49-15,2-5 431 16,-22-8 682-16,0-9-13 15,-10 0 273-15,3-10 331 16,-8-2 356-16,-24 1-108 16,-18-11-1286-16,-1-5-508 15,-17-5-170-15,-5-7-63 16,-26-12-19 0,1-2-3546-16,10-8-5886 15</inkml:trace>
  <inkml:trace contextRef="#ctx0" brushRef="#br0" timeOffset="-183582.06">2165 4731 7207 0,'0'0'2445'0,"0"0"-1256"16,0 0-525 0,-3 8-57-16,-1 5-128 15,0 8-232-15,6 0-61 16,2 9-161-16,-8 7 61 15,2-25-58-15,6 23 10 16,-4 7 231-16,-2 11 44 0,-4 3 381 16,2 9 543-16,-7 3 143 15,-1 6 815 1,5 4-276-16,-6-1 519 16,1 9-816-16,-1-7-649 15,6 1-535-15,5-8-241 16,-2-8-431-16,-4-7-549 15,0-11-2011-15,8-6-2099 16,0-10-3024-16</inkml:trace>
  <inkml:trace contextRef="#ctx0" brushRef="#br0" timeOffset="-182539.06">1998 4758 3395 0,'0'0'0'0,"-2"-4"10948"0,4-9-4976 16,4 0-3106-16,0 3-1411 16,16-1-452-16,15 5-480 15,1 1-424-15,22 5-473 16,10 11-82-16,-2-2-402 16,3 6-888-1,-1 8 75-15,100 19 711 16,-79-25 941-1,4-5 158-15,22 1 45 16,-1-8-113-16,4-1 43 16,109-6 1058-1,-112 4 363 1,-12-2-700-16,2-6-399 16,-10 1-274-16,-6-3-163 15,-9 0-625-15,7 3-584 16,-28-3-126-16,3 3 640 15,-3 1-133-15,-16-4 451 16,-17 3 263-16,-14 4 272 16,-2-2 94-16,-3 1 57 15,-5 2-147-15,1 0-130 16,-1 6 133 0,4 9 156-16,-3 6 114 15,1 13-81-15,-2 9 510 16,-2 9 75-16,-6 0-132 15,-9 7-230-15,5 8 16 16,-7 12-36-16,2 3-114 16,9 3-240-16,0 2-74 15,8 4 500-15,-4 6-419 16,4 3 427 0,9 1-225-16,6 1-158 15,-10-1-184-15,3-5-212 16,8-3-125-16,0-11-122 15,4-14-245-15,-5-2 349 16,0-11 235-16,-10-7-27 16,3-7 70-16,-4-9 115 15,6-7-257-15,-8-6-28 16,-6-4-246-16,-4-5 10 16,-3 1 221-1,-12-3 291-15,-17-10-290 16,-17-8-115-16,-8-12 168 15,3-1 261-15,-25-7 80 16,16-3 31-16,-13-1-44 16,-7 2-63-16,-12 0-160 15,4-6 95 1,-14 6 145-16,4 1 200 16,-4-1 202-16,2 8 372 15,9-1-53-15,-14 2-426 16,8 2 23-16,5 0-196 15,-3 2 598-15,7-3-605 16,8 8-459-16,-10 1-686 16,4 2-729-1,12 1-1143-15,18 5-4046 0,-3-1-4889 16</inkml:trace>
  <inkml:trace contextRef="#ctx0" brushRef="#br0" timeOffset="-182047.13">2012 6674 25464 0,'-2'4'-861'16,"-2"32"-826"-16,2 21 2756 15,0 12 294-15,-8 19-764 16,-2 5-258-16,2 10 156 15,4 12 802-15,-7 3-340 16,2-5-645-16,-1-14-465 16,-9-10-1440-16,7-7-2551 15,10-25-3095-15</inkml:trace>
  <inkml:trace contextRef="#ctx0" brushRef="#br0" timeOffset="-181076.02">2083 6800 1121 0,'0'0'9716'0,"10"-4"-1607"15,11-10-3140-15,4-1-2275 16,3 8-1412 0,19 7-761-16,14 7-522 15,-13 1-860-15,19 7 1 16,4-6-99-16,5 5-1568 15,9 1 905-15,0-4 1154 16,16 2 139-16,10-3 449 16,-16-8 873-1,12 13 1038-15,12-6-1220 16,0-1-487-16,-9 5-454 16,-11-5 27-16,11 4-138 15,-6-5-895-15,-3-1-378 16,-26 1 859-16,-1-3-96 15,-7 0-1176-15,-15 3 840 16,-6 1 11-16,-1-6 114 16,-10 2 426-16,-11-1 219 15,-14 1 166-15,2 6 306 16,-4 5 255 0,-4 9 562-16,-2 3-218 15,-6 9 204-15,0 4 797 16,-4 7-606-16,0 1 718 15,4 14-225-15,0-1-642 16,0 5-168-16,0 12-191 16,4 0 90-16,2 7 264 15,-2 2 177-15,2 6-562 16,2-13-196 0,0 9-38-16,2-6-87 15,4-3-424-15,10-8 182 16,-5-8-33-16,8-3-328 15,-4-10-236-15,-4-11-91 16,2-4 247-16,-3-8-362 16,2-5 216-16,-8-8 207 15,-2-9-392-15,-4 0-331 16,-12 1-22 0,-16-3 400-16,-16-8 1197 15,-9-9 179-15,-14-14-74 16,-15 1 9-16,-3-3 464 15,-4-8-85-15,-16 1-357 16,-8-6-268-16,-4 4 97 16,4 2-173-16,3-4 78 15,-21-5-114-15,-2 7 34 16,12 2 411 0,-8 9-271-16,-2 8-340 15,1 4-83-15,-5 8-19 16,6-1-707-16,22-2-2 15,-105-12-2839 1,136 8 761-16,12-5-4333 16</inkml:trace>
  <inkml:trace contextRef="#ctx0" brushRef="#br0" timeOffset="-180613.02">2002 8670 6502 0,'0'6'9708'0,"0"11"-3908"16,6 15-2801-16,7 18-924 16,-5 12-348-16,3 8-871 15,-7 8-729 1,3 6-109-16,3 8 56 16,-6 1-121-16,-10-11-948 15,-4-14-1036-15,1-13-3723 16,1-21-2800-16</inkml:trace>
  <inkml:trace contextRef="#ctx0" brushRef="#br0" timeOffset="-179667.01">2167 8676 24952 0,'0'0'809'16,"9"4"-79"-16,25 5 843 15,31 3 40-15,-2-3-1160 16,9-1-511 0,1-4-330-16,11 0 13 15,16-4-295-15,5 3-432 16,-10 3 284-16,1 1 238 15,12 7 227-15,4-1 186 16,4 6 123-16,-9 0 57 16,2-2 37-16,8-2 131 15,-14-9-299-15,4 0-102 16,-14-3 117 0,-6 5 164-16,-4-3-44 15,-8 1 294-15,-15-2-196 16,-19 2-96-16,-11-1-13 15,-2-1-196-15,-7-2-217 16,-4 2-358-16,-7-2-16 16,-1 5 520-16,1 12 879 15,-12 8 295-15,-10 7 132 16,1 8-392 0,-6 7-15-16,-4 6 227 15,1 15-202-15,8 10 263 16,0 5-233-16,-1 10 48 15,2 3 163-15,3 3-465 16,8 1-319-16,2-1-87 16,10-9-24-16,-1-2-6 15,0-15-2-15,-1-5-1 16,-4-20 0 0,8-3-340-16,-4-7-281 15,9 0-346-15,-6-12-23 16,-5-5 91-16,-1-8-191 15,-3-9 27-15,-2-1-193 16,-2-5 199-16,-4 0 671 16,-18-11 873-16,-1-8 40 15,-19-15 126-15,-11 2 218 16,-2 3 644 0,-9 3-443-16,-5-5-308 15,1 1-163-15,-13-4-306 16,-12 4-69-16,2-1-254 15,2-3 203-15,-10 2-264 16,6-2 203-16,4 0-82 16,-9 4 47-16,3 9 34 15,12 0 390-15,-6-2 36 16,2 4-383 0,-3 2-111-16,12 7-32 15,-3-3-9-15,5-2-3 16,6 2 0-16,-6 1-1 15,10-1 0-15,15-2 0 16,-5-4-1214-16,-9-5-435 16,23 3-678-16,-4 5-1992 15,-5-6-1488-15,19 10-2249 16</inkml:trace>
  <inkml:trace contextRef="#ctx0" brushRef="#br0" timeOffset="-179204.99">2002 10217 27514 0,'0'6'1193'0,"0"7"-670"16,2 15-307-16,0 9 525 15,4 23-150-15,5-1-380 16,-2 3-264 0,-3 16-141-16,-4 6 132 15,2 20-167-15,-10 4 307 16,-3-9-821-16,3-26-922 15,-3-16-1410-15,5-21-3104 16,2-17-1285-16</inkml:trace>
  <inkml:trace contextRef="#ctx0" brushRef="#br0" timeOffset="-178332.88">2040 10276 23350 0,'0'0'2190'0,"2"2"-362"0,19 1-181 16,11 5 501-1,10-2-1174-15,21 4-559 16,2-3-273-16,11-2-92 15,4 1-34-15,8-4-237 16,11 2-674-16,-6 2 187 16,12 3-12-16,12 5 43 15,-14 4 345-15,3 0 8 16,10 6-196 0,-7-5 108-16,11 6-108 15,-7-8 107-15,-2 4-286 16,2 5 137-16,-16-1 327 15,-12-1 239-15,-9-1 197 16,-7-4 34-16,4-2 209 16,-18-4-184-16,-15 4 99 15,-6-9 486-15,-9 0-321 16,-8 1-294 0,-8-5 0-16,-5-4-144 15,-2 0 33-15,-6 8-211 16,-13 18 103-16,2 1 492 15,-4 3 22-15,-1 0-260 16,-2 12-88-16,0 9 243 16,1 8 7-16,9 5-152 15,6 14 506-15,8 3-494 16,8-1-197 0,9 0-63-16,5 9-18 15,-10-13-7-15,4 3-1 16,10-1-1-16,2-14 0 15,0-3 0-15,-3-10 0 16,-7-7 0-16,-10-14 0 16,-1-9-381-16,-1-8-452 15,-6-5-342-15,-2-6-557 16,-13 5-76 0,-33-16 475-16,-11-4 933 15,-13-4 534-15,-3-8 394 16,-4-4 175-16,-12 1 114 15,-7-8 251-15,-5 4-700 16,-7-2-30-16,2-1-416 16,-6-14 129-16,-1-2 34 15,-2 2 33-15,-4 3 153 16,4 1 107 0,12 1 354-16,-3 10-306 15,-2 9-52-15,-11 9-443 16,11 6-89-16,7 2-1274 15,4-1-1501-15,8 5-3543 16,11-9-3018-16</inkml:trace>
  <inkml:trace contextRef="#ctx0" brushRef="#br0" timeOffset="-177905.95">2101 11773 30717 0,'-4'14'1034'16,"0"18"-462"-16,6 9-304 15,0 13-155-15,6 27-70 16,3 2-29-16,-6 1-10 15,-3 11-3-15,-2 17-331 16,-2 9-810-16,-3 4-44 16,-8-4-1568-16,-3-24 247 15,7-16-2271-15,2-26 1043 16,-1-26-2679 0</inkml:trace>
  <inkml:trace contextRef="#ctx0" brushRef="#br0" timeOffset="-154934.8">2404 5135 26073 0,'0'0'-132'0,"-2"2"-251"15,2-2 258-15,0 0 538 16,0 0 485 0,0 0-277-16,0 0-214 15,2 15 223-15,-4 21 270 16,-4 6-314-16,-5 17-150 15,6-2-265-15,-1 3-277 16,-6-5-2250-16,8-13-3758 16,-7-10-4207-16</inkml:trace>
  <inkml:trace contextRef="#ctx0" brushRef="#br0" timeOffset="-154375.8">2285 5035 28027 0,'6'-4'-131'0,"8"-9"132"16,11 5-121-16,19 1 135 15,3 7-127-15,-5 3-702 16,-4 5-368-16,-2 7-1359 16,-2 6 1117-16,-5 2 614 15,-11 3 473-15,-10-1 455 16,-12 1 1145-16,-10-1 1114 16,-12-6-709-1,-2 0-1005-15,3-6-32 16,-3-3-419-16,10-5-174 15,0-3-52-15,8-4-174 16,4 2 38-16,6-3-377 16,0 1-374-16,4 0-319 15,12 0-640-15,20 8 1189 16,-14 7 458 0,9 10 70-16,3 5 83 15,-4 2-2-15,-11 1-36 16,-6-1 167-16,-7 2 961 15,-8 4 860-15,-9-9-415 16,-6 3 89-16,-19 2 131 16,5-11-192-16,-11-2-212 15,-10-6-772-15,-9-7-325 16,13-6-2087 0,-3-11-967-16,9-6-1602 15,-5-8-3210-15,15 4-232 16</inkml:trace>
  <inkml:trace contextRef="#ctx0" brushRef="#br0" timeOffset="-153931.03">2872 5334 24920 0,'0'0'278'0,"-9"-2"46"0,-12-7-187 15,-2 9 151-15,-13 4-103 16,6 9-364-16,2 13-53 16,0 7-42-1,6 6 206-15,9-2 4 16,1-7-596-16,12-8-196 15,8-4 462-15,5-5 303 16,1-7-33-16,14-6-1099 16,10-10-1013-16,5-7 978 15,-7-4 420-15,-18 0 632 16,10-9 1355 0,-19 4 662-16,5 5 45 15,-8 9-192-15,-2 5-426 16,-4 7-273-16,0 7 266 15,-4 25-122-15,0 12-530 16,0-6-738-16,2-8-1999 16,-2-7-4098-16,8-10-2852 15</inkml:trace>
  <inkml:trace contextRef="#ctx0" brushRef="#br0" timeOffset="-153549.16">3158 5332 29500 0,'-5'2'133'0,"-18"2"-323"16,4 2 170-16,2 0-101 15,0 5-974-15,2-4-91 16,-10 1-607-16,14-2-216 15,1-2-115-15,6 1 801 16,-2-1 496-16,6 0 670 16,10 9 1802-16,26 0 239 15,-7 4-977-15,1 0-466 16,6 3-245-16,-7 2-102 16,-3-3-110-1,-9-2 180-15,-8 0 590 16,-7 2 96-16,-4 2 375 15,-16 0 89-15,-2-2-306 16,-10-4-479-16,-2-4-1920 16,-4-7-2982-16,0-15-2160 15,6-12-2822 1</inkml:trace>
  <inkml:trace contextRef="#ctx0" brushRef="#br0" timeOffset="-153307.08">3228 5122 15535 0,'0'0'3594'0,"10"9"-192"16,-2 8-429-16,11 14-497 16,5 7-1195-1,4 9-601-15,-8-2-413 16,2 7-167-16,-14-7-203 15,-4 5-80-15,-6-1-639 16,-8-9-1101-16,-5-10-2379 16,6-11-2620-16,1-6-180 15</inkml:trace>
  <inkml:trace contextRef="#ctx0" brushRef="#br0" timeOffset="-152581.35">3585 5368 26137 0,'-4'0'569'0,"-7"6"754"16,-1 9-158 0,-5-2-383-16,-5 3-497 15,-12 4-167-15,9-2-199 16,4 4-256-16,-2-1 149 15,-3 0 215-15,1 0 95 16,8-4-108-16,8-4 38 16,12-3 78-16,9 5-19 15,12-2-55-15,2-7-756 16,-4-6-621-16,14-4 11 16,19-4 25-1,-4-5 734-15,-7 0 110 16,3-2 852-16,-15 1 568 15,4-6-328-15,-17 6-310 16,-6 1-178-16,-11 3-103 16,-4-6-71-1,-22 6-400-15,-4 6 348 16,-5 6 380-16,-11 13 667 16,10 2 82-16,-4-1 125 15,10 14-475-15,11-7-342 16,7-1-403-16,14-5-964 15,22 1-1426-15,5-9-228 16,11-7-1730-16,9-10 1327 16,-5-3 728-16,8-6 1011 15,-19-2 395-15,8-2 127 16,3-7-417 0,-12-3 384-16,-10-12-626 15,1 1 471-15,-17-2 1681 16,-5 1 1108-16,-6 1-264 15,-3 8-2-15,0 5 613 16,-3 7 603-16,-5 5 807 16,0 7-1499-16,6 3-755 15,-8 11 137-15,3 12-278 16,6 9-143 0,11 17 411-16,3 13-134 15,10 7-823-15,1 1-317 16,-8 1-2196-16,-6-16-1598 15,-8-3-2971-15,0-9-647 16,1-4 2115-16</inkml:trace>
  <inkml:trace contextRef="#ctx0" brushRef="#br0" timeOffset="-152400.37">3778 5421 8232 0,'8'2'11371'0,"26"2"-3805"15,21-4-3990 1,7-4-4729-16,13-13-14817 0</inkml:trace>
  <inkml:trace contextRef="#ctx0" brushRef="#br0" timeOffset="-195010.98">2029 11785 15150 0,'0'0'1791'15,"0"0"-130"-15,3 2-239 16,1 3-467-16,4 3-377 15,5 5-276-15,1 0-147 16,12 5-70-16,0-2-30 16,-12-4-50-1,16 9 186-15,19 2-227 16,6-6 22-16,2-2-32 16,3 0 976-16,5 0 568 15,9 0-17-15,7 0-724 16,-12-5-291-16,12 3-155 15,-5 4-194-15,-5-4-169 16,10-3-98-16,-5-6-136 16,7 5-252-16,2-7-816 15,2 0-1059 1,-8 0 1514-16,-2-6 642 16,3 4 287-16,-1 0-65 15,2 4 91-15,-18-4 109 16,7 4-66-16,-7-1-3 15,-14-3-405-15,13 4-630 16,-2-2-121-16,-11 2-431 16,0 0 477-16,10 5 760 15,-8-3 309 1,-18 3-203-16,3-1 47 16,1 4-55-16,-1-3 318 15,-11 2-28-15,-8-3 541 16,2 0 249-16,-6 4-51 15,-2-2-65-15,-3 7-204 16,-4-3-48-16,0 10-10 16,-2 1 1169-16,-2 7-735 15,-6 2-393 1,0 6-486-16,-5-4-80 16,2 4 27-16,-5 13-69 15,-5 2 34-15,2 5 97 16,-4 3-243-16,-5 7 132 15,5-5 216-15,6 10-144 16,-2-16 77-16,5-2-181 16,8 7 106-1,0-12 437-15,-2 4 233 16,4-6-438-16,0 1-194 16,-6-9-71-16,4-3-158 15,2-6-148-15,0-1 26 16,-4-2-332-16,4-13 145 15,-3 6 100-15,1-10 292 16,0 1 79-16,-5-3-82 16,-6 0 240-16,-1-5-150 15,-8-2-92 1,-8-2-15-16,1-4 67 16,-5-2 87-16,-15-4-277 15,3-9-718-15,7 0 208 16,-5-2-138-16,-22 0-100 15,11 2 611-15,-1 0 226 16,-9 4 35-16,0 3 122 16,2 1 639-16,-7-2-57 15,9 1-276 1,-5-5 381-16,-6-4-88 16,6 2-70-16,-1 2 118 15,7-2-131-15,-5-2-37 16,1 0-22-16,7 9 78 15,-10-5 4-15,-2 0 4 16,13 4-484-16,-11-4-275 16,5 1-518-16,-5 3-531 15,-2-6-903 1,8-2-2136-16,-3-2-1504 16,1-3-1544-1</inkml:trace>
  <inkml:trace contextRef="#ctx0" brushRef="#br0" timeOffset="20383.02">7084 11597 11147 0,'0'-7'355'0,"-4"-10"-198"15,0-1-141 1,6 7-9-16,4-6-1248 16,4 2-37-16,8 4-1283 15,3 1 147-15</inkml:trace>
  <inkml:trace contextRef="#ctx0" brushRef="#br0" timeOffset="21430.88">7082 11163 11595 0,'0'0'1992'0,"-2"-2"196"16,-4-2-210-1,2 0-413-15,-1 1-737 16,0 1 235-16,3 2 348 0,-4 2 3 16,-4 2-204-16,1 5-397 15,3 8-64-15,0 4-200 16,1 3-293-16,1 5 13 15,-3 7 154-15,-1 4 482 16,0 2-58-16,0 3-151 16,-4 2 220-1,2 3-224-15,4 3-432 16,4-2-167-16,0 4-58 16,-3-4-22-16,3 0-9 15,2 8-2-15,0-2-1 16,5 5-1-16,-3-1 0 15,-2 4 0-15,6-3 0 16,0 4 0 0,-2-5 0-16,-2 3 0 15,2 1 0-15,-2 0 0 16,8 1 0-16,-6 2 0 16,0-2 0-16,2 8 0 15,0-5 0-15,-1 4 0 16,-5 3 0-16,0-4 0 15,4 10 0-15,0-3 0 16,-2-3 0-16,-2 7 0 16,0-1 0-1,-2 2 0-15,2 1 0 16,0 6 0-16,2-4 0 16,1 0 0-16,-1 2 0 15,-2 1 0-15,0-2 0 16,6 11 0-16,-4-2 0 15,0 3 0-15,-2 1 0 16,-4 1 0 0,4 4 0-16,4-7 0 0,-8 7 0 15,2 0 0 1,-4 8 0-16,-1-4 0 16,5-2 0-16,2 0 0 15,6-8 0-15,-3 12 0 16,1-2 0-16,0-2 0 15,-2 4 0-15,2-8 0 16,1 16 0-16,-7-8 0 16,2-1 0-1,-5 9 0-15,3-1 0 16,2-9 0-16,-4 8 0 16,0-5 0-16,2-1 0 15,-9-2 0-15,4-6 0 16,-1-11 0-16,6-8-1454 15,-2-9-1225-15,4-11-2966 16,4-20-2118 0,4-18-535-16</inkml:trace>
  <inkml:trace contextRef="#ctx0" brushRef="#br0" timeOffset="22671.65">8456 11387 21140 0,'0'0'2274'0,"2"0"-750"0,0 15-544 0,0 30-118 31,-2-7-692-31,-2 2-25 16,-7 7-341-16,3 6-24 16,2 10 221-16,4 3 170 15,0 3-113-15,-4 10 425 16,-3 1 399-16,1 9-128 15,6 0-195-15,-5 6-231 16,3-2-145-16,-4 7 32 16,2 2 79-1,6-3 16-15,0 3-14 16,-4-1 158-16,4 11 120 16,-2-8-192-16,0 6-276 15,4 0-78-15,5-6-21 16,-7 8-5-16,-2-11-1 15,-2 10-1-15,-1-4 0 16,3-1 0 0,3 2 0-16,-1-8 0 15,2 4 0-15,3-3 0 16,1 1 0-16,0 8 0 16,1-9 0-16,-1 8 0 15,3 0 0-15,-2 6 0 16,-3 12 0-16,0-10 0 15,2 7 0-15,-4 7 0 16,6 7 0 0,0-5 0-16,-4 7 0 15,-8 0 0-15,11-5 0 16,5-14 0-16,1 4 0 16,-10-4 0-16,1-10 0 15,2 17 0-15,-4-23 0 16,0-8 0-16,-10-8 0 15,-4-14-1619-15,-1-25-2540 16,-4-16-5605 0</inkml:trace>
  <inkml:trace contextRef="#ctx0" brushRef="#br0" timeOffset="23284.65">6965 11976 21204 0,'0'0'2505'16,"6"4"-454"-16,20 11 690 15,8-2-1358-15,7-5-904 16,5 1-359 0,11-8-31-16,-43-1-65 15,33 5-48-15,25-5 57 0,3 0 109 16,-4-5 161-16,20 4 303 16,13-2 180-16,-11 6-555 15,5-3-163-15,-3 10-95 16,-17-1-1152-16,-1 5-2035 15,-33-3-5296-15</inkml:trace>
  <inkml:trace contextRef="#ctx0" brushRef="#br0" timeOffset="23777.24">7175 13254 27130 0,'0'0'1700'0,"0"3"-337"16,12 7-96-16,10 5-561 15,-1 0-381-15,17-5-161 16,26-3-90-16,-11-1-50 16,14-4-15-1,22-2-5-15,-6 2-3 16,3-2-1-16,12 2 0 16,8 5 0-16,-13-1-160 15,-8 1-1053-15,-18 3-1365 16,1 3-3124-16,-19-3-2266 15</inkml:trace>
  <inkml:trace contextRef="#ctx0" brushRef="#br0" timeOffset="24264.94">7156 14311 27258 0,'0'0'1791'0,"0"0"-517"15,9 6-136-15,15 4-425 16,8 1-374-16,21-2-178 15,13-5-99-15,-1-4-41 16,20-7-14-16,22-5-5 16,-10-1-1-16,17 1-1 15,6-1 0 1,-3 0 0-16,-3 2 0 16,-6 7-541-16,-12 4-1017 15,-16 9-1687-15,-31-7-2876 16,-29 4-1606-16</inkml:trace>
  <inkml:trace contextRef="#ctx0" brushRef="#br0" timeOffset="24748.58">7207 15813 25688 0,'6'2'1711'0,"15"1"649"16,13-3-617-16,23-7-930 15,7-3-512-15,-3-3-202 16,20-4-63 0,24-2-24-16,-1-2-9 15,17 2-2 1,25 0-1-16,-6 4 0 0,-24 0 0 16,-6-2-1442-16,-15 9-3164 15,-42 3-5573-15</inkml:trace>
  <inkml:trace contextRef="#ctx0" brushRef="#br0" timeOffset="48707.53">10334 11298 6662 0,'0'0'2377'0,"0"0"445"16,0 0-356-16,0 0-152 15,0 0-335-15,0 0 367 16,0-2-403-16,0-2-239 16,-8-6 360-1,8 3-1408 1,-2 1-97-16,-2-1-44 16,-2 3-25-16,4-2-166 15,-6 2 89-15,-1-1-71 16,3 1-111-16,-7 0-13 15,2-1-172-15,1 4-136 16,0-3-238 0,-10 1 7-16,3 1-5 15,-2 4 66-15,0 2 180 16,2 0 201-16,0 5 328 16,1 2-5-16,-2-1-15 15,-20 18 574 1,25-15-531-16,3 1-87 15,2-3-196-15,-4 6-82 16,10-2-59 0,12-1-21-16,4 4-13 15,1-6-7-15,0 1-4 16,6-3-1-16,0 3-2 16,-2-3 1-16,0 2-1 15,9-2 0-15,4 3 0 16,0-5 0-16,3 7 0 15,-9-2 0-15,-8 1 0 16,4 6 0-16,-3 0 0 16,2 2 0-1,0 5 0-15,-4-1 0 16,-4 4 0-16,1 3 0 16,0-5 0-1,-6 4 0-15,-6-24 0 0,0 15 0 16,2 5 0-16,-4-3 0 0,-2 3 0 15,-34 18 0 1,6-27-19 0,-35 9-539-1,29-18 483-15,-13-5 221 16,7-5 161-16,2-6-188 16,3-6-72-16,-1 0-27 15,-12-7-12-15,3-4-5 16,20 1-2-16,-3-3 0 15,-4-9-1-15,7 11-244 16,3 0-491-16,8 2-625 16,0-1-1421-1,6 5-3325-15,8 4-2396 16</inkml:trace>
  <inkml:trace contextRef="#ctx0" brushRef="#br0" timeOffset="49418.61">10611 11267 18353 0,'0'0'3844'16,"0"4"-996"-16,0 4-961 15,0 3-1255-15,2 6-764 16,0-5-501-16,-2 14 265 16,-2-5 315-16,0 3 414 15,4 5 471-15,4 12 358 16,2-1 81-16,-2-3-200 15,-2 6-566-15,2 8 80 16,-4-7-231 0,-2 5-217-16,0 0-86 15,0-1-31-15,-6-1-12 16,2-3-6-16,12 1-1 16,-2-1 0-16,-8-8-1 15,0-4 0-15,4-11 0 16,-4-10 0-16,2-7-1113 15,0-2-2389 1,0-6-4820-16</inkml:trace>
  <inkml:trace contextRef="#ctx0" brushRef="#br0" timeOffset="49937.71">10576 11265 25752 0,'0'0'1945'0,"11"-3"-38"0,6-1-778 16,0 0-947 0,5-2-580-16,-6 1-535 15,1 1-112-15,4 2 564 16,0 2 382-16,5 2 830 16,6 5 243-16,-5 1-339 15,-3 0-243-15,-6 5-275 16,-3 6-115-16,-6 5-274 15,-11-1 248-15,-10 2-219 16,-6 5-55 0,-1-5-25-16,-9 7-55 15,-4 0 223-15,10-7 320 16,0-6 526-16,3 0-46 16,-4 0-201-16,2-8-250 15,-3 0-106-15,8-7-144 16,0-2-428-1,8 0-712-15,-1-4-555 16,5 0-951-16,-2-5-2456 16,4-3-2739-16</inkml:trace>
  <inkml:trace contextRef="#ctx0" brushRef="#br0" timeOffset="50868.77">11002 11447 21556 0,'0'0'3392'15,"-2"10"-955"-15,2 7-735 16,4 9-883-16,0 5-265 16,3 5 8-16,1 2 112 15,0 7-15-15,1-5-413 16,-6 5-145-16,-6-7-62 15,-4 4-23-15,3-4-10 16,-2-8-4 0,4-7-1-16,-2-4 0 15,2-7-76-15,0-1-262 16,2-9 92-16,-2 3-429 16,-1-5 33-16,-5-7 39 15,-3-18-63-15,-2-11-334 16,1-17-155-16,2 9 229 15,0-5-127-15,6 0-349 16,2-1 709 0,6 1-355-16,0 6 486 15,8-3 712-15,8 6 887 16,13 1-162-16,-7 10-358 16,2 4-292-16,8 1 434 15,9 18 699-15,-1 2 554 16,-14 14-241-16,-11 1-627 15,-9 3-226-15,2 10-397 16,-2-1-221 0,-8 9-105-16,-8-5-251 15,-10-5-399-15,-6-1-38 16,-13-5-13-16,-3-5 122 16,4-6 297-16,9-3-202 15,8-2 85-15,-2 0-144 16,-2-5 351-16,0 3-79 15,10-2-67-15,5 4 132 16,2-2 215 0,-1 2-112-16,3 0-206 15,2 0 227-15,15 23 811 16,0 1 466 0,7 5 72-16,-4 9-737 15,4-4-385-15,-1 6-140 16,6-3-62-16,2 3-23 15,5 0-10 1,-4-8-4-16,-13-5-2 16,-5 0 1-16,4-1-1 15,3-3 0-15,-2 0 0 16,-2-6-1209-16,1-2-1584 16,4-6-3292-16,-2-7-2112 15</inkml:trace>
  <inkml:trace contextRef="#ctx0" brushRef="#br0" timeOffset="51118.77">11565 11658 12620 0,'11'30'11574'16,"-3"12"-6347"-16,0 18-3054 15,-3 7-1388-15,-1-5-530 16,-4-3-168 0,-2-4-58-16,2-21-19 15,2-9-6-15,0-8-3 16,-4-8-412-16,2-7-1356 16,0-2-1604-16,-2-26-5008 15</inkml:trace>
  <inkml:trace contextRef="#ctx0" brushRef="#br0" timeOffset="51277.77">11542 11279 32158 0,'0'0'202'0,"0"0"-73"15,0 0-36-15,0 3-30 16,0-3-1795-16,0 1-4012 15</inkml:trace>
  <inkml:trace contextRef="#ctx0" brushRef="#br0" timeOffset="51942.96">11711 11555 32767 0,'6'18'0'0,"3"31"0"15,-1 15 0-15,-4-7 0 16,0 7 0-16,-1-10 0 16,-6-1 0-16,1-6 0 15,4-7 0-15,3-4 0 16,-5-17 0-16,0-2 0 15,-2-11 0-15,-1-3 0 16,3-3 0 0,-2-34-147-16,0-17-863 15,2-4-127-15,4-13-173 16,1 7 85-16,-5-1 168 16,5 3 472-16,-3 4 400 15,2 15 411-15,-2 8 572 16,0 9 8-16,-2 12 21 15,0 9-228 1,0-2 214-16,0 4-218 16,10 23-203-16,1 19-41 15,0 20 8-15,1-3 55 16,5 11-91-16,-2 4-218 16,8-4-73-16,5-13-21 15,-11-8-8-15,2-11-2 16,-4-10 0-16,-9-16-1 15,-4-6 0 1,-2-3 0-16,6-12 0 16,0-22 0-16,-8-37 0 15,4-2 0-15,2-9 0 16,-4 3 0-16,4 10 0 16,-4-5 0-16,0 7 0 15,-8 17 0-15,6 7 0 16,2 11 0-16,-2 12 0 15,-2 4 0 1,2 9-324-16,2 2-1367 16,0 2-2702-16,2 4-5435 15</inkml:trace>
  <inkml:trace contextRef="#ctx0" brushRef="#br0" timeOffset="52257.04">12304 11614 8808 0,'6'17'12427'0,"9"6"-6057"16,0 5-3442-16,-3-9-1760 15,14 42-298 1,-16-12-747-16,-6-3-78 15,-4 5-27-15,5 0-12 16,-3-38-4 0,0 27-1-16,2 0 0 0,-1-8-1 15,-1-7 0-15,-2-8 0 16,0-8 0-16,2-5-652 16,0-2-615-16,-2-6-2299 15,-2-22-5077-15</inkml:trace>
  <inkml:trace contextRef="#ctx0" brushRef="#br0" timeOffset="52559.04">12090 11417 32767 0,'0'0'0'0,"0"0"0"15,0 0 0 1,0 0 0-16,6 4 0 16,15 5 0-16,14-3 0 15,15 1 0-15,3-10 0 16,-2-1 0-16,9-2 0 16,-2-1 0-16,-7 5 0 15,-11 0 0-15,3 6 0 16,-11 3 0-16,-14-5 0 15,-5 4 0-15,-9 4-639 16,-6 12-3865 0,-17-3-6005-16</inkml:trace>
  <inkml:trace contextRef="#ctx0" brushRef="#br0" timeOffset="53435.14">10684 12490 30461 0,'-10'4'1117'0,"-19"5"-442"15,-14 2-364-15,7-1-191 16,-8 5-69 0,-9 8-30-16,1 6-14 15,10-1-4-15,-5 15-3 16,12 14 1-16,5 10-1 16,12 4 0-16,10 0 0 15,18-1 0-15,15-4 0 16,4-11 0-16,-2-11 0 15,5-10 0-15,-2-15 0 16,7-10 0 0,3-9 0-16,-7-13 0 15,-3-15 0-15,-14-16 0 16,0-17 0-16,5-64 0 16,-23 61 0-1,-5 18-916-15,-1 6 124 16,4 8 217-16,-2 11 393 15,4 8 359 1,-1 7 397-16,3 3 4 16,0 3-156-16,0 13-75 15,5 10-149-15,22 7-97 16,17 0-58-16,-2-5-27 16,41 22-8-1,-34-28-7-15,-9-1-1 16,-8-7 0-16,-17-5 0 15,-11-3 0-15,4-1-1406 16,1-4-3597 0,-1-11-6540-16</inkml:trace>
  <inkml:trace contextRef="#ctx0" brushRef="#br0" timeOffset="53898.14">11089 12916 27866 0,'-2'17'2270'0,"-2"1"-925"0,-5 12-617 16,-4 4-403-16,-1 2-187 15,-10 6-338 1,1 3 184-16,-1-1 50 0,4 7 144 16,4 2-114-1,12-9-43-15,4-5-13 16,0-27-5-16,0 5-2 0,13 2 0 16,14-4 0-16,-1-11-1 15,9-14 0-15,6-22 0 16,-3-19 0-16,11-19 0 15,-7 5 0 1,-14-1 0-16,-18-10 0 16,-2 6-344-16,-6-4-406 15,-10 17 505-15,-6 13-57 16,-18 1 185-16,-15 9 176 16,3 17-157-16,5 9-701 15,1 5-781-15,-6 8-2618 16,15 1-2372-16,11 3-1005 15</inkml:trace>
  <inkml:trace contextRef="#ctx0" brushRef="#br0" timeOffset="54417.76">11453 12814 29084 0,'0'34'2183'0,"-2"36"-1174"15,-9-2-681 1,0 5-217-16,3-7-76 16,2-4-24-16,-1-5-6 15,7 6-4 1,3-50-1-16,-1-9 0 15,-2-4 0-15,6-25 0 16,8-28 0 0,4-9 0-16,-4-7 0 15,14 1 0-15,8 4 0 16,-5-5 0-16,-3 5 0 16,-2 22 0-16,-5 2 0 15,-5 16 0-15,0 12 0 16,-2 5 0-16,-1 9 0 15,4 24 0-15,-4 12 0 16,-5 12 0 0,0 12 0-16,-1 1 0 15,6 3 0-15,3 6 0 16,-5-11 0-16,4 1 0 16,-4-1 0-16,-5-19 0 15,-2-8 0-15,2-8 0 16,3-14 0-16,-7-7-1073 15,-2-5-1369-15,-2-11-5701 16</inkml:trace>
  <inkml:trace contextRef="#ctx0" brushRef="#br0" timeOffset="54664.76">11421 12954 32767 0,'2'8'0'15,"4"9"0"-15,16 11 0 16,8-3 0-16,5-2 0 16,7-8 0-16,-1 0 0 15,5-11 0-15,9 0 0 16,-13-4-2104-16,-8-6-4404 15,0-9-5053-15</inkml:trace>
  <inkml:trace contextRef="#ctx0" brushRef="#br0" timeOffset="55057.54">12096 12748 32767 0,'3'9'0'0,"-1"14"0"15,4 2 0-15,-6 16 0 16,-2 5 0-16,-2 1 0 16,-3 6 0-16,0-2 0 15,5 4 0-15,-2-9 0 16,0-6 0-16,2-3 0 15,2-4 0-15,-2-3 0 16,2-5 0 0,4-6 0-16,9-1 0 15,4 0 0-15,0-3 0 16,-1-2 0-16,10-3 0 16,8 3 0-16,11 0 0 15,-11 2 0-15,-1-3 0 16,1 1 0-16,-2-2 0 15,-2-5 0-15,-7-2 0 16,-9-2-2027-16,0-4-4869 16</inkml:trace>
  <inkml:trace contextRef="#ctx0" brushRef="#br0" timeOffset="57925.85">12905 13604 29404 0,'0'0'1078'16,"0"0"-381"-16,2-3-90 15,4-7-160-15,7-16-150 16,6-12-154-16,-4-8-84 16,-1-5-37-1,4-10-13-15,-2-5-6 16,4 4-2-16,-6-1-1 16,-3-11 0-16,1 2 0 15,0 0 0-15,-4-6 0 16,-2 5 0-16,2-13 0 15,-1 6 0-15,-5-13 0 16,-7 12 0 0,1-15 0-16,0 12 0 15,2 2 0-15,0 3 0 16,-6 7 0-16,2-2 0 16,4 8 0-16,-8-6 0 15,8 7 0-15,0 5 0 16,-8-5 0-16,1 8 0 15,7 4 0-15,0-6 0 16,-2 4 0 0,-4 4 0-16,-1 4 0 15,5-2 0-15,-3 8 0 16,-1-2 0-16,-6-3 0 16,-8 5 0-16,-6 9 0 15,3 3 0-15,6 2 0 16,-8 1 0-16,-18-1 0 15,3 5 0-15,-3-1 0 16,-5 2 0 0,-18 2 0-16,11 0 0 15,16 4 0-15,-13 2 0 16,-15-4 0-16,13 2 0 16,-11 7 0-1,4-5 0-15,11 3 0 0,-17-1 0 16,8-4 0-16,13 5 0 15,-16-5 0-15,5 2 0 16,14 2 0 0,-13-1 0-16,-5-3 0 15,13 5 0-15,-7 3 0 16,-9-3 0-16,5 3 0 16,4 3 0-16,-11-4 0 15,23 1 0-15,1 5 0 16,-19-9 0-16,5 9 0 15,16-4 0-15,-9 0 0 16,-8 4 0-16,15-1 0 16,-3-1 0-1,-4 0 0-15,5 6 0 16,6-2 0-16,-5-2 0 16,-13 0 0-16,10 2 0 15,19 2 0-15,-7-2 0 16,-7-5 0-16,5 5 0 15,4 0 0-15,-4 0 0 16,7 0 0 0,1-4 0-16,-9 7 0 15,1-2 0-15,4-1 0 16,11 3 0-16,-2 1 0 16,-4 0 0-16,-10 3 0 15,1-1 0-15,14 0 0 16,4 5 0-16,-2 0 0 15,-7 3 0-15,-5 1 0 16,4 0 0-16,7 0 0 16,-1 2 0-1,0 4 0-15,0 4 0 16,5-4 0-16,-2 7 0 16,2-3 0-16,-1 7 0 15,4 0 0-15,-1 6 0 16,4-2 0-16,2 2 0 15,5 4 0-15,-4 9 0 16,2-8 0 0,10 1 0-16,-2 6 0 15,-2-1 0-15,4-9 0 16,-2 3 0-16,8 2 0 16,-4-4 0-16,0 2 0 15,7 2 0-15,4-3 0 16,-5 0 0-16,-3 0 0 15,-1-3 0-15,2-3 0 16,-2 6 0 0,2-2 0-16,0-4 0 15,4 6 0-15,1-3 0 16,4 3 0-16,-6-2 0 16,-3 0 0-16,-2-4 0 15,7 2 0-15,-2 1 0 16,-7-3 0-16,0-5 0 15,4-1 0-15,6 2 0 16,-2-3 0 0,-8 1 0-16,-2-3 0 15,7-1 0-15,-5-1 0 16,2 3 0-16,1-3 0 16,-3-1 0-16,0 5 0 15,3-4 0-15,1 3 0 16,-4-5 0-16,0 5 0 15,4 4 0 1,2 1 0-16,-6 3 0 0,0 0 0 16,0-2 0-1,2 0 0-15,1 2 0 16,1 4 0-16,-6-10 0 16,0 4 0-16,11 0 0 15,-6-1 0-15,-3 6 0 16,2-5 0-16,2-1 0 15,6-1 0-15,-4 0 0 16,2 0 0 0,3 0 0-16,-2-5 0 15,6 22 0 1,-7-26 0-16,2 0 0 16,-2 5 0-16,1-1 0 15,-2-8 0-15,-3 3 0 16,0-1 0-16,3-1 0 15,10 2 0 1,-6-3 0-16,4 0 0 16,2 2 0-16,5 0 0 15,-5-2 0-15,-1-4 0 16,-2-2 0-16,1 0 0 16,6 3 0-16,0-5 0 15,1 0 0-15,2 1 0 16,-3-1 0-16,5 0 0 15,25 8 0 1,-19-7 0-16,0-3 0 16,-2 1 0-1,-3-3 0-15,5-3 0 16,5 2 0-16,-5 0 0 16,-4 3 0-16,-5-2 0 15,15-1 0-15,2 4 0 16,-1-1 0-16,-9-1 0 15,0-1 0 1,6 3 0-16,9-1 0 16,-5-3 0-16,-19 1 0 15,7-1 0-15,13 2 0 16,-5 1 0-16,0-1 0 16,-2 1 0-16,-2 1 0 15,6 1 0-15,0 2 0 16,-5-1 0-16,-5-1 0 15,6-5 0-15,8-2 0 16,-5 5 0 0,-12-5 0-16,5 2 0 15,8-3 0-15,5 1 0 16,-15 0 0-16,-12-2 0 16,12 2 0-16,5-1 0 15,-1-3 0-15,6 0 0 16,-11 1 0-16,-9-2 0 15,3-2 0 1,15 3 0-16,0 0 0 16,-4 0 0-16,-10-1 0 15,-3-2 0-15,5 1 0 16,4 0 0-16,-3 0 0 16,5-2 0-16,-6-1 0 15,-14 1 0-15,1 0 0 16,4 0 0-16,8-5 0 15,7 3 0-15,-6-1 0 16,-7 1 0 0,-1 2 0-16,-4-2 0 15,5-5 0-15,-8 2 0 16,0-1 0-16,3-3 0 16,0 3 0-16,-4-5 0 15,5 2 0-15,4-6 0 16,-4 4 0-16,0 3 0 15,-6-7 0-15,-5-5 0 16,2-5 0 0,6-3 0-16,-4-2 0 15,-6 0 0-15,0-8 0 16,0-5 0-16,1 5 0 16,-3-3 0-16,-6 10 0 15,4-6 0-15,2 5 0 16,-7 9 0-16,1 3-567 15,-2 1-1323-15,2 6-2353 16,2-4-4993 0</inkml:trace>
  <inkml:trace contextRef="#ctx0" brushRef="#br0" timeOffset="58725.57">12750 11319 27482 0,'0'0'1295'0,"0"0"-224"15,0 0-112-15,0 0-296 16,0 0-211-16,6-1-75 16,8-10-152-16,-2-6-98 15,7-6-63-15,6-5-33 16,3-1-18-16,-5-3-8 15,-10 7-4-15,6-14 0 16,40-31 0 0,-29 38-1-1,0 3 0-15,-7-5 0 16,-7 3 0-16,2 1 0 16,-4 7 0-16,6 0 0 15,-10 5 0-15,1 4 0 16,-5 5 0-16,-2 5 0 15,-2 1 0-15,-2 3 0 16,2-1 0 0,-2 1 0-16,-6 12 0 15,-4 5-132-15,-1 0-2379 16,3-2-3099-16,1-2-4020 16</inkml:trace>
  <inkml:trace contextRef="#ctx0" brushRef="#br0" timeOffset="59331.57">13028 10700 1954 0,'0'0'9875'0,"0"0"-3385"16,-5-3-545-16,-5 1-2188 15,-5 0-1507-15,-1 0-1187 16,0 0-1082-16,4 2-619 15,1 0-282-15,7 0 344 16,-3 6 575 0,5 11 1191-16,6 11 118 15,5-1-697-15,12 11-322 16,11-1-171-16,0 0-73 16,-22-26-33-16,11 25-4 0,13 2-4 15,11 2-3-15,-3-6 0 16,-2 0-1-16,-6 0 0 15,-1-11 0-15,4-6 0 16,-3-6 0 0,-4-7 0-16,-14-8 0 15,-3-3 0-15,4-16 0 16,-11-15 0-16,-8-7 0 16,-2 1 0-16,-4-5 0 15,-22 1 0-15,-4-1 0 16,-4 7 0-16,-9 4 0 15,5 4 0-15,-3 6 0 16,3 9 0-16,13 4 0 16,1 5 0-1,16 6-2370-15,-4-1-7174 16</inkml:trace>
  <inkml:trace contextRef="#ctx0" brushRef="#br0" timeOffset="60266.94">9847 10826 25880 0,'-3'0'2342'0,"-4"-2"-749"16,1 0-655-16,-4 0-238 15,-5-4-477 1,-4-3-73-16,0 1-45 16,-7-5 72-16,-4-4 74 15,6 0-22-15,7 0-134 16,-5-2-49-16,4 0-25 16,0 0-12-16,4 2-5 15,-6-4-2-15,3 4-1 16,-5-6 0-16,-6 0-1 15,6 1 0-15,6 4 0 16,3 2 0 0,-6 2 0-16,4 3 0 15,5 5 0-15,6 4 0 16,2 2 0-16,-6 2-184 16,4 4-705-16,2 5-1045 15,4 2-2032-15,7 4-2614 16,2-5-1411-16</inkml:trace>
  <inkml:trace contextRef="#ctx0" brushRef="#br0" timeOffset="60839.92">9635 10295 22069 0,'0'0'3318'15,"0"0"-942"-15,0 0-703 16,0-6-959-16,-6-1-1051 15,-8 1 160-15,-11 2-417 16,-9 4 157 0,2 2 217-16,5 6 306 15,-9 10-27-15,2 3 621 16,0 6 294-16,-4 7-136 16,3-2-10-16,5 1-291 15,13 2-311-15,2-2-136 16,2 1-52-1,7 0-23-15,0-6-9 0,4-7-3 16,6-4-2 0,-2-2-1-16,8-5 1 15,18-8-1-15,7-13 0 16,14-16 0-16,-2-9 0 16,-9-13 0-16,-4 7 0 15,6-9 0-15,-6 2 0 16,-9 12 0-16,-12-2 0 15,-8 5 0-15,-8 11 0 16,-16-4 0 0,-12 5 0-16,-7 12-687 15,1 12-2109-15,-5 11-4406 16,-9 8-4295-16</inkml:trace>
  <inkml:trace contextRef="#ctx0" brushRef="#br0" timeOffset="61827.44">12693 13733 25624 0,'0'0'1261'0,"4"0"422"16,0 4-62-16,-2-2-711 16,3 5-242-16,-1-1-243 15,5 6-157-15,1-1-119 16,-1 6-70-16,3 10-35 15,8 5-23-15,5 4-13 16,11 9-4 0,-6-3-3-16,-8 7 0 15,0-11-1-15,-3 6 0 16,0-10 0-16,0 4 0 16,-1-10 0-16,-6-5 0 15,-2-6 0-15,-4-4 0 16,-1-3 0-16,-3-1 0 15,-2-5 0-15,0 0 0 16,2-2-615 0,-2-2-1020-16,0 0-1128 15,0 0-4275-15</inkml:trace>
  <inkml:trace contextRef="#ctx0" brushRef="#br0" timeOffset="62442.24">13216 14046 30781 0,'-8'0'790'15,"-12"-5"-182"-15,2 1-315 16,4 2-154-16,6 2-611 16,0 2-277-16,-7 5-450 15,-2 3 739-15,6 5 201 16,-5 9 597-16,-14 3 739 15,-6 5 96-15,-3 8-722 16,4-8-292 0,9 2-100-16,3 2-36 15,4-5-14-15,5-1-6 16,5-2-1-16,6-10-2 16,6 1 1-16,1-2-1 15,3-6 0-15,1-2 0 16,6-5 0-16,8-6 0 15,14-11 0-15,17-8 0 16,0-4 0-16,-3-7 0 16,12 0 0-1,-7-2 0-15,-8 4 0 16,-3 3 0-16,-6 0 0 16,-15 1 0-16,-5 5 0 15,-14 4 0-15,-13 0 0 16,-18 2 0-16,-14 7 0 15,3 8 0-15,0 6-1477 16,-15 3-4256 0,13 1-4413-16</inkml:trace>
  <inkml:trace contextRef="#ctx0" brushRef="#br0" timeOffset="68023.67">10481 13462 20916 0,'0'0'1915'16,"0"0"67"-16,0 0-142 16,0 0-658-16,0 0-423 15,0 2-443-15,2-2-302 16,-2 2-124-16,0 4 1 15,0 1 215-15,-4 3 357 16,-6 5 147 0,-6 2-147-16,-2 0 104 15,-2 2-165-15,4 4-220 16,3 5 9-16,-2 5-9 16,2 3 214-16,7-6-117 15,0 2-152-15,-4 6-71 16,2 0-33-16,4-2-15 15,-2 0-4-15,-2 0-2 16,2-8-2 0,3-5 1-16,6-2-1 15,-3-4 0-15,0-8 0 16,-3-3 0-16,3-2 0 16,0-2 0-16,0 0-435 15,-2 0-1130-15,2-2-1208 16,0 0-2816-16,2-14-4221 15</inkml:trace>
  <inkml:trace contextRef="#ctx0" brushRef="#br0" timeOffset="68777.72">10239 13965 865 0,'0'0'4661'0,"-8"-1"974"15,0-6-1260-15,0 1-1216 16,-3-5-1623 0,0 3-631-16,7-1-506 15,0 1-53-15,0 1-174 16,-1 1 117-16,-3 0 12 16,-2 4 163-16,3 4 603 15,-4 4 401-15,-1 7-109 16,6-3 204-16,-1 9-194 15,5-2-463-15,4 6-226 16,-2-14-419-16,9 12 37 16,1 2-12-16,-2-6-81 15,6 2-101-15,4 1-53 16,5-6-27-16,7 1-13 16,2-2-7-16,-9-3-2 15,21 14 0 1,-28-16-2-16,2 1 0 15,4-5 0 1,-5-2 0-16,-5-4 0 16,-1-5 0-16,-4-10 0 15,-14-12 0-15,-12-9 0 16,-4-2 0-16,-7-3-322 16,-8 1-275-16,6 16-668 15,1 3-847-15,1 4-2414 16,6 4-1667-16,8 9-2315 15</inkml:trace>
  <inkml:trace contextRef="#ctx0" brushRef="#br0" timeOffset="208093.35">2321 12088 7239 0,'0'0'4298'0,"0"0"1532"15,0 0-1815-15,0 0-803 16,-2 0-498 0,-4 0-1074-16,0 0-572 15,-8 2-356-15,4 0 12 16,2 0-170-16,6-2-285 16,2 3-76-16,6 3-59 15,6 2-54-15,6-1-38 16,-6-3-21-16,-1 0-11 15,-2 2-5-15,-3-1-2 16,-2 1-1 0,0 5-1-16,-4-1-1 15,0 7 1-15,-2-2-1 16,-6 2 0-16,1 2 0 16,1-4 0-16,0 2 0 15,-1 6 0-15,1-2 0 16,-8 3 0-16,6 1 0 15,8 3 0-15,-2-8 0 16,-2 8 0-16,2-7 0 16,-2 3 0-1,4-10 0-15,0 1 0 16,-2-2 0-16,0-3 0 16,0 3 0-16,0-2 0 15,-4 1 0-15,-3-3 0 16,2-1 0-16,-1-1 0 15,4-3 0-15,2-2 0 16,2-2 0-16,0 2 0 16,0 0 0-1,0-2 0-15,8 4 0 16,7 1 0-16,10-1 0 16,-7-4 0-16,2 0 0 15,-7 4 0-15,-2 0 0 16,6-2 0-16,-1 3 0 15,2-3 0-15,2 2 0 16,-2 1 0 0,-1-1 0-16,-3-4-483 15,-3 2-1379-15,-4 0 982 16,-5-2-2832-16,0 0-3232 0</inkml:trace>
  <inkml:trace contextRef="#ctx0" brushRef="#br0" timeOffset="208681.34">2624 12211 17969 0,'0'0'3116'0,"0"0"-540"15,0 0-398-15,0-2-498 16,2 2-518-16,-2 0-194 15,-2 0-265-15,-4 2-282 16,0 2 91-16,-3 4-153 16,0 7-114-1,5 0 161-15,0 4-166 16,2-2-126-16,4 2-54 16,0 2-30-16,0 0-16 15,-6 1-7-15,0-3-3 16,4-2-3-16,0-3 0 15,-2 3 0 1,-2-2-1-16,-1-4 0 16,3-5 0-16,2 3 0 15,0-5 0-15,2 2 0 16,7 5 0-16,3-3 0 16,8 1 0-16,0-3 0 15,-7-2 0-15,7 3 0 16,-8-3-541-16,-6 0-556 15,-2 0-1195-15,0 7-1350 16,-1-3-1478 0,-3 3-578-16</inkml:trace>
  <inkml:trace contextRef="#ctx0" brushRef="#br0" timeOffset="209090.94">2586 12342 20660 0,'0'0'2948'0,"0"0"-628"15,0 0-591-15,0 0-584 16,2 2-294 0,-2 2-203-16,2 3-73 15,-4-3-83-15,-2 0 37 16,6 1-176-16,2 3-121 16,6 2-98-16,0-1-63 15,6-1-31-15,5 5-19 16,-3-7-11-16,-6-1-6 15,-4-1-2-15,-2-2-108 16,2 0-925 0,-6 0-729-16,0 0-1141 15,-2-4-2069-15,4-4-1568 16</inkml:trace>
  <inkml:trace contextRef="#ctx0" brushRef="#br0" timeOffset="209423.99">2574 12175 4196 0,'0'0'7531'0,"0"0"-908"16,0 0-1957-16,4-4-941 15,0 1-1726-15,0-1-951 16,-2 2-697-16,4-2-34 16,8 1-98-16,2 3 106 15,5 3-223-15,-4-3-55 16,-6 4-583-16,-3-2-778 15,2 0-1965-15,2 0-2667 16,-4 1-962 0</inkml:trace>
  <inkml:trace contextRef="#ctx0" brushRef="#br0" timeOffset="209947.04">2865 12226 25752 0,'2'6'1027'0,"-2"11"127"16,-2 10-28-16,-4 3-788 16,0 4-371-16,-3 2-169 15,-3-4-100-15,-4-3 173 16,4-1-32-16,4-5 162 15,2-4 212-15,4-6-208 16,2-3-156 0,2-3-425-16,2-1 109 15,4-6-41-15,9-6-944 16,2-13 271-16,0-13-703 16,-4 0 745-16,-4-4 664 15,3-6 294-15,1 12 243 16,6-1 252-16,0-1 57 15,1 6-60 1,-10 5 508-16,0 6 421 0,-6 7-237 16,-4 6-263-1,4 8 222-15,0 15 88 16,-2 9 290-16,-4 4-363 16,2 8 404-16,4 5-505 15,-1-11-554-15,-1 6-188 16,-6-10-82-16,0 2-30 15,6-5-13 1,-2-10-6-16,3-6-302 16,-3-6-1414-16,-2-6-1672 15,0-1-2472-15</inkml:trace>
  <inkml:trace contextRef="#ctx0" brushRef="#br0" timeOffset="210185.04">2857 12353 30941 0,'0'0'641'16,"0"4"-187"-16,4 4-133 15,2 7-122-15,1 0-97 16,6-5-48-16,5 1-25 15,2-6-1087 1,5-1-1477-16,3-2-2624 16,2-4-3009-16</inkml:trace>
  <inkml:trace contextRef="#ctx0" brushRef="#br0" timeOffset="210847.25">3190 12332 26425 0,'0'10'1092'15,"6"13"-142"-15,-2 15-402 16,-10-4-322-16,2 2-132 16,-1 2 42-16,-4 5 546 15,1-6 143-15,4-5-337 16,0-2-155-16,-3-11-429 15,3-6-97-15,4-5-369 16,0-5-233 0,0-3 79-16,0 0 71 15,13-17 112-15,-1-22 165 16,-3-10-27-16,2 8 151 16,5-8-637-16,-5 9-264 15,6 0 472-15,0 4 106 16,-2 4-319-16,2 6 561 15,1 5 324-15,4 6 1241 16,-7 7-96 0,0 1-200-16,-3 10 5 15,-1 1 48-15,-3 6-116 16,-6 9 172-16,-4 7-311 16,-8 5-182-16,-3-1-372 15,-10-4-273-15,-6-7-210 16,3-7-508-16,4-3 10 15,8-1 213-15,3-1 208 16,5-5 239-16,2 0 218 16,2-2 161-1,2 0 30-15,0 0-47 16,0 0-169-16,0 0-329 16,2 6-10-16,14 7 346 15,1 2 471-15,1 6 417 16,8 8 381-16,2 3-671 15,-6-2-405-15,-1 2-148 16,-1-5-69 0,0-1-25-16,-6-3-10 15,-7-10-5-15,0-5-1862 16,-5-2-2633-16,-2-6-2732 16</inkml:trace>
  <inkml:trace contextRef="#ctx0" brushRef="#br0" timeOffset="211408.38">3537 12469 27258 0,'0'0'1948'0,"0"9"-433"15,0 11-475-15,0 6-493 16,0 10-279-16,0-6-162 15,-4 1-58-15,-4-3-28 16,2-3-359 0,4-10-186-16,-2-4-300 15,0-5-331-15,4-4 18 16,0-2 9-16,4-2 280 16,4-15-483-16,6-17-954 15,0-4 1223-15,1-4 626 16,-2 4 235-16,-7-1-297 15,-2 8 31 1,1 12 352-16,-3 2 109 16,-2 11 173-16,0 2 292 15,0 4-305-15,0 0-200 16,4 25-229-16,2 9 473 16,-4 4 493-16,0 10 2359 15,6-5 150-15,4-3-289 16,-4-10-1840-16,-4-7-642 15,0-10-245-15,3-7-91 16,-3-4-49-16,7-10-8 16,4-27-12-1,-7-24-13-15,-2-6-7 16,4 1-870-16,0 5-1258 16,-10 11-5-16,0 13-49 15,0 8-112-15,-5 1 150 16,-2 12-1185-16,-1 3-380 15,6 5-767-15</inkml:trace>
  <inkml:trace contextRef="#ctx0" brushRef="#br0" timeOffset="211631.37">3810 12698 30941 0,'-2'12'887'15,"2"10"-396"-15,2 3-474 16,2-8-1236-16,-2-2-1742 16,0-11-1594-16,-2 0-542 15,2-4-317-15</inkml:trace>
  <inkml:trace contextRef="#ctx0" brushRef="#br0" timeOffset="211801.37">3810 12312 32767 0,'0'0'0'0,"0"0"0"0,0 0 0 15,2 0-460-15,0 3-3643 16,-2-3-3685 0</inkml:trace>
  <inkml:trace contextRef="#ctx0" brushRef="#br0" timeOffset="212359.38">4000 12490 31806 0,'0'7'102'0,"0"26"-252"15,-2 10-72-15,0-7-791 16,2 0-397-16,0-7 532 16,-2 3 232-16,-2 0 149 15,-1-9 28-15,3-10 76 16,2-3 565-16,0-1 195 15,4-1 61 1,5-1 328-16,5-6-105 0,4-9-131 16,-4-4-375-1,10-14-707-15,-5-10-287 16,-5 2 105-16,2-2 371 16,-4 2 561-16,-4-3 354 15,-4-4 228-15,-2 5-448 16,1 9-88-16,-1 6-135 15,-4 8-101-15,4 6 26 16,-2 1-163-16,0 6-198 16,2 13-393-1,3 17 418-15,-3 14 809 16,0 9 1342-16,6-2 73 16,3-5-1220-16,-3 1-428 15,0-5-165-15,-1-17-64 16,0-7-21-16,-5-13-8 15,0 0-2-15,0-5-2 16,4-6-1 0,2-30 0-16,6-13 0 15,-2-2-552-15,0-8-3125 16,-1 8-3755-16,0 7-35 16,4 6 310-16</inkml:trace>
  <inkml:trace contextRef="#ctx0" brushRef="#br0" timeOffset="212764.49">4436 12359 27674 0,'0'0'1357'16,"0"0"-192"-16,0 0-216 15,-4 9-240-15,-11 3-240 16,-12 5-219-16,5-2-162 15,1 12-562-15,-1 7-619 16,0 7 327 0,3 11 522-16,4-1 1031 15,15 0 406-15,12 0-749 16,1-11-286-16,2-8-100 16,-5-14-36-16,2-2-11 15,-2-10-7-15,11-12-1 16,-2-15-1-16,2-35-1 15,-6 4-207-15,-6-1-3271 16,-5 13-1680-16,-4 8-443 16,2 11 3067-1,2 10 5462-15,6 5 3231 16,12 8-2011-16,5 14-2038 16,-3 8-1177-16,-6-3-558 15,-9-13-229-15,-2-1-75 16,-7-7-6305-16</inkml:trace>
  <inkml:trace contextRef="#ctx0" brushRef="#br0" timeOffset="213724.69">1998 11826 22261 0,'0'0'4000'0,"0"10"-1094"16,-4 20-905-16,2 4-1083 15,4 12-496-15,-8 13-253 16,-4 3-110-16,0 10-38 16,8 8-14-16,8 5-5 15,0 4-1-15,-2 0-1 16,2 2 0-16,4-7 0 15,0 3 0 1,-4-10 0-16,3-4 0 0,-3-9 0 16,-3-5 0-1,-1-1 0-15,-9-14 0 16,3-4 0-16,0-6 0 16,1-9 0-16,1-10 0 15,2-2 0-15,9 2 0 16,6-5 0-16,8-3 0 15,5-7 0-15,6-7 0 16,1-3 0 0,3-1 0-16,13 1-263 15,3 3-20-15,13 5 220 16,18-4-4-16,-3 8 448 16,18 0-168-16,18 2-152 15,1 0-45-15,-3-1-12 16,13 1-3-16,22 4-1 15,-9 3 0-15,-11 8 0 16,-11 2 0 0,1 2 0-16,-13 5 0 15,-30 4 0-15,-6-1 0 16,-13-3-1378-16,-31-7-7747 16</inkml:trace>
  <inkml:trace contextRef="#ctx0" brushRef="#br0" timeOffset="214365.26">2059 11802 32767 0,'8'6'0'0,"22"16"0"15,12 3 0-15,24-1 0 16,8-1 0-16,13 2 0 15,23 1 0 1,22-1 0-16,9-2 0 0,9 5 0 16,9-3 0-1,11-6 0-15,-4 0 0 16,-23-2 0-16,11 4 0 16,-15-10-5447-16,-30-9-12629 15</inkml:trace>
  <inkml:trace contextRef="#ctx0" brushRef="#br1" timeOffset="-79422.16">16309 10337 11050 0,'0'0'681'0,"4"-2"1450"0,-2-2-169 0,-2 4-649 16,0 0 75-16,2-2-374 15,0-2-373-15,-4 2-237 16,0-3 22-16,-2 4-151 15,-1-2-112 1,-5 1-55-16,-7 0-62 16,-4 9 132-16,-5-1 13 15,7 2 965-15,-2 5 111 16,2 1-255-16,-7 6-650 16,-1 1-242-16,2 4-386 15,-3-6-101-15,5 3-131 16,8 1 64-1,4-6-558-15,1 17-15 16,14-20 789 0,2 4 105-16,10-6 202 15,10 3-97-15,15-2 5 16,-5-5-74-16,2 2 121 16,17 3-24-16,2 0-55 15,-5-4 64-15,6 5-81 16,-1-1 97-16,-10-3 30 15,1 6-47 1,-3-4-136-16,-5 1 48 16,-6 2 56-16,-15-3 306 15,-10 1 1099-15,-1-1 282 16,-6 1 102-16,-10 9-193 16,-58 14 1146-1,22-19-1939-15,1-3-498 16,-9 8-178-16,-7-5-79 15,5 2-750 1,-7-1-1304-16,-2-7-1380 16,16-5-3638-16,17 1 216 15,0-5 351-15</inkml:trace>
  <inkml:trace contextRef="#ctx0" brushRef="#br1" timeOffset="-79034.3">16757 10479 19250 0,'0'0'770'15,"8"0"1342"-15,3 0-179 16,-2 7-1318-16,-3-1-288 16,0 7-187-16,-1 4-77 15,1 8 56-15,-4 3-8 16,0 5 161-16,0 3 523 15,4 7-229 1,3 3-113-16,-6 5-179 16,-1-11-446-16,0 3-1686 15,-2-9-3450-15,-4-3-2645 16</inkml:trace>
  <inkml:trace contextRef="#ctx0" brushRef="#br1" timeOffset="-78534.67">16725 10475 21717 0,'0'0'269'0,"-4"-8"776"16,2-1-574-16,2 3-206 15,6-7-471-15,0 0-298 16,4-3 187-16,2 0 74 16,2 2-111-16,10 1-33 15,5 3-757-15,5-1-622 16,5 2-704-16,7 5 1009 15,1 6 321 1,-11 0 694-16,-6 5 245 16,3 2 166-16,-3 1 58 15,-4 5 39-15,-4-3-34 16,-11-5-18-16,0 1 364 0,-1 9 734 16,-3-4 1254-16,-12 4-78 15,-11 2-395-15,-8 4 327 16,-8-4-866-1,1 0-699-15,-9 2-246 0,-13 2-162 16,-3-1-468 0,4-5-2251-16,7-3-2569 15,7 1-757-15,9-4 16 16</inkml:trace>
  <inkml:trace contextRef="#ctx0" brushRef="#br1" timeOffset="-78176.19">17333 10407 12428 0,'0'0'4368'16,"0"0"-484"-16,4 7-1070 15,-2 3-911-15,0 1-763 16,-2 6-759-16,-2 6-882 16,-2 2-965-16,2 7-274 15,-2 7-442-15,-3 2-1058 16,5 2 1033-16,-4 3 469 15,-3 6 501 1,3-15-890-16,4 2-1888 16</inkml:trace>
  <inkml:trace contextRef="#ctx0" brushRef="#br1" timeOffset="-77588.1">17260 10323 22101 0,'3'-6'297'0,"4"-11"1108"0,3 4-758 15,7-2-305 1,13 7-850-16,2 1-331 16,3 1 479-16,-1 4 144 15,-10 6 183-15,12 4-361 16,10 3-455-16,-8 4-545 16,-11 2 678-16,-5 4 568 15,-1 7 45-15,-7-3 203 16,2 0 210-1,-10 1 703-15,-6-3-212 16,-6 0-384-16,-14 2-38 16,2-1-157-16,-10-1 43 15,-9-4-90-15,-7-2 412 16,2-2-88-16,4-1-199 16,-2-7-293-16,2 2-1219 15,2-5 538-15,15 2 395 16,10-2 87-16,4 1-485 15,3 3 675-15,2 2 555 16,6 3 1414 0,18 2-134-16,9 0-590 15,14 0-412-15,-3 2 77 16,-12 0-543-16,10 6-197 16,3 2 17-16,-14-1-81 15,-2-6-303 1,-3 0-1257-16,-5-4-2760 15,-3 1-2059-15,0-6-1550 0</inkml:trace>
  <inkml:trace contextRef="#ctx0" brushRef="#br1" timeOffset="-77186.26">17908 10308 21652 0,'0'0'394'0,"0"0"505"0,0 0-261 16,0 0-202 0,0 2-272-16,3 5-81 15,-1 9-77-15,2 12-54 16,-2 8 5-16,0 2 44 16,5 0 76-16,-3 7 33 15,-6 8 948-15,2-5-155 16,2-2-467-16,-6-1-741 15,1-1-2785-15,-3-9-3240 16,2-8-1495 0</inkml:trace>
  <inkml:trace contextRef="#ctx0" brushRef="#br1" timeOffset="-76846.25">18239 10346 23446 0,'0'0'1163'0,"0"0"-356"0,0 0-152 15,6 0-321 1,-6 7-135-16,0 9-98 16,-6 14-168-16,-3 4 36 15,3 8 37-15,-3 7-300 16,1 6-653-16,-11 0-1000 16,4-2 522-16,3 2-3256 15,-10-13-213-15,5-4-922 16</inkml:trace>
  <inkml:trace contextRef="#ctx0" brushRef="#br1" timeOffset="-76425.4">18199 10367 3075 0,'0'0'6487'16,"0"0"-1544"-16,0 0-2145 15,0 0-871-15,2 7-408 16,-2 12-876-16,6 4-1208 16,11 13-84-16,-2 6-864 15,2 5 33-15,9 1 809 16,-2-8 798-16,-7-4 725 15,7 0 834 1,-3-4 251-16,-2-6 586 16,2-9-624-16,-4-7-476 15,-4-2-338-15,-1-5 119 16,2-10-16-16,-4-7-484 16,-4-14-292-16,-4-3-175 15,0-8-152-15,-4-1-126 16,2 0-34-16,0 2-894 15,4 6 487-15,-4 7-507 16,0-1-539 0,0 1-3025-16,0-1-3649 15</inkml:trace>
  <inkml:trace contextRef="#ctx0" brushRef="#br1" timeOffset="-76049.09">18884 10278 27226 0,'0'0'180'16,"0"0"-144"-16,2 0-56 15,0 9-277-15,0 5-349 16,-2 8-40-16,0 5 175 16,2 11 298-16,-4-6 419 15,4 8 179-15,-2 3-195 16,8 1-93-16,-6-2-214 15,-4-10-1834 1,-1-4-326-16,3-3-1697 16,0-10-734-16,0-3-281 15</inkml:trace>
  <inkml:trace contextRef="#ctx0" brushRef="#br1" timeOffset="-75741.56">18624 10317 18994 0,'0'0'1341'0,"0"0"673"16,13 0 755-16,8 0-644 16,5-3-641-16,1-3-736 15,17-1-205-15,12 1-322 16,-3-4-263-16,1 3-917 16,9 3-1233-16,3 0-2767 15,-9-1-2895-15</inkml:trace>
  <inkml:trace contextRef="#ctx0" brushRef="#br1" timeOffset="-75242.35">19668 10287 21877 0,'0'0'1325'0,"0"0"-449"15,2 4-539-15,2 6-1183 0,-2 6-20 16,-2 0-809-16,-8 12-1772 16,1-1 1182-16,1 5 1376 15,-5 8 534 1,1 0 795-16,7 11 1712 0,1-6 1028 15,7-3-657 1,7-4 93-16,8-2-1244 16,7-6-652-16,15-9-448 15,0-6-562-15,5-7-439 16,11-5-1714-16,-2-6-396 16,-9 1-1872-1,-5-6-1037-15</inkml:trace>
  <inkml:trace contextRef="#ctx0" brushRef="#br1" timeOffset="-74900.29">19577 10297 25624 0,'0'0'484'0,"-4"0"-758"15,4 0 20-15,6-2 543 16,10 2 410-1,4 0 81-15,5 2 459 0,11-4-51 16,17 0-588 0,4-6-648-16,-19 1-1402 15,11 3-2585-15,0 0-2717 16,-13-5 148-16</inkml:trace>
  <inkml:trace contextRef="#ctx0" brushRef="#br1" timeOffset="-74620.29">19532 10530 26361 0,'2'5'949'0,"11"7"-52"16,15 1 45-16,8-1-176 15,-7-5-1292-15,13-7-1315 16,11 0-1877-16,-4-4-1507 16,-6 0-255-16,-2-3-780 15</inkml:trace>
  <inkml:trace contextRef="#ctx0" brushRef="#br1" timeOffset="-74173.5">20159 10255 13357 0,'0'0'3756'0,"0"0"-1184"0,0 2-1332 15,4 5-359-15,0 1-333 16,0 15-427 0,-2 7-223-16,9 12 92 0,-6-4 26 15,-1 13-10 1,8-4-3-16,-6 3-63 0,8-3 177 15,-4-5-151-15,5-4 2 16,-1-4 281 0,4-4 258-16,-6-9 715 15,0-4-137-15,-2-13-314 16,-6 3 12-16,0-6 405 16,4-5 398-16,0-10-519 15,3-22-429-15,-4 2-316 16,1-2-317-16,1 2-298 15,-1-4-451-15,4 0-1019 16,8 2-1739 0,-8 2-2611-16,-3 4-2694 15</inkml:trace>
  <inkml:trace contextRef="#ctx0" brushRef="#br1" timeOffset="-73703.46">20722 10247 21428 0,'0'0'1974'0,"0"2"-651"0,0 0-398 15,2 4-122 1,-2 2-407-16,2 5-723 16,-2 2-243-16,-2 0 221 15,2 2 137-15,0-9 122 16,0 7 215-16,-2 11-2 0,0-1 595 16,4 0 207-16,-6-3 134 15,6 5-13 1,0-1-126-16,6-1 16 15,0-2-415-15,3 2-308 16,-4-5 60-16,5-4 40 16,5 4-154-16,5-4-86 15,22 8-24 1,-23-18-76-16,13 3-413 16,0-3-39-16,-5-2-150 15,5-2 288-15,4-2-157 16,-14 0-830-16,-5 0-2124 15,6-2-3335-15,0-4-1672 16</inkml:trace>
  <inkml:trace contextRef="#ctx0" brushRef="#br1" timeOffset="-73241.45">20669 10223 11307 0,'0'0'1982'0,"0"0"288"0,0 0-30 16,0 0-244-16,2 0 426 15,17 0 139 1,0 2-866-16,2 1-746 16,11-3-385-16,15 0-342 15,-5 0-468-15,7 0-290 16,-3 0-1277-16,9-3-692 16,-11 6-2570-16,-12-2-372 15,0-1-584-15</inkml:trace>
  <inkml:trace contextRef="#ctx0" brushRef="#br1" timeOffset="-72954.29">20654 10460 12460 0,'0'0'5403'0,"-2"2"-1871"16,4 1-1411-16,9 3 181 16,10-4-123-16,-1 2-1134 15,2-6-520-15,14 4-546 16,7-6-1614-16,-3-2-3000 15,6-3-2518-15,9 7-1348 16</inkml:trace>
  <inkml:trace contextRef="#ctx0" brushRef="#br1" timeOffset="-72629.27">21456 10281 20692 0,'0'0'1039'16,"0"0"-309"-16,-2 1-551 16,-3 8 245-16,-1 5 284 15,4 6-12-15,0 8-659 16,-2 7-94-16,0-3 162 15,-4 6 572-15,-4-2 180 16,0 9-237 0,-5-3-301-16,-6-4-158 15,0-4-254-15,-5 2-2775 16,3-4-2712-16,10-7-981 16</inkml:trace>
  <inkml:trace contextRef="#ctx0" brushRef="#br1" timeOffset="-72155.29">21431 10176 4260 0,'0'0'7582'16,"0"0"892"-16,2 5-6079 15,6 3-1928-15,3 9-1149 16,-5 6-1071-16,1 7-242 16,-1 12-266-16,11 7 1159 15,6 4 743-15,-2 2 253 16,5-6 110-16,3 2 225 15,1-11 1578 1,-8-6 383-16,2-1-160 16,0-9 767-16,-5-5-833 15,-3-4-705-15,0-9-668 16,-2-4 5-16,-3-2-177 16,-2-6 112-16,-3-13-171 15,-2-9-222-15,0-1-3 16,1 1-24-16,-3-6-114 15,-2 2 2 1,0 3-52 0,8-22-298-16,-8 32-1155 15,-2-4-2874-15,2-5-2262 16,0-1-1743-16</inkml:trace>
  <inkml:trace contextRef="#ctx0" brushRef="#br1" timeOffset="-71837.2">22134 10196 16047 0,'0'0'4411'0,"6"4"-994"0,4 8-635 15,-6-9-1559-15,5 7-48 16,-4 1-488-16,-1 4-372 16,0 10-407-16,0 4-277 15,4 8 256-15,-5 11 263 16,-3-8 175-16,4 12 131 16,-4-6-69-16,2-2-144 15,-2-10-981-15,0-4-1197 16,4-9-3040-16,-2-6-2653 15</inkml:trace>
  <inkml:trace contextRef="#ctx0" brushRef="#br1" timeOffset="-71587.04">21928 10109 32767 0,'0'-2'0'16,"20"-5"0"-16,13 1-18 16,-10-1-92-16,4 6-379 15,10 1-652-15,11 0-1153 16,-14 0-1840-16,0 1-3021 15,13 6-2028 1</inkml:trace>
  <inkml:trace contextRef="#ctx0" brushRef="#br1" timeOffset="-71000.04">22722 10219 21588 0,'-2'0'305'0,"-13"6"-251"16,-13-2-40-16,-10 3-7 15,0-1-23-15,11-1 10 16,-1 5 21-1,-8 3-27-15,5-5-48 16,11 3-484-16,6 0 254 16,1-3 192-16,6 1 643 15,9 3 662-15,14 5 479 16,11-2-111-16,5 2-920 16,4-1-372-1,6 0-206-15,13-2-190 16,-9 1-225-16,-7-4-437 0,1 6 108 15,9 6-263 1,1-4 2-16,-9 2 510 16,-9 0 243-16,-6 3-30 15,-2-1-131-15,-18-15 222 16,7 7-643-16,-6 2 341 16,-5-2 830-16,-9 2 360 15,-5-2 1438-15,-9-3 98 0,-7-1-264 16,-4-7-399-16,-15 1-387 15,-12-5-527 1,11 1-604-16,1 4-62 16,-17-1 3-16,3 2-300 15,4 3-571-15,-9-1-978 16,12 3-471-16,17-3-1855 16,-1-1-1994-16,-2 1-1964 15</inkml:trace>
  <inkml:trace contextRef="#ctx0" brushRef="#br1" timeOffset="-70252.93">23245 10232 2402 0,'0'0'9506'0,"0"0"-1975"15,4-4-2266-15,-2-1-2186 16,-2 1-1198 0,2 0-697-16,0 0-427 15,0-1-331-15,-2 3-147 16,-2-4-1143-16,4 4-3120 16,4-5-5129-16</inkml:trace>
  <inkml:trace contextRef="#ctx0" brushRef="#br1" timeOffset="-69828.58">23401 10602 32767 0,'0'0'0'0,"0"0"0"15,3 0 0-15,-3 0 0 16,6-4-1158-1,-2-7-6146-15</inkml:trace>
  <inkml:trace contextRef="#ctx0" brushRef="#br1" timeOffset="-67354.3">16577 13961 16207 0,'6'0'2613'16,"16"-2"1421"-16,5 0-1788 16,-1-4-1288-16,-5 3-984 15,9-3-1827-15,-3-2 466 16,9 1 565-16,6 1 454 16,-2 0 436-16,3-3 175 15,7 5 575-15,1 2 788 16,-4-4-285-16,2 3-644 15,14 3-407 1,-6-2 131-16,-1-2-363 16,11-2 63-16,-1 2-217 15,-1 1 311-15,14 2-128 16,-7 1 324-16,4-3-111 16,2-1 27-16,-3 6 335 15,5-2-121-15,6 0-47 16,-5 0 90-16,-1-2-104 15,7 2-48 1,0-2 5-16,14 2-313 16,-12-3 353-16,-4-3-301 15,-3 4-109-15,11-2 35 16,3-2 34-16,-14 4-84 16,18-3-22-16,-9 3-7 15,7 4-2-15,1-4-1 16,-6 0 0-16,0 0 0 15,9 2 0 1,-1-2 0-16,-3-1 0 16,3 2 0-16,3-2 0 15,4-1 0-15,-6 2 0 16,6 0 0-16,3 0 0 16,6 2 0-16,-6-4 0 15,-10-1 0-15,10 3 0 16,-2-2 0-1,1 2 0-15,4 0 0 16,-1 0 0-16,-1 0 0 16,-9-2 0-16,8 4 0 15,0-5 0-15,2 7 0 16,4-2 0-16,-8-6 0 16,4 6 0-16,11 0 0 15,-1-2 0-15,-4 4 0 16,4-4 0-16,-3 4 0 15,-4-2 0 1,9 2 0-16,1 2 0 16,-13-1 0-16,127 1 0 15,-109-4 0 1,5 2 0-16,-21-4 0 16,4-1 0-16,8 6 0 15,5-3 0-15,-5 0 0 16,-2 4 0-1,0-2 0-15,1-2 0 16,3 2 0-16,2 2 0 16,-8 0 0-16,7 1 0 15,5 1 0-15,-16 3 0 16,4-5 0-16,10 2 0 16,-5 1 0-16,-11-5 0 15,-2 4 0-15,7-2 0 16,-3 0 0-16,8-1 0 15,8-2 0 1,-8 4 0-16,-4-3 0 16,7 0 0-16,-11 1 0 15,-8-2 0-15,12-2 0 16,4 2 0-16,-15-2 0 16,5 5 0-16,-6-4 0 15,0-3 0-15,2 3 0 16,-2 3 0-1,1-3 0-15,-14 0 0 16,14 1 0-16,-9 4 0 16,-11-3 0-16,11 0 0 15,-8 0 0-15,0 0 0 16,5 0 0-16,0 1 0 16,-9-6 0-16,6 6 0 15,-6 1 0-15,0-4 0 16,-4 4 0 15,86-4 0-31,-90 6 0 0,-2 1 0 16,-1-3 0-16,-13 2 0 15,6-4 0-15,2 9 0 16,-4-5 0-16,-8 1 0 16,-1 1 0-16,-4 1 0 15,9-3 0-15,-6 2 0 16,-5-1 0-1,-7 1 0-15,-2-1 0 0,0 3 0 16,4-1 0 0,-1-3 0-16,-18 0 0 15,6 0 0-15,11-1 0 16,-12 1 0-16,0-1 0 16,25 5 0-1,-25-6 0 1,-7 1 0-16,2 1 0 0,16 1 0 15,-29-3 0 1,-1 2 0 0,-4-2 0-16,-6 0 0 15,1 1 0-15,4-1 0 16,-7-2 0-16,-2 0-215 16,3 2-919-16,-1-4-808 15,-4 0-1153-15,0 0-1548 16,-2 2-937-1</inkml:trace>
  <inkml:trace contextRef="#ctx0" brushRef="#br1" timeOffset="-66792.72">31578 13798 11691 0,'0'0'3126'0,"-4"4"-867"16,6 5-258-16,0 2 459 16,-2-1-774-16,7 3-590 15,1 4-410-15,-2-4-219 16,0 3-264-16,-2 4-83 16,1 3-143-16,-2 4 30 15,-6 9 33-15,8 8 17 16,-5 4 174-16,0 2 654 15,0 9 37 1,2-8-527-16,-2 4-453 16,2 41-5223-1,2-60-2062-15</inkml:trace>
  <inkml:trace contextRef="#ctx0" brushRef="#br1" timeOffset="-66057.86">31589 13707 11403 0,'0'0'4937'16,"4"2"-573"-16,10 0-938 15,2 3-780-15,-2 1-1279 16,14 9-561-16,7 0-539 15,4 2-211-15,-3-3-111 16,0 3-198 0,12 9-283-16,-1-3-227 15,12 3-186-15,-5-3-317 16,0 0-99-16,-3 0 955 16,-2 1 428-16,-7-1 147 15,-2-2-1065-15,-1-4-321 16,-5 0-193-16,-9-4-1575 15,-6-7 830 1,-4 2-138-16,-9-4 388 16,-4-1 137-16,0-1-186 15,-2 2 734-15,-2 0 1802 16,-4 0 500-16,-5 1 468 16,-1-1-130-16,-20 2 118 15,8 1-647-15,-5 1 49 16,3-2-342-1,6 1-75-15,-10 1-95 16,0 5 198-16,3 0-34 16,-5 4-208-16,-8 0-94 15,7-3-292-15,2 1-274 16,-7 2-133-16,-4-4-43 16,10 0 265-16,-4-5 467 15,-1 2 256-15,-9 7 98 16,-1-2-35-16,1-2-312 15,10 0-161 1,3 4-1628-16,-8 0-1248 16,11-3-1749-16</inkml:trace>
  <inkml:trace contextRef="#ctx0" brushRef="#br2" timeOffset="-56155.18">17668 7139 17745 0,'-2'-8'797'16,"-4"-16"478"-16,-4-7-395 0,2-5-224 16,4-4-382-16,2-5-161 15,-2-6-47-15,4 39-48 16,-9-31 53-16,0-10-165 0,-3-10 60 15,3 1-20 1,-3-5-9-16,-2-3 65 16,2-11 65-16,0-3 582 15,1 6 1159-15,2-11-353 16,7-11-697-16,2-2-292 16,6 7-476-1,-1-4 354-15,8-3-434 0,-1-2 66 16,-2 5 87-16,10 1-139 15,-5-3 9 1,12 2 118-16,-8-3 196 16,5 9-502-16,9-7 205 15,12 5 176-15,-9 6-92 16,2 8-92-16,8 1 132 16,-1 13-9-16,-5-8 112 15,0 12-38-15,17 6-160 16,-3 4 14-16,1 4-147 15,-3 9 105-15,5 6-96 16,-4 7-336 0,-13 12-933-16,12 9-806 15,3 1 1426-15,-15 18 544 16,-2 4 91-16,9 11 298 16,1 8 164-16,3 8-5 15,-11 0-12-15,-6 13-99 16,-1 7-80-16,6 8 529 15,-3 6 123 1,-8 3-108-16,-5 9-292 16,0 6-140-16,2 3 10 15,-1-1 61-15,3 1 0 16,-3 5 47-16,-10 0 104 16,-1 6-415-16,4 2-19 15,-5 11 67 1,-5-9 278-16,2 0-333 0,1 9 82 15,-4-13 159 1,-6-91-212-16,13 74 327 0,-7 109-170 16,-6-107-266-1,7-4-867-15,-10-15-3215 16,1-4-3848-16</inkml:trace>
  <inkml:trace contextRef="#ctx0" brushRef="#br2" timeOffset="-55320.48">18341 3194 19506 0,'2'-11'-90'0,"2"-8"640"15,-4 2 209 1,-4 2-35-16,-3 5-557 16,1 1-64-16,-5 3-1075 15,-12 10-1060-15,-3 7 782 16,-1 10 670-16,2 5 372 16,4 10 137-16,1 5 82 15,-12 15 163-15,3 5 463 16,5 5 569-16,8 10-143 15,14 0-448 1,0 13 196-16,12 6 100 16,7 0 606-16,9-12-915 15,8-1-468-15,-3-16-226 16,16-15-111-16,6-11-52 16,4-12-552-16,-7-18 246 15,14-12 298-15,2-10-360 16,-14-16 276-16,1-10 180 15,-5-9 67 1,-4-14 110-16,-5 2 578 16,-11-2 586-16,8-9-71 15,-25 2 395-15,-1-4-476 16,-16 6-553-16,-2-2-353 16,-18 7 583-16,1 18 263 15,-11 3-227-15,6 9-427 16,-17 8-443-16,-12-5-1021 15,13 11-2546 1,-20 2-4178-16,15 4-1741 16</inkml:trace>
  <inkml:trace contextRef="#ctx0" brushRef="#br0" timeOffset="-49510.44">19379 6938 12364 0,'-4'-2'661'0,"-14"-13"1890"31,7 0-572-31,-6-6-506 0,-4-12-661 15,1-4-416-15,2-5-292 16,1-11-22-16,0-2-53 16,0-8-18-16,-3-3-7 15,0 2 18-15,-2-9 8 16,-1-2-65-16,6-11 407 16,2-3 715-1,-1-3-107-15,0-2-281 0,-2-4 123 16,5-4-60-1,-4-4-244-15,6 1-29 16,-5-5-285-16,14 0-150 16,-2 4 194-16,12-4-63 15,-6 10-253-15,17-2 142 16,13 3 40-16,-5 2-176 16,7 12 114-16,-2 1-83 15,18 3 22-15,-1 11-16 16,7 15-71-1,-2 11 68-15,3 10 18 16,9 11-187-16,-5 16 113 16,7 14 76-16,-28 7-14 15,22 25 143-15,-5 14-192 16,-5 14 183-16,1 20-7 16,-5 13-76-16,-2 14-93 15,-15 13 120-15,5 19 8 16,-12 2 0-16,5 6 26 15,1 9 762 1,-26-139-730-16,18 118 800 0,-6 16 248 16,1 16-329-16,1-7-366 15,-2-4-451-15,-6-4-495 16,4-13-2502-16,0-19-4932 16,-1-15-5267-16</inkml:trace>
  <inkml:trace contextRef="#ctx0" brushRef="#br0" timeOffset="-48667.13">20114 5880 27962 0,'-23'-36'-99'0,"-13"-36"101"16,17-7 464-16,-2-14 855 16,5-6-436-16,-6-9-587 15,20-8-172-15,-3-7-1438 16,10-8-281-1,5-3-137-15,7 3-1705 0,2 8 1228 16,7 1 95 0,3 7 1400-16,13 12 674 15,-4 18 439-15,-3 9 403 16,13 14 147-16,7 9-396 16,9 17 9-16,1 15-428 15,1 15-305-15,-3 16 177 16,18 20 107-1,-12 21 144-15,-9 8 890 16,5 19 77-16,-14 20 497 16,1 20-839-16,2 16-590 15,9 10-276-15,-16 10-39 16,-7 22 93-16,3 8-31 16,-11 6 432-16,0 7 970 15,-18 4-105-15,9 5-302 16,-3-7-351-16,-10-15-660 15,4 4-252-15,-2-14-758 16,-4-13-2255 0,-4-19-2421-16,-8-29-1747 15,6-30-231-15</inkml:trace>
  <inkml:trace contextRef="#ctx0" brushRef="#br0" timeOffset="-48099.64">20980 5203 31902 0,'-19'-28'-281'0,"-8"-31"170"16,-5-11 336-16,10-4-352 15,-3-11 199-15,21-4-28 16,0-4-169-16,10-9-885 16,11-5-1220-16,13 3 599 15,4 8 275-15,18 6 538 16,11 9-33-16,12 5 967 15,10 8 246 1,-1 15 56-16,16 11-43 16,-3 15-415-16,0 14 99 15,14 17-113-15,-23 19-164 16,18 17-38-16,-19 13 144 16,4 23 821-16,-3 13-69 15,-21 17-434-15,9 17 168 16,-17 8-338-16,-12 17 23 15,3 18 30-15,-3 9-96 16,-21 9 469 0,-10 11 380-16,-1 4 695 15,-18 6 35-15,-1 7-441 16,0-9-510-16,-4-8-505 16,0 4-94-16,-7-8-18 15,0-14-642-15,-4-24-2757 16,-9-46-5471-16</inkml:trace>
  <inkml:trace contextRef="#ctx0" brushRef="#br0" timeOffset="-47426.55">19843 3439 32767 0,'-14'-36'-1068'15,"5"-19"560"1,-4 1 328-16,7 9 98 0,0 11 126 15,-7 7-294 1,-17 8-1459-16,-16 8-252 16,8 22-341-16,-26 20 502 15,0 11 1262-15,-1 15 521 16,23 18 596-16,0 14 452 16,-9 16 719-16,21 18-134 15,0 25-212-15,34-4 167 16,7-6-602-1,23-30-749-15,12-30-392 16,12-36-49-16,27-20-759 16,-10-29 46-16,12-26-520 15,-4-23-189-15,-13-13 99 16,3-14 987-16,-4-15 1099 16,-13 1 949-16,-11-13-316 15,-7-2 223-15,-19 8-278 16,-6 9-569-16,-15 17-490 15,-9 10-320-15,-18 11-1080 16,-12 10-3042 0,-7 7-2931-16,16 15-1306 15</inkml:trace>
  <inkml:trace contextRef="#ctx0" brushRef="#br0" timeOffset="-46933.42">20540 2974 28315 0,'0'0'-175'0,"-9"4"-56"15,-20 19 16-15,-10 17 38 16,-7 3-268-16,10 14-439 16,-17 11-590-1,15-1-192-15,-5 20 183 16,13 6 833-16,8 13 603 16,4 4 224-16,12-4 149 15,17-21 3488-15,10-9-1805 16,19-13-607-1,7-14 205-15,8-19-655 16,19-11-549-16,11-19-297 16,-3-17-119-16,-3-13-282 15,-14-18-567-15,-8-9-8 16,13-20 384-16,-5-10 564 16,-26-2 1506-16,-1-1-421 15,-16-10-581-15,-14 19-428 16,-26 9-108-16,2 18-32 15,-12 7-9-15,-1 11-1609 16,-1 9-4235-16,-8 3-3783 16</inkml:trace>
  <inkml:trace contextRef="#ctx0" brushRef="#br0" timeOffset="-46432.22">21849 2974 31037 0,'-4'-3'335'0,"-23"2"-413"15,0 9-683-15,-32 15-378 16,-10 11-151 0,8 11 272-16,-9 7-780 15,9 5-739-15,11 13-141 16,-8 13 900-16,13 8 1612 16,16 17 1158-16,6 10 708 15,23-10 1407-15,12-8-567 16,18-30-721-16,18-9-713 15,14-23-730 1,18-14-94-16,9-16 392 16,0-25 113-16,0-19-207 15,-2-4-326-15,7-15-345 16,-29-6-45-16,-11-5 6 16,6-10 252-16,-27-11 26 15,-9-6-243-15,-13 4-773 16,-16 12 342-16,-15 8-756 15,-23 8-302-15,-12 12-1084 16,0 6-1745 0,-38 16-3063-16</inkml:trace>
  <inkml:trace contextRef="#ctx0" brushRef="#br3" timeOffset="-40592.24">22584 7133 9097 0,'-2'-2'1457'15,"-8"-15"-231"1,-4-11-453 0,-4-5 177-16,8-3 68 0,3-3 757 0,-4-10 153 15,5-1-695-15,-2-5-707 16,-3-15-264-1,3 2-199-15,4-4 45 16,-1-6-272-16,0-5 136 16,-1-3 19-16,0 1 6 15,0-2 70-15,2-6 410 16,4 2 728-16,-2-2-1128 16,2-13 1020-16,8 0-379 15,-4 3 37-15,8-8-8 16,6 10-388-16,3-5 255 15,0 5-263 1,-2-4-233-16,7 6-155 16,1-4 73-16,15 3-120 15,7 3 15-15,-3 1-44 16,1 10 84-16,9 3 89 16,7 7-42-16,-7 15 210 15,8 6-137-15,-9 6 1 16,11 5-40-1,6 7-102-15,-8 10 13 16,3 8 25-16,5 6-382 16,-4 13-591-16,2 15-188 15,-7 8 627-15,-17 13 287 16,12 19 185-16,-7 13 230 16,-13 6-65-16,-13 15 417 15,-3 8-153-15,-4 18-277 16,0 3 62-1,0 11 357-15,-7 9 704 16,2 10-644-16,-20 2-431 16,3 3 77-16,-2 3-308 15,-5 5 459-15,-7-2 577 16,4 2 526-16,8-6-370 16,-4 3-547-16,-1-10-275 15,0-17-182-15,5-10-1404 16,4-21-3332-16,0-31-4948 15</inkml:trace>
  <inkml:trace contextRef="#ctx0" brushRef="#br3" timeOffset="-39845.35">23423 2805 27386 0,'-9'1'-205'0,"-10"-1"-228"15,-6 4 223-15,-1 9-9 16,5 13 96-16,-5 6-67 16,4 12-1131-16,-6 6-663 15,0 10 63-15,-7 8 714 16,7 10 693-16,6 9 468 15,10 10 332-15,8-78-230 16,-11 68 1674-16,9 8 1268 16,4-6-891-16,16-14-1177 15,16-14-216-15,17-6-627 16,-5-17-102-16,-5-15-88 16,17-8 123-16,5-9 29 15,-6-21-32-15,-7-3 129 16,7-21-194-16,1-11 250 15,-6-16-182 1,-3-6 144-16,-5-7-70 16,-11-10 186-16,3 3 97 15,-17-5 504-15,-6 2-468 16,-11 0 25-16,-5 2-41 16,-10 9-14-16,-2 8-398 15,-11 6-33-15,-6 10-414 16,6 15-2073-16,-10 12-7286 15</inkml:trace>
  <inkml:trace contextRef="#ctx0" brushRef="#br3" timeOffset="-35633.22">23001 1727 8360 0,'0'-4'2145'15,"-2"-9"-522"-15,2 6 238 16,-2-3 99-16,2 4-590 16,0 4-378-1,2 0-376-15,-2 2-469 16,0 6 8-16,0 15-30 15,11 11-93-15,-7 8 405 16,2 11 618-16,-1 8 345 16,3 5 1181-16,-6-1-1040 15,2-6-819-15,-4 0-469 16,2-8-769-16,-8 2-3437 16,4-13-2974-1</inkml:trace>
  <inkml:trace contextRef="#ctx0" brushRef="#br3" timeOffset="-35119.09">22936 1683 16400 0,'-2'-3'2714'0,"2"-1"-2343"15,8-2-406-15,12-1-659 16,9 6-815 0,0-2 384-16,1 1 354 15,8 2 291-15,-12 5 197 16,16 3 3-16,-26 2-26 16,19 7-16-16,-14-2 197 15,0 0 88-15,-13-3 52 16,12 8 11-16,-14-8 363 15,-2 3 1400 1,-10 2 626-16,-4-2-555 16,-8 2-752-16,-9 2-459 15,-22-2-277-15,6-4-144 16,6 1-216-16,-13 3-394 16,-2-2-1531-16,13-7-1943 15,31-5-1140-15</inkml:trace>
  <inkml:trace contextRef="#ctx0" brushRef="#br3" timeOffset="-34684.69">23338 1750 16015 0,'0'0'1396'0,"0"0"-937"32,0 0-745-32,0 0-509 0,6 2-140 15,4 2-216-15,-2 1 432 16,4 5-343-16,2 3-237 16,2 8 584-16,-10 11 504 15,7 11 602-15,-11-2 1023 16,-4 4 730-16,-7 10 756 15,5-4-1034 1,-5-9-1303-16,7-5-3095 16,-9-8-3525-16</inkml:trace>
  <inkml:trace contextRef="#ctx0" brushRef="#br3" timeOffset="-34171.07">23332 1689 21268 0,'8'-2'-29'0,"2"-7"-380"15,22-2 184 1,-2 6 147-16,-19 2 51 16,5 1-37-16,2 4-136 0,6 2-906 15,4 5-1027-15,-9 4 209 16,13 5-345-16,-12-2-324 16,-6-2 966-16,-8 1 1055 15,-4 4 1263-15,-14 0 1542 16,-4 3-66-16,-6-4-603 15,13-11-1032-15,-14 10 1060 16,0-3-123-16,1 3-693 16,-3 5-563-16,-9-1-136 15,4 0-27-15,3-2 319 16,10-4-9-16,7 2-76 16,5 0 43-16,12 4 658 15,15-2 462-15,19-2-799 16,-5-7-457-16,4-1-36 15,5 5 9 1,7-5-284-16,-20 0-1458 16,5 3-2993-16,-3 1-942 15</inkml:trace>
  <inkml:trace contextRef="#ctx0" brushRef="#br3" timeOffset="-33728.1">23764 1797 6406 0,'-2'-5'6693'0,"-5"-1"-3262"15,7 0-1571 1,-9-1-811-16,3 5-1985 16,-7 4-1261-16,-4 7 965 15,0 10 682-15,3 11 193 16,-2 10 215-16,4 6 444 16,6 1 1307-16,4-7-54 15,10 0-832-15,-4-16-545 16,2-3-811-1,18-4-1151-15,1-11 479 0,5-8 580 16,0-10 718 0,0-10 152-16,-18-1 1335 15,7-4 835-15,-9 1-540 16,2-6-465-16,-15 2 445 16,-1 9-730-16,2 0-650 15,-5 2-1748 1,1 4-2990-16,-2 1-3487 0</inkml:trace>
  <inkml:trace contextRef="#ctx0" brushRef="#br3" timeOffset="-33460.94">23968 1808 22549 0,'0'0'994'0,"0"1"-512"15,2 12-163-15,8 6-169 16,-2 7-720-16,-2-1-146 16,0 9-441-16,-4 4 378 15,0 2 508-15,3-2-389 16,-3 0-2858-16,-2-10-840 15,6-7-604 1</inkml:trace>
  <inkml:trace contextRef="#ctx0" brushRef="#br3" timeOffset="-33081.74">23839 1756 26009 0,'-4'-4'-99'0,"10"-6"-237"16,28-9 271-16,7 10 232 16,-1 1-369-16,-8-1-1258 15,-1 9 700-15,23 6-383 16,0 3-704-16,-15 6-1571 15,-5 6 730 1,8 11 835-16,-17-7 1385 16,3 7 749-1,-1 2 801-15,-8-11 1529 0,-14 4 133 16,-8-1-748-16,-7 4-279 16,-12 2 114-16,-20-1-656 15,2-5-821-15,-9 3-1413 16,-2-3 186-16,5-8-580 15,-7-2-3344 1,30-8-1267-16</inkml:trace>
  <inkml:trace contextRef="#ctx0" brushRef="#br3" timeOffset="-32526.14">24360 1791 23446 0,'0'0'764'15,"0"0"-1039"-15,-2 1-530 16,0 12 339-16,4 6 243 15,0 13-275 1,0 2-286-16,-4 8-871 16,0-1 857-16,4-1 510 15,-2-7 84-15,8-11-573 16,6-5-302-16,-8-9 447 16,12 1 231-16,17-9 338 15,5-20-666-15,-12 1 11 16,-5-6 437-1,0-3 46-15,-8-1-25 16,-1-7-143-16,2 2 56 16,-10-4 240-16,-4 9 298 15,2 3 463-15,-6 5 341 16,0 4 679-16,0 6 495 16,-2 3-465-16,-2 3-619 15,3 4-468-15,-4 5 480 16,5 8 359-16,6 14 244 15,6 8-405 1,-8-24-866-16,8 24 118 0,0 11-210 16,1-3-343-16,-2-2-975 15,-1-4-3042-15,3-11-2131 16,3-6-1151-16</inkml:trace>
  <inkml:trace contextRef="#ctx0" brushRef="#br3" timeOffset="-32235.09">24911 1750 18321 0,'0'0'3314'0,"-11"2"-699"15,-14 11-876 1,-1 4-994-16,3 9-312 16,1 7-246-16,10 6-168 15,4 5 9-15,4-6 191 16,8 0-123-16,0-11-717 16,8-3-2627-16,8-5-2390 15,5-11 40-15</inkml:trace>
  <inkml:trace contextRef="#ctx0" brushRef="#br3" timeOffset="-32002.49">25113 1765 19827 0,'0'0'801'15,"0"0"-319"-15,0 0-29 16,3 8 780-16,-6 11 606 16,6 5-621-16,-1 12-517 15,2 4-71-15,3 2-272 16,-5 1-279-16,-11-7-2077 16,9-7-4173-16,-4-9-1549 15</inkml:trace>
  <inkml:trace contextRef="#ctx0" brushRef="#br3" timeOffset="-31744.32">24824 1759 21236 0,'0'0'2421'0,"12"-4"-454"16,16-1-804-16,1 5-544 15,1 2-361-15,19 5-1131 16,10-5-2277-16,-19-4 583 16,18 2-3018-16,3-3-2270 15</inkml:trace>
  <inkml:trace contextRef="#ctx0" brushRef="#br3" timeOffset="-30591.41">25057 1788 2082 0,'0'0'387'0,"0"-2"-139"15,2-2-82-15,2-2-46 16,0 1 1-16,0 1 186 16,2-2 145-16,6 1 860 15,-8 4 62-15,0-2 14 16,4 6 406-16,5 1-267 16,10 2-307-16,-2 0-629 15,1 1-169-15,-2-7-352 16,8 2-438-16,-17-4-2398 15</inkml:trace>
  <inkml:trace contextRef="#ctx0" brushRef="#br3" timeOffset="-29732.57">24542 2212 21492 0,'-4'0'-53'16,"-7"0"-665"-16,-7 2-216 16,-2 2-151-16,-16 6-455 15,1 12 349 1,11-3 408-16,5 10 480 0,-13 14 248 15,-6 5 475 1,8 3 2344-16,10 2-887 16,-4 2-794-16,9-4-634 15,17-15-313-15,3-4-84 16,9-7-29-16,10-8-13 16,6-10-220-16,3-10-351 15,-5-10-273-15,6-6-57 16,2-4 644-16,13-11 1330 15,-23-2-35 1,2-6 750-16,-7-6-336 16,-8 7 198-16,-6 5-586 15,3 4-158-15,-4 9-54 16,-8 2-206-16,-2 2-555 16,2 4-766-16,-17-2-2276 15,15 11-2215-15,-3-5-2713 16</inkml:trace>
  <inkml:trace contextRef="#ctx0" brushRef="#br3" timeOffset="-29059.48">24713 2321 13933 0,'0'0'852'0,"-2"3"-165"15,-2 3 132-15,0 5 45 16,4 4-586-16,4 3-119 16,-4 10-75-16,4 2-99 15,-6 8 8-15,-2-4-71 16,2 4 140-16,15-2 39 15,-9-13 56 1,-2-2 75-16,11-6-36 16,-5-7-21-16,1-5 128 15,5-3-102-15,10-9 174 16,-3-10-180-16,4-10-215 16,-4-3 11-16,-3-4-299 15,-4-2 201-15,-6-1 122 16,0-1-142-16,-11 11 423 15,6 1 355 1,-6 7 44-16,3 9 145 16,0-3 323-16,5 8-803 15,-5 5-251-15,0 0-224 16,0 2-466-16,0 0-132 16,-5 17 160-16,8 6 284 15,5 4 296-15,2 14-130 16,-1-5 63-1,1 4 42-15,7-8-1 16,-2-4-1-16,5-3 1 16,-2-6 16-16,-5-6 202 15,8-3 25-15,-8-8 456 16,-3-4 695-16,-8-4 434 16,12-7 42-16,-12-4-594 15,-2-4-379-15,4-4-447 16,-4-3-379-16,-6 3-1039 15,6 4-1102 1,0-3-1403 0,0 5-1963-16,-8-2-1807 0</inkml:trace>
  <inkml:trace contextRef="#ctx0" brushRef="#br3" timeOffset="-28452.48">25299 2317 14958 0,'0'0'678'16,"4"13"578"-16,-2 8 587 15,-2 7-794-15,-14 6-575 16,14 4-332-16,-2 0-102 15,2-4-318 1,-12 0-1083-16,10-7-1288 16,-5-8 518-16,10-6 130 15,-6-7 744-15,3-4 1567 16,0-2 114-16,3-17-93 16,-3-10-55-16,2-1 558 15,2-8-165-15,4-2-359 16,-8-2-358-1,8-4-247-15,-10 7-113 16,8 1 295-16,-12 11 506 16,10 10 327-16,-6 7 537 15,6 2 42-15,-6 3-978 16,2 6-111-16,4 16-56 16,12 11 1-16,-10-1-88 15,2 11-36-15,10 2 198 16,-1-3 282-1,1-7-201-15,10-9-182 16,-7-2 105-16,7-4 734 16,-5-9 117-16,6-4 885 15,1-8-96-15,-11-6-458 16,5-5-475-16,-4-4-138 16,2-6-380-16,-7-3-299 15,-7 4-331-15,-6-3-363 16,3 2-718-1,-5 5-1780-15,6-3-2410 16,-6 2-2287-16</inkml:trace>
  <inkml:trace contextRef="#ctx0" brushRef="#br3" timeOffset="-28179.48">25784 2281 15727 0,'3'9'383'0,"-3"12"1561"16,2 5-383-16,-4 3-450 16,9 5 323-16,-10-2-266 15,8 6 179-15,-1-6 190 16,-4-5-492-16,10 1-388 16,5-7-124-16,4-4 175 15,8-5-115-15,15-12-473 16,1-8-599-1,-13-4 109-15,0-4-147 16,8-3-413-16,4-4-2822 16,3-7-2096-16,-14-1-1134 15</inkml:trace>
  <inkml:trace contextRef="#ctx0" brushRef="#br3" timeOffset="-27908.47">25705 2290 30141 0,'0'0'122'16,"0"0"-1052"-1,16-4 365-15,20-2 450 16,-4-7-135-16,-3 6-766 16,22-1-2515-16,-7-5-527 15,12 2-2244-15,-29 3 439 16</inkml:trace>
  <inkml:trace contextRef="#ctx0" brushRef="#br3" timeOffset="-27669.43">25679 2434 27610 0,'24'0'367'15,"7"0"-193"-15,19-11-71 16,10 1-751-16,-3-3-3559 16,2-4-2376-16,-21 3-1267 15</inkml:trace>
  <inkml:trace contextRef="#ctx0" brushRef="#br3" timeOffset="-27044.45">26278 2239 21204 0,'0'0'866'15,"-4"2"-854"-15,2 7 271 16,-3-1 202-16,5 11-361 16,2 2 72-16,9 5-694 15,0 1 145-15,1 3-267 16,-4 6-22-1,-2-4 231-15,-6-5 137 16,2-5 257-16,0-8-144 16,-2-3-16-16,0-5-471 15,-2-1-309-15,2-4-288 16,-16-5-1052-16,2-11 1134 16,1 1 1458-16,-2-14 2635 15,2-4-383-15,3-4-236 16,8 4-647-1,6-1-819-15,8 1-968 16,-1 9-461-16,10-5-353 16,2 5 311-16,-3 6 561 15,-2 6-47-15,4 3 245 16,5 6 173-16,1 2 188 16,-5 6 1-16,-8 3-192 15,0 3-161-15,-1 3-87 16,-12-4-618-1,-6 10 99-15,-4 0 158 16,-5 0 309-16,-10 0 415 16,6-4 28-16,3 1-192 15,-6 0-92-15,8-1 181 16,3-4 280-16,1-3 370 16,6-1-132-16,-3 8 608 15,10 0 76-15,3 6-96 16,9 3-469-1,15 3-509-15,4 3-283 16,-3-7-119-16,-3-6-42 16,-2 7-1359-16,5-3-4522 15,1-4-5097-15</inkml:trace>
  <inkml:trace contextRef="#ctx0" brushRef="#br0" timeOffset="-22090.56">19696 7139 11243 0,'0'-2'103'16,"0"-6"637"-16,2-1 1150 15,0 5 103-15,-2 2-534 16,2 0-468-16,-2 2-372 16,0 2-71-16,6 15-80 15,-2 12-18-15,6 14-65 16,1 3 1212-16,4 16 479 16,-2 4-665-16,-7-1-835 15,2 5-487-15,1-13-3289 16,-7-17-2751-1,-4-10-2216-15</inkml:trace>
  <inkml:trace contextRef="#ctx0" brushRef="#br0" timeOffset="-21635.55">19559 7175 20660 0,'0'0'0'15,"16"-8"304"-15,4 0 56 16,2 1-222-16,3 2-311 15,9 4-441 1,-4 2-565-16,16 6-1799 16,-12-2 837-16,0 3 711 15,17 7 389-15,-6 3 767 16,-3 0 330-16,-3 7 460 16,-7-2 281-16,-2 5 164 15,-7 2-32-15,1-7-68 16,-12-2-8-1,-3-2 296-15,-9 0-38 16,-7 4-162-16,-7-2-302 16,-10 3-275-16,-7 1-209 15,1-6-471-15,2 2-1622 16,-7 0-2608-16,-1-10-2449 16</inkml:trace>
  <inkml:trace contextRef="#ctx0" brushRef="#br0" timeOffset="-18661.21">20207 7218 3651 0,'0'0'2040'0,"0"0"-440"0,0 0-404 16,0 0-389-1,0 0-154-15,4 2-159 16,2 6-208-16,2 5-146 16,-8 4-16-16,-8 6-110 15,6 7 47-15,-2-1 2 16,4 3 420-16,0 0 353 16,-4-7 1170-16,4-1-362 15,2-6-518-15,0 0-506 16,7-4-102-1,2-1-320-15,3-7-492 16,10 1-1295-16,3-7-738 16,-5-5 513-16,-10-1-298 15,5-2-2139-15</inkml:trace>
  <inkml:trace contextRef="#ctx0" brushRef="#br0" timeOffset="-18327.23">20173 7253 16624 0,'0'0'654'0,"4"0"-419"16,8 0-133-16,-2 3-73 15,-6-3 10-15,10-3 1 16,2 2-1310-16,5-2-1007 15,7-1-19 1,-2-2-787-16</inkml:trace>
  <inkml:trace contextRef="#ctx0" brushRef="#br0" timeOffset="-18006.22">20108 7404 19378 0,'0'0'2471'0,"0"0"-1648"16,6-2-997-16,7-7-1058 16,8 1-829-16,-2 0-1620 15,-2 1 1326-15,4 1-324 16,15 3-1075-16,-4-3 457 16</inkml:trace>
  <inkml:trace contextRef="#ctx0" brushRef="#br0" timeOffset="-17487.24">20413 7241 13132 0,'0'2'72'0,"4"0"-11"16,-2 5-76-16,4 3 49 16,-4 3-151-16,2 6 20 15,5 4-25-15,-2 2 65 16,-1 3 31-16,2-5-19 16,1 2-236-16,-3-7-31 15,9-4-51-15,2-1 259 16,-9-5 191-1,-6-3 172-15,2-3 308 0,5-2 1192 16,0-7-495 0,-1-5-804-16,3-3-110 15,-7-4 24-15,0-9-27 16,2 8 22-16,7-6-214 16,-4 0-368-16,-3 5-1834 15,-2 5-68-15,6 0-1547 16</inkml:trace>
  <inkml:trace contextRef="#ctx0" brushRef="#br0" timeOffset="-17035.23">20728 7215 18642 0,'0'0'-60'0,"0"3"-64"15,6 1-990 1,-4 0-606-16,2 5 402 16,3 1 397-16,-5 5-201 15,-6 6 323-15,-5 6 554 16,5-3 481-16,4 1 528 16,-2-4 1026-16,0 1 461 15,4-5-284-15,4-3-485 16,-2-1-33-1,1-4-732-15,1-1-371 16,13 1-1013-16,13-8-875 16,-9-2-1928-16,7-6 114 15,-11-2-1107-15</inkml:trace>
  <inkml:trace contextRef="#ctx0" brushRef="#br0" timeOffset="-16241.22">20720 7226 12588 0,'0'0'429'0,"0"0"-84"0,0 0-144 16,0 0-116-1,0 0-108-15,2-2-19 16,10-2 130-16,-1 4 627 16,6-2 124-16,8 2-303 15,9-5-665-15,0 1-871 16,-11 0-71-16,1-2-784 16,-4 6-682-16,4-3-856 15</inkml:trace>
  <inkml:trace contextRef="#ctx0" brushRef="#br0" timeOffset="-15984.22">20698 7361 3171 0,'0'0'8065'0,"8"0"-3011"16,8 0-2351 0,7-2-2417-16,4-2-3293 0,6 2-60 15,-2-6 175 1,3-3-1097-16</inkml:trace>
  <inkml:trace contextRef="#ctx0" brushRef="#br0" timeOffset="-15620.21">21077 7203 19731 0,'0'0'83'0,"-2"4"-53"0,2 4-92 15,-2 3-151 1,0 4-334-16,-4 4 94 15,-1 2 54-15,5 0 245 16,0 2 78-16,0-1 221 16,-3-1 558-16,3-4-129 15,4 2-249-15,3-6-395 16,-1-5-2008-16,0-2-459 16,7-1-1039-16,2-3-1348 15</inkml:trace>
  <inkml:trace contextRef="#ctx0" brushRef="#br0" timeOffset="-15219.21">21266 7243 4068 0,'0'0'5309'0,"-7"0"-1855"0,3 2-2673 15,2 0-565-15,-2 4-133 16,-2 5-219-16,-1 4-178 16,-2 2-135-16,5 8 237 15,2-1 185-15,4 1 65 16,2-4 244-16,0-2-96 15,4-4-149 1,0-7-33-16,8 1-2 16,-5-7 234-16,4-2 1236 15,0-6 710-15,-1-5-232 16,2-2-477-16,-8-1-305 16,0-5-516-16,-6-7-670 15,-4 5-608-15,-4-2-1385 16,-4 4-2323-1,0 4-1607-15</inkml:trace>
  <inkml:trace contextRef="#ctx0" brushRef="#br0" timeOffset="-14942.13">21494 7258 6278 0,'0'0'5336'15,"0"0"-856"-15,0 10-1241 16,0 3-1894-16,0 6-1225 16,-2 6-298-16,-2-3-520 15,4 9-236-15,0-1 507 16,2 0-137-1,-2-1-2298-15,4-3-832 16,-4-12-1402-16</inkml:trace>
  <inkml:trace contextRef="#ctx0" brushRef="#br0" timeOffset="-14605.21">21473 7230 24535 0,'0'0'504'16,"4"-4"-605"-16,-4-2-1511 16,0-1 238-16,11-1-931 15,8 2-810-15,6-1 1202 16,5 3 981-16,-5 0 610 15,-3 4 155 1,-2 2 116-16,-6 0 29 16,-2 6 71-16,-6-1 128 15,3 5 355-15,-3 1 795 16,-1 4 520-16,-16 0-398 16,-6 0-472-16,1 0-505 15,-6 2-261-15,-6-2-3531 16,-1-9-2302-1</inkml:trace>
  <inkml:trace contextRef="#ctx0" brushRef="#br0" timeOffset="-14274.2">21774 7243 13100 0,'0'0'2601'0,"0"0"-893"16,2 0-416-16,0 4-344 0,-2 7-344 15,-4 8-625-15,-11 6-812 16,0-2 233-16,-7 11 393 16,10-2 217-16,-3-5 734 15,13-1 59 1,-2 4 26-16,8-7 496 15,9-4 159-15,1-2-700 16,2-7-415-16,11-3-415 16,-4-7-1266-16,-2-4-485 15,3-3-2308-15,8-5-420 16,3-5-1445-16</inkml:trace>
  <inkml:trace contextRef="#ctx0" brushRef="#br0" timeOffset="-14017.2">21659 7256 27738 0,'0'0'339'16,"2"0"-457"-16,18-4-571 16,1 1-1391-16,2-3-707 15,8-2-178-15,-3 1-606 16,-5-1-284-16,1 1-698 16</inkml:trace>
  <inkml:trace contextRef="#ctx0" brushRef="#br0" timeOffset="-13773.18">21683 7402 25496 0,'6'2'171'16,"17"0"-160"-16,9-2-1500 15,4-6-3601-15,-9-3-3310 16</inkml:trace>
  <inkml:trace contextRef="#ctx0" brushRef="#br0" timeOffset="-13522.2">22029 7247 20948 0,'0'0'-11'0,"0"6"15"16,5 5-45-16,-2 6-173 15,-3 8-92 1,6 5 157-16,2 2-27 16,-6 2 174-16,-4-5-17 15,4-1-1705-15,-4-1-1646 16,0-7-967-16</inkml:trace>
  <inkml:trace contextRef="#ctx0" brushRef="#br0" timeOffset="-13077.19">22009 7190 24311 0,'0'0'220'0,"8"-2"-105"15,9 0-362-15,2 0-417 16,4 0-522-16,1 4 491 16,6-2 85-16,-12 0 300 15,-5 4-158-15,0 3-1203 16,1 3-760-16,-7 3 1447 16,-3 1 403-16,-8 1 375 15,-11 4 144-15,-4 0 780 16,0 0 445-16,-11 5 297 15,9-7-12-15,-2 2-229 16,0-5 75 0,7 1-41-16,6 2 363 15,-2-2-455-15,-1 0-600 16,11-1-363 0,6-1-2-16,2 2-246 0,3-2-364 15,-1-5-973 1,14-1-994-16,-6-1-1249 15,16-2-921-15,-9-6 55 16,3-2-481-16</inkml:trace>
  <inkml:trace contextRef="#ctx0" brushRef="#br0" timeOffset="-12690.19">22356 7190 480 0,'0'0'5108'16,"-2"0"-497"-16,2-4-1143 15,0 4-1236-15,-2 0-513 16,-6 4-578-16,-8 5-388 16,4 5-342-16,3 1-251 15,3 2 63-15,-1 2 86 16,7-2 27-1,9 2 1084-15,6 2-86 16,-5-4-379-16,6-4-145 16,-2 6-252-16,5-4-105 15,0 6-44-15,0-4-176 16,-5-2-16-16,-6-3-179 16,-4 5-113-16,-6 2 5 15,-14 2-3-15,-5-4 91 16,-4-2 45-16,4 0-332 15,-15 0-2964-15,-17-11-3796 16,7-4-2214 0</inkml:trace>
  <inkml:trace contextRef="#ctx0" brushRef="#br0" timeOffset="-12042.18">21056 7402 11659 0,'0'0'288'0,"0"0"-83"15,0 0 58-15,0 0-21 16,2 2 70-16,7 4-40 16,10-3-590-16,4-6-4201 15</inkml:trace>
  <inkml:trace contextRef="#ctx0" brushRef="#br2" timeOffset="-7205.23">17106 1809 3203 0,'0'0'4558'16,"0"-4"-1496"-16,0 4-1124 15,0-2-759 17,3 0-385-32,-6 2-570 0,-3-2-1163 0,-4 6 278 0,-6 2 141 15,2 5 316-15,-10 2 91 16,-3 6 133-1,-1 0-30-15,8 0 24 16,2 2 9-16,-5 11 139 16,12-18-185-1,7 2 57-15,4-6-103 16,4 3-30-16,5 0 106 16,6-1-19-16,11 1-119 15,3-3-131-15,5-1 132 16,-6-5 94-1,1 2 19-15,9 5 48 16,-4-3 204-16,-4-1 20 16,-12 2-84-16,-9-1 226 15,-3 2-177-15,3 3 122 16,-9-4 94-16,-11 9 677 16,-12 0-288-16,-5-4-427 15,-10 1-8-15,17-2-245 16,-9 6-222-16,3-4-2191 15,-11-3-2082-15</inkml:trace>
  <inkml:trace contextRef="#ctx0" brushRef="#br2" timeOffset="-6754.24">17386 1873 11082 0,'-3'-2'200'15,"1"0"-65"-15,2 2-38 16,-6-2-65-16,-2 2-81 16,-12 2 18-16,6 4 95 15,-5 4 20-15,8 8 105 16,-4 11 93-1,5 1-144-15,0-3-23 16,5 5 10-16,-2 0-90 16,7-5-39-16,2-4-31 15,10-3-112-15,-6-10-1033 16,4 1-996-16,3-9-1273 16</inkml:trace>
  <inkml:trace contextRef="#ctx0" brushRef="#br2" timeOffset="-6482.23">17502 1896 4132 0,'0'0'3815'16,"4"7"-1400"-16,3 3-681 15,7 9-585-15,-3 0-629 16,0 7-77-16,-5-1-208 16,4 11-233-16,-10-2-961 15,2-4-620-15,-4-1-2692 16</inkml:trace>
  <inkml:trace contextRef="#ctx0" brushRef="#br2" timeOffset="-5987.24">17488 1880 12972 0,'6'-5'-240'0,"11"-12"113"16,10 0 63-16,2 2-39 16,-7 1 115-16,14-1-6 15,-15 6 13-15,7 5-28 16,-7 4 39-16,11 2-50 15,-18 0-83 1,8 7-250-16,-16-3 34 16,2 9 346-16,-6-2-14 15,-2 8 355-15,-14 4 61 16,1-6 120-16,-17 9 338 16,11-15 519-16,-6 6-170 15,-3-1-615-15,-3-1-342 16,14-4-243-1,2 4 82-15,-5 0 8 16,10-4-120-16,6-1-121 16,6 1 204-16,4 0 33 15,16 1 354-15,-6-1 54 16,12-2-352-16,-3 1-138 16,1 0-163-16,10 0-2273 15,-15-8-110-15,7 0-2062 16</inkml:trace>
  <inkml:trace contextRef="#ctx0" brushRef="#br2" timeOffset="-5540.24">17904 1835 12588 0,'0'0'2524'16,"2"2"-1322"-16,0 2-435 16,11 7-198-16,-6 6-311 15,-3 2-13-15,5 8-240 16,3 3 180-16,0-2 159 15,-4-3 71 1,0 0-231-16,-2-2-100 16,6-3-214-16,1-8 7 15,-4-3 39-15,-9-5 9 16,6-2 207-16,-2-2-12 16,5-4-229-16,1-5-704 15,-1-8-195 1,0-2-31-16,-5-2 190 15,0-4 11-15,0 0-34 16,-2 1 381-16,-2 7 178 16,2 6-334-16,0 1-1182 15,0 4-1277-15,0 4 1483 16</inkml:trace>
  <inkml:trace contextRef="#ctx0" brushRef="#br2" timeOffset="-4960.61">18114 1822 6406 0,'0'0'639'0,"0"0"-105"15,0 0-119 1,0 0-37-16,0 0-39 16,2 6 154-16,0 5-161 15,5 10 88-15,-3 4 394 16,0 3 266-16,0-3 296 16,0 1 1339-16,5-3-1048 15,6-1-794-15,-1 3-555 16,2-6-2352-16,-10-6-2210 15</inkml:trace>
  <inkml:trace contextRef="#ctx0" brushRef="#br2" timeOffset="-4166.6">18341 1845 3203 0,'2'-1'5327'0,"-2"-8"-2986"0,2 0-998 16,2 5-599-16,-2 0-468 15,0 2-160 1,6 6-155-16,6 7-130 16,-8 12 61-16,-2 7 74 15,-2 6-1-15,6-3-16 16,-4-3 30-16,-1-7-209 16,1-3-115-16,-2-8-89 15,-2-1 219-15,2-5 149 16,-2-4 164-1,0-2 303-15,0 0-20 16,-2-11-109-16,-2-5 3 16,-3-4 353-16,1-5 492 15,-4-7 405-15,0 3-28 16,2-10-703-16,6 8-473 16,-2 5-278-16,2 6-74 15,2 4-89-15,8 6-74 16,-3 4 69-16,2 3-26 15,3 1 31 1,9 13 91-16,4 4-39 16,2 4 91-16,-1 4-13 15,-3 5-24-15,-4-5 80 16,-6-2-191-16,3-4-52 16,1-4 79-16,-4-5-2 15,-5-1 62-15,-4-6-4 16,0-1 74-1,2-1 4-15,0-12-234 16,4-4 179-16,-4-6 787 16,4-7 284-16,11-4-221 15,-11 4-372-15,1 3-187 16,-5 8-126-16,15 4-23 16,-7 9-54-16,8 6-49 15,-6 8 354-15,4 13 435 16,-1 9 621-16,-9 2 102 15,-2 6-586 1,-2-4-333-16,10-2-511 16,-4-5-669-16,-4-4-5233 15,0-1-3885-15</inkml:trace>
  <inkml:trace contextRef="#ctx0" brushRef="#br2" timeOffset="-3055.46">17238 2565 14926 0,'0'0'-244'0,"-2"-6"111"0,0-1 53 15,0 3-100 1,4 2-127-16,-2 2 18 15,0 0 63-15,10 9 21 16,0 10 204-16,-8 8-123 16,5 7 158-16,0 6-57 15,3-4-24-15,-10 0 65 16,4-2 27-16,-4-13-12 16,2-6-2-16,-4-7-45 15,2-5-17-15,2-1 270 16,-2-2-115-16,-4-7-430 15,2-7-292-15,-4-12 202 16,-2-4 299 0,5-3 257-16,3-6 405 15,0-1-49-15,-5 2 125 16,-5 4-252-16,14 11 498 16,0 4-659-16,-2 6-363 15,-2 3-86-15,10 4 105 16,-2 3 98-1,6 7 53-15,-1 9 130 16,25 44 204 0,-24-23-303-16,-4-2-57 15,6-7-112-15,-5-8-174 16,0-2 74-16,-7-11 9 16,2 0 173-16,-4-1-1 15,7-6 130-15,-7-3-32 16,4-11-107-1,5-6-72-15,-11-3 54 16,0-7 45-16,11 1-72 16,-7 3-80-16,-2 9 125 15,2 4 126-15,2 7-7 16,5 2 775-16,-4 7 195 16,9 9 212-16,1 10-65 15,7 5 202-15,-14 3-564 16,2 4-109-1,2-3-374-15,-2 2-329 16,-8-9-972-16,1-4-3433 16,1-5-2509-16</inkml:trace>
  <inkml:trace contextRef="#ctx0" brushRef="#br2" timeOffset="-2558.46">17725 2476 15118 0,'0'0'559'16,"6"9"-193"-1,4 10 236-15,6 2-229 0,-2 0-292 16,-2 11-41-1,-5-5-748-15,6 1-459 16,-9-5 228-16,-2-8 353 16,0-5 203-16,0-1 184 15,-2-5 226-15,0-4 61 16,-2 0-118-16,-2-6 53 16,-2-15-25-16,4-7-70 15,-5-10 208-15,5-2-176 16,2 0 271-16,7 1 15 15,-5 12 220 1,4 4 457-16,-4 6-258 16,4 4-164-16,7 3-60 15,-3 3 203-15,8 5 28 16,-10 6-323-16,11 11 98 16,0 10 319-16,2 5 8 15,1 0 365 1,0 4-239-16,-14-3-476 15,6 5-333-15,-8-12-1242 16,7-1-2861-16,-7-4-368 16,1-4-536-16</inkml:trace>
  <inkml:trace contextRef="#ctx0" brushRef="#br2" timeOffset="-2335.46">17739 2548 5317 0,'2'0'3576'0,"2"-9"-1279"16,18-3-628-16,-6-3-879 15,14 1-350-15,-2 1-384 16,1 6-659-16,9 3-2389 15,-8-4-2489 1</inkml:trace>
  <inkml:trace contextRef="#ctx0" brushRef="#br2" timeOffset="-1936.45">18205 2343 12780 0,'0'0'115'16,"-17"6"51"-16,2 2 42 15,-1 8-111-15,-4 3-189 16,-9-1 10 0,9-5 34-16,8-4 27 0,8-3-349 15,-2 1-166-15,6-3 215 16,10-2 102-1,13-2-307-15,3-5 234 16,-1 1 257-16,-4 2 519 16,-9 2 133-16,16 5 20 15,0 3-288-15,-5 2-176 16,-1 1-97-16,-6 2-40 16,-12 2 27-16,0 2 218 15,-8 2 988 1,-14 4 630-16,-10-2-249 15,4 0-969-15,1-8-1093 16,2-2-2613-16,-2-3-2972 16</inkml:trace>
  <inkml:trace contextRef="#ctx0" brushRef="#br2" timeOffset="-1703.45">18385 2311 12844 0,'0'0'157'15,"17"0"56"-15,-2 6 193 16,6 7-133-16,-11 4-40 16,8 10-179-16,-8 5 212 15,-6 4 859-15,-8 0 792 16,8-4-972-16,-4-4-1551 15,6-7-3350 1</inkml:trace>
  <inkml:trace contextRef="#ctx0" brushRef="#br2" timeOffset="-1452.45">18270 2373 23062 0,'2'-3'-101'0,"22"-10"-157"15,-3-1 71-15,3-3-672 16,-2-2-2427-16,0 4-325 15,18 4-1449 1,-6-1 558-16</inkml:trace>
  <inkml:trace contextRef="#ctx0" brushRef="#br2" timeOffset="-1170.45">18694 2275 7559 0,'-2'2'1664'16,"-6"13"-429"-16,-8 9-94 16,0-3 15-16,7-1 108 15,-6 8 634 1,9 4 46-16,-1-3-204 0,10-1-497 16,1-4-582-16,11-3-249 15,0-11-465-15,10 0 7 16,-2-7-432-16,1-10-30 15,-1-1-543 1,11-5-534-16,-7-2-389 16,3-4 150-16,-2-2-618 15,-4-4-2037-15</inkml:trace>
  <inkml:trace contextRef="#ctx0" brushRef="#br2" timeOffset="-904.44">18525 2305 20980 0,'2'-2'203'0,"4"-3"-248"31,11-3 95-31,8-1 115 0,7 3-303 16,17-5-230-16,-11-5-876 15,-10 1-2458-15,7 2-1576 16</inkml:trace>
  <inkml:trace contextRef="#ctx0" brushRef="#br2" timeOffset="-656.45">18573 2402 16592 0,'0'0'2201'0,"0"0"-1172"16,0 0-330-16,12 4-92 16,21-4-274-16,-1-4-1089 15,6-4-3685-15,-2-5-2522 16</inkml:trace>
  <inkml:trace contextRef="#ctx0" brushRef="#br2" timeOffset="-32.44">18981 2192 12716 0,'-4'3'834'0,"2"-1"-638"0,2 8-97 16,10 5 42-16,0 7-34 15,4 5-53 1,1 0-30-16,-2-1-49 16,-3-5 65-16,-3 0-55 15,-3-2-105-15,4-6-108 16,-6-1 59-16,-4-5 2 16,2-3 109-16,-2-4-51 15,-6 0 27 1,-1-6 3-16,-5-7 146 15,1-6 586-15,4-2 91 16,-3-9-482-16,6-1 331 16,-2-3 70-16,12-2-271 15,-4 14 262-15,2 8-115 16,6-3-465-16,0 2-101 16,5 0-20-16,10 2 23 15,-4 3 150-15,1 1 354 16,-8 3-41-16,2 8-178 15,2 2-127 1,-2 3-67-16,-5 1-63 16,-5 0-60-16,-8 9-233 15,-7 3 137-15,-12-1 111 16,0 2 113-16,10-2 487 16,-4 2 192-1,4-4-75-15,5-2-115 16,-3 0 317-16,11-2 452 15,11 1 474-15,4-3-741 16,13-3-419-16,5-1-409 16,-3-1-1596-16,14-4-2356 15,-4 0-2284-15,-8-4-1718 16</inkml:trace>
  <inkml:trace contextRef="#ctx0" brushRef="#br2" timeOffset="1208.79">17318 2146 2530 0,'0'0'2026'0,"0"0"-696"16,0 0-492-16,0 0-664 15,0 0-340 1,0 0-676-16,0 0 250 15,0 5 175-15,0-4 182 16,2 3 816-16,-2-1 113 16,5 3 312-16,-1-4-238 15,0 5-113-15,0-5-244 16,2 2-102-16,-2 0-186 16,6 0-11-16,-4 0-56 15,-4-1 90-15,4-1 407 16,0 0 215-16,-2-2 101 15,5 0-104 1,-5-2-387-16,7-3-80 16,-9 4-118-16,4-6 134 15,1 3 138-15,-3-2 209 16,-2-1-202-16,4 1-247 16,-2 0-190-16,-4-1-34 15,7 1-146-15,-2 2 74 16,-5-3 57-1,2 3 12-15,-2 0 67 16,2 2 23-16,-2-3-281 16,-2 1-905-16,2 2-2762 15</inkml:trace>
  <inkml:trace contextRef="#ctx0" brushRef="#br2" timeOffset="4060.68">19480 1998 4132 0,'0'-2'823'0,"6"-3"-333"0,-2 1 54 16,0-2-34-1,-2 2-8-15,0 1-47 16,2-1-23-16,-4 4-14 16,0 0 24-16,-2 4-105 15,-2 7-163-15,-6 6 890 16,-12 8 277-16,10 5-184 16,7 8 1107-16,-1 6 66 15,4-3-472-15,0 6-926 16,6-16-583-1,0-3-309-15,9-1-583 16,9-3-2732-16,-10-8-1778 16</inkml:trace>
  <inkml:trace contextRef="#ctx0" brushRef="#br2" timeOffset="4524.68">19750 1941 15439 0,'-2'0'351'16,"-15"4"-474"-16,-2 7 70 16,7-3-31-16,2 5-7 15,-2 4-58-15,-7-1 39 16,6 1-199-16,5-6-122 16,4 2-97-16,4-5 32 15,0 1 117-15,0-3 128 16,2 2 70-1,2-1 146-15,13 3 124 16,-2 1 99-16,13 0 98 16,-10 1-51-16,-3-1-144 15,2-4-14-15,-4 3 40 16,-5 3 255-16,-4-3 179 16,-6 5-215-16,-2 2-138 15,-8 0-261-15,-3-6-1074 16,-9 1-2927-1</inkml:trace>
  <inkml:trace contextRef="#ctx0" brushRef="#br2" timeOffset="5232.69">19845 1981 10890 0,'0'0'187'16,"7"6"447"-16,1 3-149 15,-6 10-31-15,7 6-277 16,-1 5-24-16,3-2-139 16,-5-3 26-16,4 3 86 15,-5-5-107-15,-3-9-41 16,3 1 41-16,-5-9 29 15,2-1-10 1,-2-5 181-16,0 0 210 16,-4-7-592-16,-6-8 65 15,4-8 164-15,2-2 278 16,0-5-21-16,-2-6 633 16,-1-2 391-16,7 11-352 15,0 5-611-15,5 4-514 16,-3 2 102-16,6 6-318 15,-4 4-104 1,4 2-97-16,4 1 363 16,-2 7 50-16,7 7 214 15,2 6 28-15,-6 0 125 16,-3 4-66-16,5 5-53 16,-4-5-48-16,-3-6-53 15,-4-5-6-15,0-1-32 16,-2-3 51-1,0-2-36-15,-2-1-28 16,5-3 165-16,-3-7-62 16,-2-6 37-16,2-8-11 15,3-6 8-15,3-1-71 16,-4 0 142-16,5 5-197 16,-3 9-64-16,6 5 336 15,-5 5 119-15,4 1 211 16,-1 3 88-1,9 9-288-15,-2 4-54 16,-4 6-3-16,-3 0-86 16,8 6-44-16,-14 1-108 15,2-3-60-15,2 0-545 16,-4-2-3104-16,3-6-1902 16</inkml:trace>
  <inkml:trace contextRef="#ctx0" brushRef="#br2" timeOffset="5617.73">20163 1788 2755 0,'0'0'5118'0,"2"-2"-1449"15,8-4-1089-15,18 4-412 16,2 8-737-16,1 7-655 16,-1-1-247-16,6 7-394 15,-4 5-139-15,-3 5-114 16,9 7-358-16,-1-4 149 15,-5-2 359 1,-14-3 184-16,-7 7 863 16,-7 0 390-16,-1 8 1437 15,-15 1-1074-15,-8 3-1036 16,-14 1-1074-16,2-3-3415 16,5-6-6170-16</inkml:trace>
  <inkml:trace contextRef="#ctx0" brushRef="#br3" timeOffset="10147.33">27214 2169 15887 0,'-2'0'1669'16,"0"-4"-695"-16,-7 2 128 31,4-2-356-31,-1 0-571 0,2 1-243 0,-15 3-633 16,11 3 62-16,-18 9-70 15,5 5 400 1,-4 17 485-16,-3 10 1314 16,5-1 233-16,-9 8 1492 15,0 2-1295-15,15 1-817 16,15-5-313-16,-4-2-321 16,8-11-276-16,17-3-854 15,17-3-3107 1,-12-13-2864-1,7-6-2416-15</inkml:trace>
  <inkml:trace contextRef="#ctx0" brushRef="#br3" timeOffset="10408.35">27298 2343 2659 0,'0'0'6832'0,"0"0"-1863"16,0 0-2537-16,0 2-481 15,9 15-464-15,-3 8-320 16,2 9-408-16,12 7-247 16,-6-1-392-16,1 2-738 15,-13 2-1205-15,0-8-2568 16,1-8-1192-1</inkml:trace>
  <inkml:trace contextRef="#ctx0" brushRef="#br3" timeOffset="10793.34">27290 2317 25112 0,'0'-1'12'0,"2"-10"-1170"16,11-6 293-16,7 2-241 16,16-4 39-16,15 0-317 15,-23 6 675 1,0 5-58-16,-1 3-730 15,-6 3-99-15,16 4 657 16,-21 7 693-16,3 4 354 16,-10 1 379-16,-3 5 398 15,-8 5 502-15,-7-1 252 16,-14 3-20-16,7-6-339 16,-21 8 351-16,5 0-694 15,-2-3-626-15,-10 0-1801 16,2-6-2678-1,11-3-1388-15,19-12-218 16</inkml:trace>
  <inkml:trace contextRef="#ctx0" brushRef="#br3" timeOffset="11215.36">27770 2294 20467 0,'-7'0'341'16,"-7"4"-560"-16,-10 5 446 15,2 4-15-15,5 6-428 16,-13 8 30-16,20 5 38 15,-8 6 103 1,8 4-12-16,4-8-207 16,10 0-1196-16,-2-9-267 15,10 1 1243-15,4-11 710 16,15-3 1048-16,3-8 212 16,0-10-167-16,8-13-620 15,-15 3-324-15,1-10-41 16,-13 3 657-16,0-11 252 15,-13 0-447 1,-8 0-579-16,-3 7-75 16,-4 7-150-16,-14 4-1544 15,8 5-1670-15,-6 2-4490 16</inkml:trace>
  <inkml:trace contextRef="#ctx0" brushRef="#br3" timeOffset="11687.34">27775 2119 19795 0,'0'0'-254'0,"8"6"-323"0,2 0 472 15,16 5-31 1,-3-1-164-16,26 3 95 16,-9 0-99-16,13 6-52 15,-19 4-903-15,21 13-378 16,-9-4 721 0,-16 4 654-16,2 10 345 0,-17 1 950 15,4 4 1758-15,-11 0-352 16,-10-3-903-1,-11-1-439-15,-12 2-898 16,-5-3-1676-16,-16 2-5047 16</inkml:trace>
  <inkml:trace contextRef="#ctx1" brushRef="#br3">31216 7971 0,'-2'-8'16,"2"8"-16,0 0 16,0 0-16,0 0 15,0 0-15,0 0 16,-9 8-16</inkml:trace>
  <inkml:trace contextRef="#ctx0" brushRef="#br4" timeOffset="18617.66">17943 7800 3075 0,'0'0'3849'0,"-7"2"-924"16,1-2-986-16,1 2-783 15,3-2-615-15,0 0-186 16,0 2-79-1,-2 0-143-15,4-2-207 16,0 2 23-16,0 2 197 16,2 1 106-16,6-1 188 15,5 2 534-15,4-2 465 16,-3 1 57-16,10-1-28 16,-3 3-297-1,9-3 651-15,8 4-473 0,-4-2-562 16,-5 1-101-1,1-3-42-15,19 2-255 16,1 0-82-16,-5-1 76 16,-3-5 113-16,18 7 111 15,-1-3 24-15,-12-4-262 16,14 4 91-16,5-4-234 16,-18 0-134-16,16 4-77 15,6-6 77 1,53 6 286-1,-49-6-256-15,-9 0 0 16,3 8 265-16,-3-8-220 16,-4 4 79-16,16 2 38 15,-13-8-154-15,5 6-86 16,8-6-29-16,-1 4-10 16,2 0-4-16,-8-4 0 15,6 2-1-15,-6-5 0 16,8 7 0-16,7-4 0 15,-15 2 0 1,12 0 0-16,-6-4 0 16,17-1 0-16,-18 1 0 15,10 0 0-15,-1-1 0 16,-3 3 0-16,1-2 0 16,12 2 0-16,-7-3 0 15,-10 3 0-15,8-1 0 16,-2-1 0-1,10 2 0-15,-13-2 0 16,-3-1 0-16,5 1 0 16,13 4 0-16,-2-7 0 15,-6 7 0-15,-10-4 0 16,10 4 0-16,-1-4 0 16,-2 1 0-16,12-1 0 15,-3 4 0-15,-6-2 0 16,-2 1 0-16,-6-1 0 15,8 2 0 1,4-2 0-16,-10-3 0 16,1 5 0-16,-9-2 0 15,12 4 0-15,-8-9 0 16,-5 9 0-16,7-4 0 16,-16 0 0-16,-5 6 0 15,1-4 0 1,-13 2 0-16,-25 0 0 15,29 8 0 1,-30-5 0-16,-9-3 0 16,-7 0 0-16,0 0 0 15,-1 0 0-15,-3 0 0 16,0 0-1022-16,-13 4-3703 16,2-4-5856-16</inkml:trace>
  <inkml:trace contextRef="#ctx0" brushRef="#br4" timeOffset="19771.16">18363 8204 19923 0,'0'0'260'15,"2"9"793"-15,4 9 66 16,0 1-228-16,2 9-533 16,-6 4-211-16,-4 8-24 15,4 5-71-15,-4-1-12 16,-2 5 55-16,-2-3-59 16,2-1-356-16,4-10-1901 15,-8-3-2416-15,6-11-2019 16</inkml:trace>
  <inkml:trace contextRef="#ctx0" brushRef="#br4" timeOffset="20151.16">18315 8223 20115 0,'0'-6'775'16,"2"-14"1812"-16,4-1-1027 16,5 0-849-16,2 0-489 15,3 2-113-15,4 2-163 16,5 7 45-16,9 5-14 16,-2 1 86-16,-4 4 35 15,-1 2-108-15,-2 7-45 16,0 12 27-1,1 2 53-15,-3 4 115 16,-8 3 12-16,0 8 68 16,-11-25-152-16,0 12 323 0,0 9 39 15,-6 7 8-15,0 1-47 16,-2 0-180-16,-2-1-204 16,0-10-207-16,-1 7-1396 15,3-10-2355-15,-3-5-1913 16,3-6-523-16</inkml:trace>
  <inkml:trace contextRef="#ctx0" brushRef="#br4" timeOffset="20441.16">18288 8456 2370 0,'2'-2'7778'16,"8"2"-869"-16,13-5-1537 15,3-3-2462-15,4 6-1618 16,6-2-848-16,10 0-904 15,-5-3-1644 1,-6 3-1859-16,5-1-1286 16,1-3-1368-16</inkml:trace>
  <inkml:trace contextRef="#ctx0" brushRef="#br4" timeOffset="20970.17">19060 8155 20531 0,'0'0'539'0,"-6"-4"630"0,-1 2-296 16,-9-2-1348-16,-6 6-346 15,-2 2 41 1,2 9 334-16,-6 6 154 16,-1 8 240-16,3 9-28 15,5 0 672-15,-4 8 976 16,10-5 361-16,4-1-972 16,14-6-759-16,1-3-2209 15,4-10 350-15,5-4-540 16,-3-5 167-16,8-5 383 15,8-5 425 1,0-6 368-16,-11-3 261 16,6-6 2-16,-2-1 481 15,5-4 42-15,-8-1 5 16,-1 4 188-16,-6 3 123 16,-7 5 70-16,-2 5 144 15,4 1-81-15,-2 3 344 16,-2 11 509-16,0 8 361 15,4 3-44 1,-4 3 5-16,0 4-723 16,5-1-517-16,-1-5-2483 15,-2 1-2403-15,0-5-2010 16</inkml:trace>
  <inkml:trace contextRef="#ctx0" brushRef="#br4" timeOffset="21332.17">19253 8193 25368 0,'0'0'374'16,"0"0"45"0,0 0-265-16,0 0-273 0,2 4-885 15,2 13-258-15,-6 11-85 16,-5 10 302-1,-1 4 668-15,2 9 364 16,-1-2-112-16,5-3-1532 16,0-7-2816-16,-4-10-2291 15</inkml:trace>
  <inkml:trace contextRef="#ctx0" brushRef="#br4" timeOffset="21666.17">19420 8231 15310 0,'0'0'1872'15,"0"5"-525"-15,4 8-450 16,-2 5-395-16,-15 41 75 16,7-20 145-1,2 3 1858-15,4-10-268 16,4-7-1159-16,6 3-569 16,2-9-378-16,6-2-122 15,5-5-343-15,3-7-839 16,4-1-2909-16,-1-6-2230 15,5-7-1242 1</inkml:trace>
  <inkml:trace contextRef="#ctx0" brushRef="#br4" timeOffset="22024.17">19775 8185 8648 0,'0'0'3725'16,"0"2"-893"-16,0 8-735 15,-6 6-88-15,0 9-440 16,6 2 886-16,0 5-142 15,2-3-246 1,4 3-653-16,7-4-884 16,-2-7-956-16,-1-4-405 15,5 0 262-15,8-4-37 16,7 0-93-16,10-9-1414 16,-4-8-163-16,4-5-1562 15,-4 0 28 1,-2 1-921-16,7-7 343 15</inkml:trace>
  <inkml:trace contextRef="#ctx0" brushRef="#br4" timeOffset="22315.18">19722 8183 24856 0,'5'0'665'0,"10"-5"328"16,6 3-505-16,13-4-671 15,-7-3-1917-15,7 3-1065 16,2 0-1936-16,-4-3-1853 16</inkml:trace>
  <inkml:trace contextRef="#ctx0" brushRef="#br4" timeOffset="22554.17">19733 8306 24439 0,'2'0'1341'0,"7"4"-1035"0,14-4-177 16,7-4-2493-1,-7-5-2208-15,23 2-1977 16,1-3 56-16</inkml:trace>
  <inkml:trace contextRef="#ctx0" brushRef="#br4" timeOffset="22887.84">20922 8088 28091 0,'0'0'-75'0,"4"8"-106"16,4 9 35-16,0 4-233 15,-2 2-59-15,0 11 292 16,-6 6-132-16,2-4-325 16,1-4-1615-16,7 0-3162 15,-10-2-2583-15</inkml:trace>
  <inkml:trace contextRef="#ctx0" brushRef="#br4" timeOffset="23166.85">20688 8098 26041 0,'0'0'1385'0,"10"-2"-452"0,10-4 7 16,7-3-400-16,5 9-280 15,8-6-197-15,0-2-308 16,-10 1-1736-1,3-2-4186-15,10 1-3071 16</inkml:trace>
  <inkml:trace contextRef="#ctx0" brushRef="#br4" timeOffset="23472.85">21295 8085 11499 0,'0'0'3381'16,"0"5"-161"-16,3 7-322 16,-1 3-738-16,-9 6-645 15,3 5-728-15,0 3-17 16,-5 1 120-16,3 0 2 16,6 3 177-16,2-1-51 15,2-4-68-15,5-5-458 16,8-2-223-1,-3-6-106-15,10-2-79 16,5-7 63-16,7-15-888 16,-6 3-1506-16,-4-7-1734 15,13-4-2366-15,-5 1 90 16,4-5-284-16</inkml:trace>
  <inkml:trace contextRef="#ctx0" brushRef="#br4" timeOffset="23770.87">21198 8026 27098 0,'0'0'49'0,"17"2"20"16,4 2-13-16,11-4-100 15,12 3-599-15,7-3-2112 16,-5-4 108-16,-8 1-1495 16,7-3-992-16,-5 4-289 15</inkml:trace>
  <inkml:trace contextRef="#ctx0" brushRef="#br4" timeOffset="24001.86">21239 8197 26137 0,'2'3'420'16,"8"-1"336"-16,19 4 112 15,15-6-515-15,4 0-549 16,1-6-1856-16,-12-3-3046 16,7 1-2681-1</inkml:trace>
  <inkml:trace contextRef="#ctx0" brushRef="#br4" timeOffset="24533.86">21803 8081 13036 0,'0'0'3342'0,"2"7"-955"16,2 7-792-16,5 4-867 16,-4 0-1412-16,5 10-1090 15,-4 3-36-15,-4 1 278 16,-4-8 490-16,2 5 421 16,-2-1 443-16,-4-7 215 15,0-6-131-15,-1-5 300 16,5-3 450-1,0-5 448-15,-3-2-332 16,-5-9 466-16,6-5 848 16,4-12-868-16,2-4 904 15,0-10-340-15,0 0-1018 16,2-2-516-16,7 3-531 16,2 12-1347-16,-1 4 750 15,6-1 195-15,2 10 507 16,4-1 500-16,-3 8 936 15,7 3-290 1,-10 2-497-16,2 8-67 16,7 7 143-16,3 6 59 15,-5 6-151-15,-4 3-133 16,4 6 90-16,-5 4-154 16,-8 0-42-16,-1-2-168 15,-9-8-224 1,3-1-2729-16,-1-6-1908 15,0-5-1190-15</inkml:trace>
  <inkml:trace contextRef="#ctx0" brushRef="#br4" timeOffset="24906.98">21776 8204 7847 0,'0'0'6494'16,"2"0"-1618"-16,6 4-1326 15,5-2-1397-15,9-2-810 16,14-2-1305-16,1-6-2390 16,9-1-969-16,1 1-1612 15,0-3 251-15,4 5 196 16</inkml:trace>
  <inkml:trace contextRef="#ctx0" brushRef="#br4" timeOffset="25601.99">22372 8094 9513 0,'0'2'1944'16,"5"13"-61"-16,-3 10 283 16,-2 3 181-16,4 8-897 15,-2-7-416-15,-2 5-405 16,5-2-315-16,-1-7-198 16,0-2 52-16,-4-8-187 15,0-2-183-15,0-5 144 16,-2-5 40-1,2-3 106-15,-2-3-84 16,0-9 573-16,-2-9 453 16,-3-13-792-16,11 0 1282 15,-1-11 130-15,5-3-796 16,0 1-516-16,9 5-370 16,3 6-367-16,0 13-620 15,2 8 436-15,-1 6 245 16,-9 7 75-16,4 6-59 15,0 12 62 1,0 9 167-16,-2 0 318 16,-1 5-10-16,-7-1 161 15,5 1 153-15,-3-3-288 16,-6-7-174-16,1-4-2 16,-3-5-94-16,0-6-420 15,2-1-589-15,-2-2 359 16,2-4 346-1,8-9 643-15,2-12-164 16,6-3-42-16,-2-10-133 16,8 0-661-16,-3 7 274 15,1-1 3-15,5 5-383 16,9 10 865-16,-10 4 649 16,-4 11 1088-16,2 2-212 15,7 11-305-15,1 4-458 16,0 8 126-1,0 5-313-15,-3 2 168 16,-9 2-122-16,-8 6-112 16,-8-6-470-16,-6 2-230 15,6-4-1544-15,-2-9-2813 16,-2-4-4234-16</inkml:trace>
  <inkml:trace contextRef="#ctx0" brushRef="#br4" timeOffset="26666.8">23613 7689 7239 0,'0'0'3588'0,"0"0"-157"16,0 0-405-1,2-1-49-15,-2-2-1219 16,2-1-1098-16,2 0-698 16,5-1-17-16,2 1-46 15,-1 0 58-15,2 2 168 16,14 2 505-16,0 0 94 16,7 0 124-16,-7-2-195 15,-7 4 57-15,2 0-328 16,-2 0-24-1,3 4-141-15,0-1-42 16,4 1-266-16,-1-1-18 16,-5 1-71-16,-2-2-132 15,-6 0-20-15,-2-2-88 16,-2 2 181-16,3 3 142 16,-1-1 43-16,3 1 159 15,2-1-31-15,-3 0 70 16,-5-4-130-1,4 5-163-15,-1-7-269 16,0 2-222-16,-5 0 0 16,4 0 254-16,-1-2 115 15,0 0 322-15,-1 0 50 16,-5 0 437-16,2 0 130 16,-2-2-60-16,-2 2-94 15,2-4-52-15,2 2-79 16,0-5-28-1,-1-1-51-15,1-5 122 16,-2-2 209-16,1-4 384 16,-3-8-233-16,0 0-44 15,4-8-176-15,0-5 106 16,0 6-282-16,-8-10-217 16,2-3-104-16,4-1-43 15,-2-1-16-15,2 0-6 16,0-4-347-1,-2 9-1776-15,2-5-5572 16</inkml:trace>
  <inkml:trace contextRef="#ctx0" brushRef="#br4" timeOffset="28122.18">18046 7797 4036 0,'0'0'692'0,"0"0"159"16,-2 3-357-1,2 1-357-15,-4 0-320 16,2 1-38-16,2-4 326 16,-4 4 1285-16,1-1 659 15,-7 0 1592-15,6-2-692 16,-3 2-76-16,1-4 40 16,-3 3-682-16,-5-3-794 15,-2 0-668-15,-6 0-354 16,-6 2-289-16,5-2-221 15,-5 4-148 1,3-2-71-16,-5 0 76 16,-8 2 125-16,0-1 68 15,2-2-11-15,9 2 263 16,-7 1 185-16,4-2-52 16,-9-2-181-16,-1 4-55 15,17-1-13 1,-5-1-14-16,6 0-94 15,0-2-25-15,-5-2-49 16,-3 4-231-16,6-4 8 16,4 2-171-16,7 0 184 15,2 0 141-15,1 2 23 16,1-2 198-16,-7 2 104 16,2 2 135-16,4-2-74 15,6 2-113-15,0-1-96 16,-2-2 47-16,-3 6-67 15,-2-5 30 1,5-2-92-16,0 3 155 16,3-2-76-16,1-1 30 15,0 0 192-15,0 0 55 16,-2 0 163-16,-4-4-35 16,1 2-41-16,0-6-135 15,3-3 29 1,2-8 97-16,0-7 116 15,0-5 30-15,0-7 191 16,2-11-387-16,-2-4 293 16,0-4-175-16,2-2-139 15,-10-11-145-15,-4 0-82 16,6 0-393-16,4 2-1415 16,-7 0-4094-16,-3 14-5489 15</inkml:trace>
  <inkml:trace contextRef="#ctx0" brushRef="#br4" timeOffset="31357.57">16808 13574 6118 0,'0'0'986'0,"0"-6"854"16,-4 2 68-1,4 1-569-15,0 1 46 16,-2 0-601-16,-1 2-425 15,-1 4-119-15,2 11 33 16,4 4 861-16,0 9 662 16,3 10-343-16,3 12 95 15,7 14-625-15,-6 19-421 16,1-3-573-16,0 0-5276 16</inkml:trace>
  <inkml:trace contextRef="#ctx0" brushRef="#br4" timeOffset="33864.1">16202 14797 12844 0,'0'0'-33'0,"0"0"179"0,-2 0 139 15,2 0-45 1,0 0-66-16,0-2-73 16,0 2 335-16,0 5 170 15,2 7 669-15,7 13-98 16,2 7-378-16,-3 6-88 16,2 3-50-16,8 3 86 15,1 1 281-15,-15-33-738 16,13 22 675-16,0 23 1239 15,-7-2-966-15,-2 0-548 16,0 4 63-16,-6-43-559 16,-2 28 70-16,0 9-57 0,0 0-191 15,-4 2-92-15,-2-11-1641 16,0-3-3360-16,0-6-2568 16</inkml:trace>
  <inkml:trace contextRef="#ctx0" brushRef="#br4" timeOffset="34384.1">16109 14863 22966 0,'0'-2'-634'0,"26"-32"1"31,-10 7 180-31,6 7-305 16,1 4-865-16,5 0-562 15,2 4 647-15,1 3 236 16,5 1 475-16,-4 4-31 16,4 4 228-16,-3 4 449 15,-5 4 497-15,-6 8 262 16,3 5 94-1,0 2 360-15,-10-4 624 16,-3 8 478-16,-10 3-761 16,-12 6-533-16,-4 10 66 15,-12 3-291-15,3-2-31 16,-13-3-96-16,-2 3-210 16,10-11-127-16,3-7-1063 15,5-7-4803-15</inkml:trace>
  <inkml:trace contextRef="#ctx0" brushRef="#br4" timeOffset="35090.78">16656 14743 14350 0,'0'0'-120'0,"2"-7"220"16,2 3 80-1,-4-1-54-15,6 1 692 16,-4 2 256-16,2 6-269 16,3 7-263-16,-1 17-208 15,-8 45-135 1,-4-30-76-16,1 14 217 16,-1 7 206-16,0-10 25 15,-4 14-229-15,-2-8-1 16,-8 52 547-1,11-68-437 1,3-8-211-16,1-6-107 16,5-5-78-16,3-8-95 15,-1-4 94-15,-4-3-11 16,4-5-237-16,-7-1-81 16,5-2-38-16,0 2 130 15,9 1 181 1,4-4 460-16,9-1 412 15,2-4-452-15,4 7 42 16,-9-6-169-16,5 3-90 16,0-2-155-16,4 0-113 15,-7 0-1713-15,-1-2-3979 16</inkml:trace>
  <inkml:trace contextRef="#ctx0" brushRef="#br4" timeOffset="35736.78">16901 15100 13933 0,'0'0'-188'16,"0"0"-191"-16,0 0 35 16,2 4 119-16,4 15 71 15,7 11-41-15,-4 4-170 16,-1-1 155-16,0 4 179 15,-6-1 55 1,-2-7 3-16,-6-3-67 16,0-3 261-16,4-6 221 15,-2-4 583-15,4-9-35 16,-15 0 439-16,8-8-383 16,-7-9 441-16,5-10-176 15,1-11-368 1,0-13-640-16,-8-4-327 15,8-2-87-15,10 5-69 16,4 6-58-16,0-3-57 16,10 1-348-16,-6 1 336 15,9 10 192-15,-2 3 70 16,-2 9 132-16,9 6-31 16,-8 6 116-16,12 9 182 15,-1 3 148-15,-3 7 26 16,3 5-168-16,-1 12-66 15,1 9-67 1,-4 7 19-16,-3-3 141 16,-2 9-172-1,-5-5-18-15,-5 1-221 0,-1-1-772 16,-3-8-1866-16,-1-9-1465 16,-8 3-2217-16</inkml:trace>
  <inkml:trace contextRef="#ctx0" brushRef="#br4" timeOffset="35988.78">16872 15250 26681 0,'0'0'-375'16,"6"-14"-107"-16,11-10 531 16,13 3-192-16,12-4-85 15,7 3-2395-15,-3 3-377 16,-2 11-2395-16,5 6-1903 16</inkml:trace>
  <inkml:trace contextRef="#ctx0" brushRef="#br4" timeOffset="36664.78">17426 14945 12684 0,'0'0'967'0,"-4"5"-870"16,2 1 79-16,4 9-63 16,2 12 74-16,2 1-224 15,-2 6 20-15,-2 10 320 16,1 1-25-16,1 1 189 16,-6 3-172-16,0-3 432 15,-3-7 416-15,3-10-106 16,-4-5-387-1,4-12-268-15,2-5 141 16,0-6-499-16,-4-2-42 16,-3-18-45-16,1-11-114 15,0-10-717-15,2-5-946 16,-1 1 642-16,-1-5 390 16,-5 2 443-16,3 5 209 15,4-5 214-15,-2 11 19 16,2 3 137-16,4 12 1101 15,-4 8-59 1,8 4-752-16,-2 5-254 16,0 2-127-16,4 4-34 15,8 11 432-15,6 18-328 16,-4 1-150-16,1 4 110 16,1 15 237-16,-2 2-121 15,6 0-154-15,1-8 248 16,-15-33-261-16,11 13 217 15,6 3 105-15,-3-3-34 16,-5-16 5-16,-3-1 276 16,-7-6 47-16,4 3 776 15,-5-12-143-15,0-10-633 16,-2-10-240-16,2-9-306 16,-6-4-174-16,-6 4 2 15,6-2-76-15,0 2-478 16,2 6-2215-16,-4 7-2319 15,-2 1-1245 1</inkml:trace>
  <inkml:trace contextRef="#ctx0" brushRef="#br4" timeOffset="37380.78">17767 14988 11595 0,'0'0'113'0,"0"0"583"15,6 2-21-15,2 0-254 16,1-2-306-16,0 2-378 16,1 6-268-16,1 8 152 15,-1 3 187-15,-1 8 184 16,-7 3-32-16,-2 14 663 15,0-3 1633 1,4-4 314-16,-1 6-699 16,-10-3-945-16,7-8-569 15,0-7-211-15,-2-6-197 16,-1-6 131-16,3-4-114 16,0-8-33-16,0-1-411 15,0-12-633-15,0-12 286 16,-2-12 224-1,-2 0 194-15,0-6-59 16,2 0 127-16,-2-1 149 16,2 1 54-16,-7 4 85 15,11 6 31-15,5-1 103 16,-5 9-203-16,2 3-189 16,-2 6-174-16,4 2-221 15,-2 5 270-15,8 4 67 16,-8 0 216-16,2 8 443 15,4 15-192 1,3 15 83-16,4 10 319 16,6 5 653-16,5 12-508 15,-8-10-275-15,-6-6-63 16,2-8-39-16,-1-2 39 16,-4-17 300-16,8 1 182 15,-2-8 96-15,-2-11-156 16,-1-6 771-16,2-11-833 15,-10 0 5 1,-2-11 282-16,-2-5-307 16,-2-6-221-16,-6-5-244 15,0-1-192-15,-3 9 43 16,-4 0 149-16,1 5-147 16,1 8-1188-16,2 1-1498 15,3 5-3434-15</inkml:trace>
  <inkml:trace contextRef="#ctx0" brushRef="#br4" timeOffset="37771.36">18203 14950 14446 0,'0'0'-36'0,"8"8"347"16,-1 9 636-16,-1 10-175 16,4 5-119-16,4 2 144 15,-6 11 466-15,-2 3-104 16,0-3-412-16,0-1-269 16,-1 1-368-16,-2-5-814 15,1-10-3855-15,-4-1-2296 16</inkml:trace>
  <inkml:trace contextRef="#ctx0" brushRef="#br4" timeOffset="39200.18">18446 14905 9417 0,'0'0'592'16,"0"0"-791"-16,4 4 103 15,0-1 510-15,1 3 48 16,6 9-75-1,-9 17-39-15,2-3-125 16,2 18 438-16,-4-1 271 16,-4 11 217-16,-2 1 404 15,0-8-118-15,-9-1-101 16,6-13-643-16,3-8-525 16,2-9-82-16,2-6-456 15,0-8-1259-15,0 0-260 16,0-5-647-16,-10-9 427 15,3-10 1026 1,5-8 490-16,0-9 871 16,2 4 517-16,0-6-195 15,-2-8-349-15,-4-1-967 16,2-4-258-16,-3 4 574 16,5 7 713-16,4 13 770 15,-2 0 61-15,-4 5-97 16,4 9-155-1,0 3-433-15,2 1-304 16,0 5-356-16,-4 0-291 16,2 4 139-16,2 2 160 15,11 17 207-15,4 9-25 16,4 8 180-16,0 6 321 16,3 2 359-16,-1 9-579 15,-2 0-197-15,2 0-24 16,1-2 132-1,-1-9 1107-15,-2-19 204 16,0-3-337-16,-1-8-131 16,-4-3-130-16,-4-7 546 15,-5-4-332-15,2-9-294 16,1-12-397-16,-1-4-271 16,-3-10-190-16,-4-3 27 15,-6-36 638 1,2 42 220-1,4-25 72 1,-2 34-1038-16,0 3-1692 16,0-1-2404-16,0 2-3203 15</inkml:trace>
  <inkml:trace contextRef="#ctx0" brushRef="#br4" timeOffset="40139.35">19189 14939 13837 0,'0'0'1067'16,"-2"-6"-358"-16,-2-1-100 16,0-3-415-16,0-5-814 15,-3 0-329-15,-10-2 449 16,4 7 323-16,1 1 428 16,-3 5-116-1,-2 8-63-15,5 9-83 16,-4 2 123-16,0 6-74 0,-8 15 618 15,7 2 752 1,5 11-413-16,-2-7-26 16,2 17 46-16,6 5-373 15,6-11-164-15,2-5-125 16,6-7-343-16,2-9-6 16,2-14-120-16,2 1 27 15,1-10-175-15,2-3 181 16,-4-8-292-1,-1-4-146-15,2-11-346 16,-2-2 114-16,-2-5 48 16,6-5-603-16,-8 1 292 15,0-1 188-15,-1-3 306 16,-3 5 341-16,2-5 223 16,-4 7 94-16,-2 7 662 15,2 6 1103-15,-2 6-522 16,4 1-434-1,-4 3-384-15,-2 0-250 0,2 2-184 16,-2 6-18 0,4 15 229-16,-4 9 358 15,6 12 1776-15,5-2-104 16,2 5-186-16,3-1-1037 16,0 1-810-16,-2-14-846 15,-4-1-2233 1,3-8-4429-16</inkml:trace>
  <inkml:trace contextRef="#ctx0" brushRef="#br4" timeOffset="43730.51">15751 14685 8936 0,'0'0'37'15,"-6"-4"841"-15,0 2-110 16,2 0-283-1,2 0-280-15,0 2-206 16,0-5-878-16,0 5-207 16,2 0 13-16,-2 9 241 15,4 3-11-15,2 5 378 16,-4 7 220-16,0 1 337 16,0 5 288-16,4 6 703 15,2-5-1 1,0 3 389-16,9 49 578 15,-4-32-1586 1,-5-5-292-16,-4 7-125 16,0 10-71-16,-4-7-24 15,0 1 31-15,-2 2 53 16,4-2 80-16,-2-8-155 16,2 4 5-16,-4-7-18 15,4-1 92 1,2 5 158-16,-4-3 290 0,-2-9 1234 15,1 0 140 1,1-2-440-16,2-4-675 16,-4-4-515-16,-5-5-167 15,9-8 70-15,0 2-173 16,-2-7 164-16,2-1-127 16,0-1 231-16,0 1 54 15,-2-3 89-15,0-2-73 16,0-1-116-1,2-2-84-15,0 2-37 16,0-3-48-16,0 2-50 16,0-2-67-16,0 0-138 15,0 0 90-15,2 2 63 16,0-2 56-16,0 2 22 16,0 2-9-16,5-2 32 15,-3 0-5-15,7 3 40 16,1-1-19-1,3 0 16-15,7 1-19 16,-4-1 19-16,6 0-56 16,7-2 42-16,3-2 20 15,-4 0-101-15,0-2 81 16,-1 2-36-16,9 2 60 16,7 0-71-16,-1-4 29 15,3 4 12-15,1 0 85 16,59-4 152-1,-46 0-119 1,0 2 98-16,1-2 8 16,-1 2 278-16,9 0 114 15,5-2-145-15,-2 4-189 16,-7-2 24-16,5-2 345 16,8 0 207-16,-18-1-363 15,19 2-312-15,-3-4 51 16,-1 1-177-16,7 2 34 15,-12-5-125 1,4 1-38-16,7-2 136 16,-1 1-10-16,-6-6 76 15,12 9 189-15,-2-8-422 16,-9 5 76-16,9-3 137 16,2 3-5-16,-2 5-136 15,-8-8-107 1,12-1 168-16,-6 9-106 15,-5-6 102-15,-3 1 30 16,-2 3-142-16,21-2 86 16,-20 1-128-16,0 3 224 15,-9-2-148-15,8 4 40 16,3-2-9-16,-15 0-108 16,9 4 154-16,0-2-98 15,-15 2 74-15,8 0 4 16,-2 2-82-1,-16-2 15-15,-1 3 23 16,1-1-50-16,1 0 19 16,-14-1 193-16,-4 2-174 15,8 2 145-15,-7-1-144 16,1 1 50-16,-6-3-32 16,-7 0 160-16,-7-2-181 15,0 0 114 1,0 1-195-16,-4-3 66 15,-2 0 55-15,-2 0 109 16,-2 1 80-16,0-1 510 16,0 0 111-16,0 0-126 15,0-4-282-15,-6-8-161 16,4 1-178-16,-5-10 188 16,-2 2-353-16,1-7 97 15,0-3-58-15,1-5 139 16,1 0-106-16,-5-10 226 15,1 7-131 1,1 1 198-16,1-8-352 16,4-5-13-16,0 5 57 15,-1-7-41-15,0 1 47 16,1-6-4-16,4 6 80 16,4 1 111-16,4-12-308 15,0 12 59-15,-4 7 211 16,0-5-310-1,4-6-29-15,1 11-150 16,2 2 147-16,2-1-1 16,-5 3-113-16,0 2 199 15,0 13-21-15,-3 0 70 16,-2 4 176-16,1 1-126 16,0 4 127-16,-2 1-148 15,0 5-15-15,-2 2 21 16,2 1 83-1,-2-1-113-15,-2 2-45 16,2-1-107-16,-4 3 57 16,0 0-75-16,-3 2 114 15,-6-2 109-15,1 4 117 16,-7 0 9-16,1-2-47 16,-6 0 24-16,0 2-90 15,0 0 142 1,1-2-116-16,0 5 45 15,2-1 172-15,-15 0-350 16,0-4 145-16,0 2 5 16,4-2 296-16,-2 4-75 15,-8-1 37-15,-5-6-52 16,5 3 45-16,-2 5-263 16,-9-1-30-16,11-4 86 15,-1-2 53-15,-8 4-133 16,-6-4-120-16,2-2 105 15,4 0 196 1,-6-1-170-16,-3 1 311 16,10 4-208-16,-3-4 36 15,-8-1-237-15,-5 3 126 16,7 4-41-16,0-4 173 16,1-4-377-16,-5 8 286 15,-3 0-196 1,11-6 145-16,-2 4-137 15,-7-4 74-15,10 2 213 16,-12-2-256-16,2-3 56 16,7 5-22-16,-1 4 157 15,-57-8-83 1,60 6 0-16,-7-3-15 16,-1 3-5-16,8 0-206 15,-1-1 108 1,-2-2 19-16,7 3 292 0,-4 0-339 15,-5-2 98 1,14 2 17-16,-3 2 25 16,-8-4 31-16,2 0-154 15,13 0 205-15,-10 0-139 16,4-2 86-16,5 0-87 16,1 1-34-16,-2 3 25 15,-1 0 51 1,6 0-58-16,-6 0 33 15,-2 3-184-15,2-6 71 16,6 3 28-16,11-4-71 16,0 4 186-16,-10 2-3 15,3-4-2-15,-3 0-20 16,6 2 65-16,2 0-61 16,3 0 9-16,-5-2-33 15,2 0-67 1,1-1-13-16,1 2-39 0,5-4 24 15,-3 5-69 1,3 0 26-16,0 0 74 16,-5-2 108-16,-8 2-59 15,13 0 51-15,-3 0 121 16,8-2-131-16,-8 4 96 16,7-2-17-1,5 0-113-15,-14 0 54 0,9 0 29 16,-2 0-67-1,6 0 79-15,-11-2-108 16,10 4 51-16,0-2 5 16,12 0-11-16,-4 0-305 15,-5 2-487-15,3 0-1847 16,-10-2-9785 0</inkml:trace>
  <inkml:trace contextRef="#ctx0" brushRef="#br5" timeOffset="50500.19">18385 13572 4196 0,'0'0'3116'0,"4"2"-865"31,-4-2-641-31,0 0-350 0,0 0-414 15,2 4-164-15,0 2-331 16,2 3-127-16,-4 6-52 16,2 6 370-16,-2 15 367 15,0 6-455-15,5 11-202 16,1 13-157-16,1-1-1627 16,3 8-1017-16,-1-2-3557 15</inkml:trace>
  <inkml:trace contextRef="#ctx0" brushRef="#br5" timeOffset="51547.65">19627 13557 7719 0,'0'0'1624'15,"4"7"87"-15,1 3 62 16,3 5 307-16,-1 6-569 16,3 6-396-16,-3 9-499 15,3 7-297 1,2 14-207-16,4 4-1043 15,-10 3-3011-15,0-9-4031 16</inkml:trace>
  <inkml:trace contextRef="#ctx0" brushRef="#br5" timeOffset="52412.23">20887 13568 5061 0,'0'0'4815'15,"0"0"-2544"1,0 0-401-16,0 0-359 16,0 0-352-16,2 0-89 15,0 6-450-15,2 7-512 16,5 5-44-16,-3 8-31 16,0 6 1-16,2 4 93 15,4 6 26-15,-4 7-615 16,0 12-2767-1,-4-4-1323-15</inkml:trace>
  <inkml:trace contextRef="#ctx0" brushRef="#br5" timeOffset="53209.53">21873 13504 12172 0,'0'0'767'15,"0"0"855"-15,0 0 66 16,0 0-348-16,2 0-211 16,-2 0 8-16,2 2-92 15,5 3-141 1,-1 9-269-16,7 20-441 15,4 25-711-15,-5 28-59 16,6-2 206-16,-8 10-227 16,0-16-3877-16,-3-18-3181 15</inkml:trace>
  <inkml:trace contextRef="#ctx0" brushRef="#br5" timeOffset="54019.37">22834 13527 11883 0,'0'0'1218'0,"5"0"1102"15,1 2-149-15,4 3-648 16,0-1-615-16,2-2-610 16,-4 4-231-16,2 9-252 15,12 78-2181 1,-14-25 733-16,-3 19 1096 16,3-5 467-16,-2-8-1615 15,-4-4-2390-15</inkml:trace>
  <inkml:trace contextRef="#ctx0" brushRef="#br5" timeOffset="54766.83">23956 13519 2594 0,'0'0'1347'0,"0"0"1110"16,0 0-345-16,0 0 410 15,0 0-1270 1,0 4 796-16,4 5 146 16,-4 7-26-16,2 14-879 15,2 8-54-15,2 13-841 16,-4 0-631-16,2 6-19 16,-4 21-1270-16,2-4-2093 15,0 9-154-15,0-11-2351 16</inkml:trace>
  <inkml:trace contextRef="#ctx0" brushRef="#br5" timeOffset="55448.83">24966 13604 2594 0,'0'0'2304'16,"0"0"188"-16,0-3-506 16,0 3-386-16,0-2-321 15,4-2-107-15,-4 2 163 16,2 0-256-16,0 2-466 16,-2 0 8-1,0 0-488-15,8 14-1646 0,4 25-133 16,-4 18 865-16,8 8 519 15,2 18 573 1,-4-11 482-16,-3-4-568 16,-3-13-912-16,3-13-2626 15</inkml:trace>
  <inkml:trace contextRef="#ctx0" brushRef="#br5" timeOffset="56196.9">26145 13559 12268 0,'0'0'172'16,"0"0"673"-16,0 0 304 15,0 0-252-15,0 2 144 16,2 5-213-16,2 5-255 16,2 7-312-1,1 9-49-15,1 14-89 0,0 5-113 16,3 19 37-1,-2 7-423-15,-5 6-1512 16,-4 3-291-16,4-12-2114 16,-2-23-1059-16</inkml:trace>
  <inkml:trace contextRef="#ctx0" brushRef="#br5" timeOffset="56825.93">27236 13652 9545 0,'0'0'774'15,"0"0"320"-15,0 0 488 16,0 0 361-16,0 0-96 16,0 0-281-16,0 6 121 15,0 9-477-15,5 15-405 16,4 29-503-16,-7 30-142 15,-2 4-524-15,0 4-1376 16,-11-14-3214 0,6-19-761-16</inkml:trace>
  <inkml:trace contextRef="#ctx0" brushRef="#br5" timeOffset="57366.92">28236 13657 2979 0,'0'0'1208'0,"0"1"401"16,4 4-273-1,0-1-73-15,2 6-95 16,-2 7-27-16,2 9-251 16,-6 6 23-16,2 12-416 15,2 18-328-15,-8 3-836 16,6 22-2748-16,-4-3-2408 16</inkml:trace>
  <inkml:trace contextRef="#ctx0" brushRef="#br5" timeOffset="57922.92">29448 13750 9673 0,'0'0'1066'0,"-2"4"-245"16,2 2-239-16,-6 7-235 16,2 10-176-1,0 11 28-15,0 8-208 16,-3 13-15-16,-3 19-774 15,-6 11-2926-15</inkml:trace>
  <inkml:trace contextRef="#ctx0" brushRef="#br5" timeOffset="59971.97">18985 12325 13293 0,'0'0'500'15,"0"0"1485"-15,-4-2-46 16,0 2-777-16,2 4 82 16,-4 9-577-1,2 8 288 1,-2 3 233-16,-1 5 320 15,5 9-27-15,11 7-721 16,-5 5-416-16,-8 6-176 16,10 0-251-16,4 4-2195 15,-10-7-1944-15,2-3-1702 16,2-5-1385-16</inkml:trace>
  <inkml:trace contextRef="#ctx0" brushRef="#br5" timeOffset="60482.91">18876 12308 13036 0,'2'0'729'16,"6"-11"1321"-16,8-1 292 16,0 1-981-16,7 3-660 15,3 4-442-15,4 4-157 16,-3 4-530-16,-1 2-628 15,1 1-1184 1,-4 10 199-16,11 6 501 16,5 2 397-16,-11 3 475 15,-2 1 441-15,-3 1 136 16,-3 1-96-16,0 5-396 16,0-1 414-16,-8 0 175 15,-10 0 295 1,3 1 426-16,-5-5 281 15,-5-1 484-15,-5 2 1635 16,-12 1-659-16,-2-5-907 16,-2 0-357-16,-12-5-574 15,-2-4-1212-15,8-9-2135 16,-2 1-1808-16,2-7-1921 16</inkml:trace>
  <inkml:trace contextRef="#ctx0" brushRef="#br5" timeOffset="61195.91">19475 12361 13453 0,'0'0'104'0,"0"4"507"0,7 3 770 15,-3 6-540 1,-2 5-704-16,2 12-1278 16,0 6-343-16,2 4-110 15,0 7-1141-15,-6 0-705 16,3-3 1404-16,4-8 1168 16,-5-4 799-1,-4-7 541-15,-5-6 1645 0,0-2 269 16,5-9-413-1,0-3-555-15,0-5-349 16,-2-5-514-16,-2-16 68 16,6-4 90-16,-6-9 891 15,-1-4 41-15,2 2-524 16,1-4-290-16,2 1-598 16,4 8-268-16,0 3 108 15,5 7 59-15,-7 0-119 16,5 4 123-16,1 0-24 15,4 6-40 1,2 3-157-16,6 4-44 16,9 6 25-16,3 6 218 15,-6 10-260-15,-6 0 169 16,8 12 312-16,3-5 85 16,-3 3 460-16,-5 4-301 15,0-7 38-15,-4 3-394 16,9 1-555-1,-14-6-362-15,-6 1-945 16,2 1-1900 0,2-4-43-16,-6-2-1058 0,0-6 1074 15</inkml:trace>
  <inkml:trace contextRef="#ctx0" brushRef="#br5" timeOffset="61511.92">19424 12554 22934 0,'0'0'1349'0,"0"0"-437"15,0 0-330 1,5 0-111-16,-3 0-164 16,4 2-202-16,9 0-232 15,1-4-356-15,4 0-415 16,7-5-924-16,13-1-298 16,-2 6-1949-16,-6-2 263 15,2-1-2001-15</inkml:trace>
  <inkml:trace contextRef="#ctx0" brushRef="#br5" timeOffset="61876.93">19995 12414 20371 0,'0'0'560'0,"0"0"1008"16,2 4-72-16,6 3-478 15,0-1-576 1,-4 7-363-16,-2 5-262 16,0 8-379-16,0 8 88 15,-2 10-474-15,0-1 534 16,-2 1-484 0,4-4-1292-16,0 0-2194 0,-2-8-1935 15</inkml:trace>
  <inkml:trace contextRef="#ctx0" brushRef="#br5" timeOffset="62257.91">20167 12408 8264 0,'0'0'4390'15,"0"0"-1062"-15,0 0-191 16,0 4-689-16,2 2-725 16,-2 9-1322-16,-6 8-923 15,-1 7 192 1,3 2 166-16,-4 8 166 0,0 0 133 15,1 2 601 1,9-10 189-16,5-2 589 16,-1 6-704-16,4-6-529 15,5-5-19-15,-2-4-85 16,0-6-342-16,7-5-1591 16,4-3-1205-16,-1-5-2164 15,9-6-1416-15</inkml:trace>
  <inkml:trace contextRef="#ctx0" brushRef="#br5" timeOffset="62574.92">20239 12376 13549 0,'0'0'1505'0,"6"4"482"15,7 9 550-15,2 2-886 16,4-1-867-16,3 3-593 15,-6 2-761 1,3 1-482-16,-2-4-1823 16,0-1-660-16,7 0-2279 15</inkml:trace>
  <inkml:trace contextRef="#ctx0" brushRef="#br5" timeOffset="62848.92">20621 12378 5061 0,'0'0'3952'0,"-6"7"-72"0,0 3-734 15,-6 5-797-15,-3 2-997 16,6 10-337-16,1 5 3 15,-5 12-309 1,-1 5 81-16,0-2-242 16,6 1-381-16,0 3-975 15,-9-7-1125-15,8-8-2935 16,5-10-2151-16</inkml:trace>
  <inkml:trace contextRef="#ctx0" brushRef="#br5" timeOffset="63509.6">21268 12372 11339 0,'0'0'4295'0,"0"0"-1390"15,0 0-791-15,-7-4-1000 16,-3 1-1137-16,-12 3-427 16,-2 7 241-16,-4 6-445 15,-4 3-522-15,7 1-539 16,-3 4 287-16,-1 2 676 15,3-1 486 1,7-3-22-16,4-2-16 16,11-9 364-16,0 3 46 15,4 1 341-15,10 1-4 16,16-4-194-16,3-3-438 16,-7-2-218-16,5 0-191 15,11 0 174-15,0 1 159 16,-2 3 308-16,-6-1-116 15,-9 5 610 1,-4-1 229-16,-8 4 589 16,-3 2 402-16,-6 2-117 15,-11 6-225-15,-12 1 322 16,-2-3-188-16,-9-2-1312 16,-5-2-2603-16,5-13-2955 15,5-2-814-15</inkml:trace>
  <inkml:trace contextRef="#ctx0" brushRef="#br5" timeOffset="63800.62">21458 12418 16464 0,'0'0'2040'0,"3"3"-440"16,3 1 139-16,-4 2-278 16,2 11-470-16,0 10-929 15,1 7-52-15,-5 11-5 16,-3-3-314-16,1 1-1530 15,2-10-3184 1,5-3-2114-16</inkml:trace>
  <inkml:trace contextRef="#ctx0" brushRef="#br5" timeOffset="64053.58">21253 12418 12812 0,'0'0'2784'0,"6"0"405"0,7-2 582 15,13 0-1267-15,6-2-1571 16,-3-1-1971-1,9-3-1051-15,-8 6-2080 16,-5 2 15-16,0-2-1434 16</inkml:trace>
  <inkml:trace contextRef="#ctx0" brushRef="#br5" timeOffset="64528.59">21746 12397 9001 0,'0'2'1264'0,"0"13"120"16,6 6-51-16,-2 11 128 15,1-2-14-15,-1 6-777 16,5 4-364-16,-1-6-1082 16,-6-1 69-16,-2-3 347 15,2-11 376-15,3-6-262 16,-5-5-225-16,0-3-262 15,0-4-788 1,0-1 234-16,-5-8 328 16,1-13 1590-16,2-4 514 15,0-11 724-15,0-3 899 16,4-3-449-16,4 0-938 16,-2 1-686-1,5 4-256-15,-5 15-253 16,11 5 483-16,6 3 380 15,3 7 278-15,-3 7-190 16,2 11-105-16,8 8-258 16,1 4 2-16,-8 0-150 15,-5 7 133-15,4 4-182 16,0 4-263-16,-4-2-215 16,0-4-489-16,-2-7-1201 15,-4-6-2300-15,-4-4-1303 16,-7-2-643-1,-2 0-103-15</inkml:trace>
  <inkml:trace contextRef="#ctx0" brushRef="#br5" timeOffset="64776.6">21816 12568 11659 0,'0'0'2909'16,"9"0"1001"-16,3-6 397 15,5 0-1367-15,2 0-1131 16,2 1-810-16,3 1-694 16,-6 0-683-16,0 2-883 15,3 0-2540-15,4-3-3038 16,-4-1-636-1</inkml:trace>
  <inkml:trace contextRef="#ctx0" brushRef="#br5" timeOffset="65325.59">22314 12405 14894 0,'0'0'1706'0,"0"0"262"0,2 3-102 15,2 1-449 1,-2 2-466-16,-2 9-1131 16,-2 2-416-16,-4 8-85 15,-9-2-99-15,-3 3-69 16,6-3-382-16,-2-4-1206 16,-2-4 435-16,8-6-139 15,2-3 607-15,2-4-213 16,-3 0-673-1,0-8 1427-15,5-9 453 16,2-6 986-16,5 0 299 16,3-5 478-16,1-1-279 15,1-3-359-15,-2-6-435 16,4 9-215-16,-6 8-158 16,0 4 259-16,-2 11 31 15,-2 4 797 1,11 8 148-16,0 16-544 0,0 9-209 15,1 11-4 1,-2-3 522-16,2 3-97 16,-2-4 627-16,12-8 901 15,9-2 332-15,1-11-256 16,-8-4-7-16,3-7-159 16,-9-3-962-16,0-5-181 15,2-9-394-15,-5-4-511 16,-3-6-577-1,-1-2-898-15,-2-10 259 16,-13-4-1655-16,-4 12-1472 16,-3 6 971-16,2 4-339 15</inkml:trace>
  <inkml:trace contextRef="#ctx0" brushRef="#br5" timeOffset="65593.6">22699 12321 17424 0,'0'0'3401'0,"0"0"-533"0,0 2-314 15,6 2-796-15,0 9-599 16,7 10-594-16,-5 13-342 15,-2 0-319 1,4 9-123-16,-8-5-511 16,2 0-1971-16,2-13-1185 15,4 1-1761-15,-3-9-759 16</inkml:trace>
  <inkml:trace contextRef="#ctx0" brushRef="#br5" timeOffset="65957.59">22711 12342 20916 0,'0'0'1790'0,"0"-2"392"15,15-11-248-15,-3 7-967 16,2 0-566-16,13-1-367 15,5 5-671 1,0-2-344-16,0 8-1195 16,-3 5 202-16,7 3 166 15,-2 5-179-15,2 11 533 16,-5-1 1450-16,-11-1 532 16,-2 1 465-16,-5 1-7 15,-2-1-410-15,-11 1-72 16,-6 1-142-1,-3 1 402-15,-2-7 238 16,-13 5 136-16,-6-11-751 16,-11 0-2048-16,5-9-3138 15,11-6-754-15</inkml:trace>
  <inkml:trace contextRef="#ctx0" brushRef="#br5" timeOffset="66263.62">23255 12454 3203 0,'0'0'6241'16,"0"0"-1004"-16,0 0-1467 16,2 0-90-16,6 4-538 15,14 0-894-15,3 1-1315 16,9-3-1217-16,11-2-1463 16,-9-4-2187-16,2 1-2360 15,6-3-1997-15</inkml:trace>
  <inkml:trace contextRef="#ctx0" brushRef="#br5" timeOffset="66766.61">23730 12272 4004 0,'0'0'8510'15,"0"4"-2305"-15,2 5-1949 16,2 6-1758-16,0 8-975 16,-2 9-906-16,-2 8-408 15,10 53 48 1,2-55-23-1,-2-4-809-15,2-8-1560 16,6-8-354-16,-2-3-175 16,5-4-35-16,11-9 738 15,4-6 927-15,3-7 888 16,-13-3 489-16,-6-6 1020 16,5-7 71-16,5-1-120 15,-4-2-249-15,-6-6 416 16,-4 7-347-16,-4 1-364 15,-3 14-152 1,-5 9 677-16,-2 4-480 16,2 2-314-16,2 16-140 15,1 11 116-15,-5 10-29 16,0 0 140-16,5 6-420 16,-5-4-964-16,2-14-2428 15,8 12-9962 1</inkml:trace>
  <inkml:trace contextRef="#ctx0" brushRef="#br5" timeOffset="67028.6">24375 12327 12940 0,'0'2'4827'0,"3"5"-1480"15,5 12-1677-15,0 12-650 16,0 8 343-16,3 7-1397 16,-2-3-38-16,-3 5 344 15,2-7-1241-15,-3-16-2467 16,-5-4-2741-16</inkml:trace>
  <inkml:trace contextRef="#ctx0" brushRef="#br5" timeOffset="67355.6">24368 12325 3267 0,'0'0'6713'16,"12"-9"-188"-16,12-5-2348 15,6-1-2543-15,2 4-1208 16,-3-3-627-16,-1 9-6 16,-7 5-503-16,3 0-275 15,-6 5 434-15,6 7 137 16,-7 3-237-1,-7 2 284-15,-10 0 653 16,-4 4 777-16,-15 7 544 16,-21 14 1793-1,23-23-3415-15,-4-4-1978 16,-8-2-3249-16,5-7-1964 16</inkml:trace>
  <inkml:trace contextRef="#ctx0" brushRef="#br5" timeOffset="67716.61">24942 12312 19635 0,'0'0'1479'0,"0"0"-339"16,0 0-170-1,-10-2 269-15,-9 0-820 16,-3 2-366-16,-7 2-292 16,-11 3-180-16,6 1 123 15,8 2 232-15,3 1 17 16,13 1-18-16,3 7 253 16,9 7 1266-16,13 3-266 15,0-2-305-15,13 3-124 16,8 1-597-1,-5-1-45-15,-7 0-52 16,-8-5-554-16,-5-2-386 16,-2-6-1544-16,-5-5-1035 15,-6 3-2294-15,-2-4-330 16</inkml:trace>
  <inkml:trace contextRef="#ctx0" brushRef="#br5" timeOffset="71332.25">19062 13132 4004 0,'0'0'1672'0,"8"2"888"15,-1-2-711-15,-2 0-817 16,1 2-385-16,4-4-410 16,-2 0-370-16,12-5-879 15,3 3 118-15,1-2 470 16,0 3 221-16,0-1 212 16,8 0 269-16,5-2 168 15,0 4 170-15,5-1-70 16,-2-1-149-1,9 0-78-15,1 0-116 16,6-1-107-16,-5 1-62 16,0 0-101-16,-3 0 82 15,11 2 136-15,-3-3 231 16,-3 3 119-16,5-4-42 16,-1 2 418-16,7 2-406 15,-1-1 49-15,-3-3-221 16,6 6-45-16,-2-4 46 15,-1 2 871 1,7 4-265-16,-5-4 202 16,-6 2-328-16,15 0-238 15,-1-2-434-15,-2 6 57 16,1-6-220-16,1 2 146 16,-2 2-214-16,-1-4 106 15,4 2-11-15,6 4 174 16,-5-2-233-1,7 0 193-15,-10 2-75 16,4 1-130-16,5-7-198 16,2 8 137-16,3-4-69 15,-1-2 430-15,0 4-230 16,-8 0 153-16,8-1 117 16,-4 1-192-16,1 0-34 15,5-2-33-15,-2 1 103 16,0 1-216-1,2-4 203-15,-1 2 40 16,3-2 102-16,-10 0 290 16,6 4-190-16,8-4-217 15,-14 0-92-15,6 0-653 16,2 0 227-16,0 0-109 16,-1-2-213-16,-7-2-114 15,4 0-11-15,8 4 436 16,0-3 217-1,-13 3 176-15,-5 0 463 16,8 3-464-16,0-6-236 16,-15 1-1322-16,3-2 133 15,1-3 745-15,4 3 506 16,-2-2 146-16,-6 2 132 16,-5-1 104-16,-10 1 473 15,-11 0 293-15,5 4-101 16,5-2-982-1,-5-2-1047-15,-7 0 469 16,-4-1-473-16,8 3 206 16,-1 0-320-16,-8 2 718 15,-3 0 478-15,20 4 554 16,-26 1-67 0,-3-1-336-16,9 0-459 15,-12-2-346-15,2 2-200 16,-3-4 84-1,-11 3 550-15,-2-3 495 16,1 1 231-16,1-1 138 16,1 0 298-16,-5 0-16 15,-2 0-298-15,0 0-97 16,2 0 18-16,0-1 8 16,0-4-95-16,-2 3 272 15,2-7 1053-15,-2 3 282 16,0-2-234-16,0-1-477 15,2-4-216 1,0-3-452-16,2-1-261 16,-2-7-165-16,-2 5-111 15,0-4 255-15,2-4 10 16,-4-1 81-16,-2-1-61 16,2-7 321-16,0 1-330 15,-2-2-101-15,0-4-144 16,6 3 0-16,0-6 19 15,-2 1 317-15,-4 1 702 16,0 2-251 0,6-3-266-16,-2 3-150 15,-5-4-319-15,3 8-36 16,9-5-334-16,-1 1-274 16,-2 0-926-16,-2 6 529 15,-2 9 513-15,4-5-178 16,-4 3 191-1,0 5 96-15,-4 6 225 16,4 1-145-16,6 2-437 16,-4 4 220-16,0 3-61 15,-2 2-150-15,-2 0-480 16,-2 0 6-16,-4 2 328 16,4 2 1233-1,-5 4-102-15,3 0-73 16,-5 2-41-16,1 0-98 15,-3 3-100-15,-9 0-11 16,4-3-41 0,-6 0-119-16,5-1 78 15,-1-1 119-15,-10 0 64 16,2 0 361-16,-1-2 155 16,-11 1-241-16,6-3-274 15,-3-3-29-15,-1 3-106 16,-6 0-8-1,-5-4 17-15,11 2 7 16,-9-2-155-16,-12 2-10 16,5-5 111-16,2 5 158 15,-7-2 2-15,-2 2 58 16,-1-2-62-16,-5 2-42 16,3-5-102-16,7 3 11 15,-10-1-278-15,-6 1 186 16,7 4 108-16,-5-4 100 15,5 0 264 1,-8 4 253-16,0-2 289 16,10 0 790-16,-7 0-561 15,9 0-319-15,-12 2-297 16,-2-3-448-16,-1 1-123 16,0 2-85-16,4-4-22 15,-11 6 209-15,3-4-110 16,10 6 185-1,-12-6-71-15,-2 9 110 16,3-3-101-16,-1-2 304 16,2 0-68-16,10 0 89 15,-12 2-159-15,9-2-102 16,-5 1 124-16,-1-2-71 16,8 2-47-16,-8-1-165 15,-1-2 57-15,5 4-4 16,0-6 21-16,-8 7-16 15,-1-8-50 1,14 6 53-16,0-3 145 16,-18 0-194-16,0 0-17 15,13 1-114-15,-3-1-170 16,-1-4-56-16,2 4-939 16,-4-4 1206-16,1 4 357 15,-2-6 64-15,11 1 403 16,1 3-254-16,-8-2-164 15,5 0-344 1,2 0-173-16,2-1-332 16,0-1-323-16,7-3-595 15,-2 9 766-15,-12-8 250 16,-1 2 324-16,12 1 84 16,4 1 107-16,-1 2 522 15,3 2-146-15,-3-4-182 16,7 2-14-16,2 2 142 15,-7-2-80-15,12 2-309 16,7 0 93 0,-7 4-79-16,-6-11 7 15,13 7 429-15,14 0-342 16,-6 3-469-16,-6-6-295 16,3 2 295-16,9 1-97 15,8 0 169-15,1 0 33 16,5 0 198-16,1 1 22 15,-6-2 109 1,2 1-87-16,6 1-23 16,3-1-150-16,-1 3-414 15,-3 1 45-15,4 0 215 16,3 2 42-16,-2 1 33 16,3 1 16-16,4 3-51 15,-2-1 88-15,0 5 26 16,2 0-55-16,-2 4 156 15,2 2 237 1,0 3-114-16,-6-1-23 16,2 0 24-16,6 5 46 15,-2 1-31-15,-4 3 21 16,2 2-45-16,0-24-2 16,-1 11 33-16,3 9-17 0,9 2 138 15,-7 4 224-15,-4 0 106 16,2-2-179-1,0 2-6-15,2-2-268 16,0 2-38-16,0 2-221 16,2-3-539-16,-2-7 197 15,0 6 33-15,2-11 268 16,-4 5 87-16,4 1 224 16,-1-1 63-16,-1-3-179 15,3-3-229-15,-3 5-265 16,0-8-490-16,2 0 54 15,-4-4 359-15,0 2 358 16,4 0 38 0,2-5 206-16,-1 1 36 15,-3-2 76-15,-2-3-129 16,2 5 140-16,2-2-209 16,-4-3 57-16,4 3-56 15,0-3 31-15,-2 1-86 16,-2-1-91-16,-2-3 132 15,0 1-46-15,0 0 32 16,0 2-15-16,0-1 111 16,-4-1 25-16,1 1 41 15,3-3 71-15,-2 0-2 16,2-2 41-16,2-2-56 16,0 2-9-16,0-2 240 15,0 2 321-15,8 1 917 16,1-3-305-1,-3 0-398-15,0 0-585 0,12 0-355 16,-6-3-1025 0,3 3-71-16,2-2-605 15,-2 0-2740-15</inkml:trace>
  <inkml:trace contextRef="#ctx0" brushRef="#br5" timeOffset="72374">24885 12564 9353 0,'0'0'863'16,"2"2"-184"-16,2 0 64 15,-2 3-325-15,-2-3-236 0,2 0-301 16,0 2-391-16,1-2-149 16,-1 5 50-16,3 1 190 15,-5-2 88-15,0 1 88 16,-2 1-130-16,2 5 66 15,-3 4 203 1,-2-4 128-16,1 1 273 16,-6 3 864-16,0 0-6 15,-3-2-232-15,-11 2-361 16,-3-4-545-16,2-3-1511 16,1-6-2188-16</inkml:trace>
  <inkml:trace contextRef="#ctx0" brushRef="#br0" timeOffset="78092.29">27844 14973 15407 0,'0'6'2437'0,"0"17"-773"15,4 3-981-15,-2 6-347 32,0 8-84-32,0-2-871 0,3 7-2198 0,0 4-243 15,-1 14-2142-15</inkml:trace>
  <inkml:trace contextRef="#ctx0" brushRef="#br0" timeOffset="80250.7">27715 14975 3651 0,'0'0'2332'0,"0"0"17"15,0 0-27 1,-2 0-223-16,2-2-124 16,-2-2-171-16,0 0-435 15,2 4-623 1,0 0-203-16,0-3-210 0,0 3-145 16,0 0-280-16,0 0 184 15,2-4-19-15,8-6-296 16,1 1 89-1,2 1 187-15,-3 3-144 16,3 1 282-16,0 0 99 16,-5-1-19-16,1 4-51 15,-3-2-203-15,2 3 49 16,3-2 47-16,2 0 24 16,-3-2-81-1,-2 2 85-15,4-4 17 0,0-1 263 16,5 1 351-16,9-1 465 15,-4 1-536 1,0-2 233-16,-1 1-160 16,-4 1-284-16,-2 2-115 15,13-1-256-15,1 4-64 16,1 2-421-16,0-1-446 16,-2 3-933-16,-6 1 257 15,-7 2 169 1,6 7-81-16,10 2-143 0,-5 4 595 15,-7 0 610 1,-2 2 150-16,-2 0-390 16,-5 3-257-16,-6-5 83 15,-4 4 6-15,-4 0 271 16,-4 2-258-16,-7 1-426 16,-2-3 395-16,-10 5-53 15,1-9 326-15,1-3 359 16,8 0 430-16,-8-2 578 15,-9 1-192 1,-6-4-168-16,5 1-60 16,-1-1 76-16,-10 2 42 15,-3-1 69-15,5-1-16 16,8-2-530-16,-9-5-915 16,-3-2-1419-16,1-2-2263 15</inkml:trace>
  <inkml:trace contextRef="#ctx0" brushRef="#br0" timeOffset="80991.43">28430 14926 6598 0,'0'7'1257'16,"-8"10"67"-16,2 2 134 15,-1 10-398-15,3-1-338 16,2-3-160-16,-4 5 384 16,2 2 1013-16,-5-5 41 15,4 1-662-15,5-7-464 16,3 2-239-1,1-3-247-15,0-2-164 16,1 4-48-16,5 1 397 16,17-2 584-16,3 0-1286 15,-2-8-261-15,-3-7-987 16,-5-1-2254-16,8-5-844 16,9-5-1022-1</inkml:trace>
  <inkml:trace contextRef="#ctx0" brushRef="#br0" timeOffset="81339.42">28386 14844 19763 0,'0'0'1219'0,"0"0"998"16,11 0-111-16,10 0-488 15,7-2-707-15,12 0-700 16,-5-7-446-16,-7 1-1811 16,2-1-1147-16,4-1-2148 15,11-1-1311-15</inkml:trace>
  <inkml:trace contextRef="#ctx0" brushRef="#br0" timeOffset="81638.42">28365 15055 25400 0,'4'3'1309'0,"11"-1"-11"15,-4 0-528-15,12-2-304 16,15-2-1469-16,2-7-1932 16,-4 3-1189-16,-13-2-1460 15,3-7-1591-15</inkml:trace>
  <inkml:trace contextRef="#ctx0" brushRef="#br0" timeOffset="82408.43">28782 15024 3555 0,'0'0'5313'15,"-3"4"-913"-15,3-2-1515 16,3 5-885-16,-3 1-778 16,0 2-1668-16,2 5-2004 15,0 0 364-15,-4 8 420 16,-5-1 590-16,1-5 473 15,0-5 80 1,2-8-404-16,0 1-1046 16,4-5 698-16,0 0 25 15,4-19 517-15,-2-7 624 16,2-6 1265-16,0 1 448 16,4-1-78-16,4-2 510 15,-2-6-442 1,3-2-576-16,-1 16-783 15,-1 1-396-15,-4 8-344 16,1 6 10-16,0 5 395 16,5 4 178-16,0 6-97 15,-1 13 58-15,5 13-30 16,-4 3 342-16,-6 1 411 16,-3-4 95-16,2-1 1099 15,0-7-651-15,2-8-380 16,-4-3-308-1,0-5-483-15,0-1-500 16,-2-3 41-16,0-2 496 16,6-7 411-16,0-10-708 15,1-12-343-15,-1-7-232 16,1-4-566-16,6-3 295 16,23-39-895-1,-24 44 880-15,4 11 291 16,-4 5 253-1,3 12 594-15,-4 7 563 16,4 8 485-16,-3 9 1047 16,-7 14-122-16,2 10-434 15,-5-4 87-15,-2 8 500 16,2 15 137-16,-4 1-1058 16,4-14-561-16,1 9-520 15,-3-2-861-15,2-17-1878 16,0-9-2532-16,-4-6-2094 15,0-10 4202 1</inkml:trace>
  <inkml:trace contextRef="#ctx0" brushRef="#br0" timeOffset="82853.43">29421 14833 18289 0,'0'0'1869'16,"-4"0"687"-16,-7 3-664 16,3-2-907-16,-7 6-316 15,-1-1-456-15,-2 7-1158 16,-1 8-694-16,6 8 112 15,7 10 133-15,0 3-473 16,1 7-804 0,5 15 1319-16,2-12 992 15,3-7 214-15,1-12-226 16,1-5 508-16,8-7 1896 16,7-10 724-16,10-9 147 15,-6-8 334-15,-7-11-294 16,0-7-857-16,0-1-681 15,-5-2-797 1,-7-5-344-16,-4-9-147 16,-8-1-69-16,5 4-803 15,0 10-1930-15,-5 10-2188 16,1 1-4116-16</inkml:trace>
  <inkml:trace contextRef="#ctx0" brushRef="#br0" timeOffset="83251.44">29715 14719 25656 0,'0'0'1489'0,"0"0"-218"16,0 2-331-16,-4 9-150 15,-2 8-226 1,-7 13-342-16,-1 5-255 16,0 12-202-16,-4 17-737 15,1 1-464-15,6 12-2541 16,-8 8-324-16,-9 0-1703 16,-1-1-2412-16</inkml:trace>
  <inkml:trace contextRef="#ctx0" brushRef="#br0" timeOffset="83719.59">27634 15644 25560 0,'0'0'1951'0,"0"0"-81"15,0 2-708-15,0 0-394 16,0-2-296-16,0 7-63 15,0 14-116 1,4 6-367-16,4 18-960 16,0 10-1538-16,-4 8-1734 15,-2 1-2396-15,-2 1-541 16</inkml:trace>
  <inkml:trace contextRef="#ctx0" brushRef="#br0" timeOffset="84238.6">27557 15553 9929 0,'2'-2'2897'0,"4"-6"1389"15,9-5 700 1,8-2-1966-16,0 2-1462 16,-1 5-879-16,3-1-503 15,5 3-437-15,8 10-1296 16,0 7-329-16,-5 6 15 16,-5-1 52-16,-9 8-709 15,8 5 99 1,-5-3 688-16,-3 4 609 15,-11-3-404-15,-8 1 153 16,-6 1 285-16,-9 3 916 16,-8 2 690-16,-2-7 434 15,-11 1 645-15,-5-5-405 16,-7-6-609-16,1-2-370 16,26-9-17-16,4-4 741 15,9 0 1209-15,6 1-695 16,2-3 48-16,2 0 512 15,8 4 904 1,15 2-773-16,15 1-720 16,5-3-843-16,-5 4-465 15,-10 1-602-15,0-1-1629 16,3 0-1370-16,-11 3-1815 16,-6 0-1976-16</inkml:trace>
  <inkml:trace contextRef="#ctx0" brushRef="#br0" timeOffset="84609.62">28039 15665 14990 0,'3'4'3126'16,"5"5"1015"-16,2 4-1530 15,-4 8-1002-15,-4 0-1620 16,-6 13-762-16,-4 4-799 16,-2 8 815-16,3-1 1197 15,0-3 612-15,9-4 180 16,-2 1-601-1,0-8-580-15,12-12-279 16,10 2-650-16,4-10-178 16,5-4-673-16,1-14-361 15,-2-10-1958-15,-5-2 824 16,5-9-2239-16,4-1 1306 16</inkml:trace>
  <inkml:trace contextRef="#ctx0" brushRef="#br0" timeOffset="84907.6">27992 15668 22261 0,'0'1'2084'0,"9"3"354"16,6-1-499-16,19-1-841 16,4-7-1663-16,-7-5-925 15,5-1-2330-15,-18 1-1392 16,7-5-1240-16,15 3-815 15</inkml:trace>
  <inkml:trace contextRef="#ctx0" brushRef="#br0" timeOffset="85167.61">28005 15862 14830 0,'0'0'4363'0,"11"4"166"16,12-6-946-16,15 0-1712 15,-4-4-1610-15,-2 0-1480 16,-7-3-2040-16,-8 2-1231 15,0-3-2215 1</inkml:trace>
  <inkml:trace contextRef="#ctx0" brushRef="#br0" timeOffset="85567.63">28341 15579 15823 0,'0'0'2381'0,"-2"1"98"16,2 4-718-16,2 5-100 15,5 5-262-15,2 8-961 16,-3 5-383-16,2 2-767 15,3 5-291 1,-3 6 191-16,-1 7 400 16,-3-3 336-16,2-11 347 15,3-2-198-15,5-9 10 16,6-2-348-16,-8-6 387 16,1-7 102-16,2-1 286 15,-3-7 223-15,1-5-90 16,0-7-320-16,2-9-1705 15,-5-9-676 1,-6 0-1544-16,-2-4-1029 16,2 0-1582-16</inkml:trace>
  <inkml:trace contextRef="#ctx0" brushRef="#br0" timeOffset="85866.61">28739 15551 2659 0,'0'0'8478'0,"-4"0"-1014"15,2 0-2425 1,2 0-2170-16,-2 0-674 0,2 6-690 15,0 11-1271 1,-4 11-752-16,4 12-766 16,2 2 94-16,-8 9-1333 15,6 2-129-15,0 6-654 16,0-6-1128-16,0-9-2442 16</inkml:trace>
  <inkml:trace contextRef="#ctx0" brushRef="#br0" timeOffset="86225.63">28892 15627 18994 0,'0'0'2476'0,"2"5"23"16,0 3-554-16,0 4-706 16,2 8-689-16,-4 1-697 15,-6 8-348-15,-4 7 29 16,-3 7-206-16,-2 7 98 16,9-7 352-16,6-1-59 15,6-12 35-15,9 1 41 16,6-5 64-16,-4-9-717 15,4-6 238-15,16-6-498 16,11-13-389 0,-7 2-1253-16,-17-7 542 15,10-6-333-15,1 0-856 16,-9-2-292-16</inkml:trace>
  <inkml:trace contextRef="#ctx0" brushRef="#br0" timeOffset="86521.61">28807 15519 8520 0,'0'0'6758'0,"7"0"-606"15,14-2-952-15,8-4-2553 16,5-3-1670-16,-8-3-2163 16,-1-3-375-1,7 4-2145-15,0-2-2015 0,-9 5-231 16</inkml:trace>
  <inkml:trace contextRef="#ctx0" brushRef="#br0" timeOffset="86787.61">28854 15708 24663 0,'2'6'3182'0,"4"5"-865"16,7 3-993-16,0 1-675 16,-3-7-348-16,11 5-126 15,-3-7-468 1,0-1-673-16,0-5-1314 0,4-2-2745 15,4-5-2884 1</inkml:trace>
  <inkml:trace contextRef="#ctx0" brushRef="#br0" timeOffset="87467.62">29268 15593 18257 0,'0'0'2546'0,"0"0"-156"16,0 4-780-16,2 3-385 16,-2 5-419-16,2 18-677 15,8 0-468 1,-4 16-628-16,6 5 151 0,-7 6 846 15,5-6 203 1,3-6-149-16,-4-14-1453 16,-1-8-176-16,6-1 487 15,8-12-296-15,-1-3 274 16,-8-7 694-16,4-9 1170 16,-3-4-97-16,6-8-147 15,-4-2 100-15,-7-4-33 16,-2-8-163-16,3 2-331 15,0-1-869 1,-1 4 2-16,-5 1-289 16,5-3 23-16,-1 13 96 15,-5-2-387-15,-3 10 647 16,2 5 305-16,0 2 403 16,-2 4-171-16,0 0-106 15,0 4-354-15,2 13 29 16,2 8 216-1,0 9 290-15,2-5 173 16,10 8 394-16,0 1 1199 16,3-7 842-16,-6-12-241 15,-7 2-1027-15,5-5 1107 16,-1-4-597-16,2-5 65 16,-6-6-516-16,0 2-119 15,4-7-269-15,5-11-367 16,4-13-276-1,-6-12-174-15,-5-13-83 16,-2 6-554-16,-3-3-1335 16,-8 3-291-16,1 9-1829 15,-2 6-1496-15,0-1-1467 16</inkml:trace>
  <inkml:trace contextRef="#ctx0" brushRef="#br0" timeOffset="88075.16">28557 15648 19571 0,'0'0'1705'0,"-4"7"108"15,4 1-1219 1,0 2-1187-16,0 3-1321 16,2 13-2945-16,-2 1-1838 15</inkml:trace>
  <inkml:trace contextRef="#ctx0" brushRef="#br0" timeOffset="89844.19">27125 14861 16079 0,'2'6'1991'15,"0"9"-657"-15,-2 16-477 16,0 8-279-16,-2 11-389 16,2 3-159-16,-2 9-208 15,0 8 30 1,12 0 121-16,0 10 84 15,4 1-39-15,-6 3-327 16,2 1-837-16,-1 6 228 16,-1-4 475-16,-2-5 1006 15,6-8 1303-15,0-10 260 16,-2-3 928-16,-1-3-1196 16,-4-17-599-16,1 2-313 15,-2-9-427-15,0-9-116 16,-2-6 101-16,0-6-200 15,0 0-89 1,2-1-7-16,1 1 42 16,3 0-317-16,5 0 48 15,2-3 73-15,7 0 10 16,17 3-31-16,-1 0-134 16,-4 0-166-16,13 0 13 15,9 1 235 1,0 3-7-16,1-4 78 15,13 0 336-15,2-5 106 16,10-1-218-16,7-6-191 16,0-2-60-1,26-2-18-15,-8-1-5 0,12 4-1 16,15-4-1-16,-31 6 0 16,8-2 0-16,22 2 0 15,-19-6 0-15,11 4 0 16,-9-7-238-16,-8 6-33 15,9 2-66 1,-8-1 347-16,4 3-670 16,-6 1-2-16,-14 0-242 15,6 3 572-15,-26-6-127 16,-1 6 487-16,-4-3-382 16,-9-2 239-16,-10 2 256 15,-15 1-166-15,1-3-40 16,-5 0 37-1,-15 0 65-15,-2 0-91 16,-7-2-90-16,-1 0-134 16,-3 2 181-16,-2-2 18 15,-5-2-35-15,-1 2 49 16,-2-2 134-16,-1-2-13 16,-4-11-134-16,1-10 72 15,4-5-287-15,-4-14 214 16,4-1 88-1,2-8 219-15,0-6 167 16,-1 2 534-16,5-7-513 16,-2-5-119-16,2-3-243 15,-3-7 8-15,3-3-66 16,2-1 204-16,0-6-251 16,5 13 36-16,-1-7 55 15,4 5-72 1,3 8 238-16,-7 3-375 15,-6 5-12-15,10 5-397 16,0 2-307-16,0 2-425 16,-4 6-1176-16,0 1 370 15,2 1-673-15,2 5 176 16,-4 2 798-16,-1 0 785 16,3 4 728-16,-3 2 377 15,-3 5 786-15,-3-1 935 16,-3 5 243-1,-5 4-271-15,1-2-441 16,-6 0-436-16,4 1-372 16,-7 6-184-16,-15-5 10 15,-2 6-72-15,7 5 332 16,-5-3-14-16,0 5-155 16,-59 0-106-1,55-1-281 1,-7 7-87-16,-16 0-41 15,-1-6 136-15,3 3 253 16,-7 3 251-16,1-2-185 16,-5 4 55-16,-15-2-83 15,8 3 64-15,2-2-45 16,-6-5 151-16,-5 8 206 16,5-8 68-16,-6 7-190 15,-2-10-103-15,12 7-422 16,-8-4 260-1,2 6-369-15,-6-8 44 16,7 6-8-16,-11-4-71 16,2 4-157-16,-6-5 66 15,3 5-455-15,3 0 366 16,-4 7-144-16,-5-7 70 16,7 12-64-16,-6-7 227 15,12 5 48 1,-4-3-197-16,0 3-123 15,7 1 330-15,15 1 50 16,-3-1-119-16,9-3-116 16,8 1-611-16,-5-1-2506 15,10-4-2402-15,17 1-2015 16</inkml:trace>
  <inkml:trace contextRef="#ctx0" brushRef="#br0" timeOffset="90481.18">29108 14073 27450 0,'0'0'697'15,"0"0"-503"-15,0 0-316 16,2 0-51-16,0 7-805 16,0 3-1685-16,2 12-1098 15,-1 7-1369-15,-6 18-3018 16</inkml:trace>
  <inkml:trace contextRef="#ctx0" brushRef="#br3" timeOffset="95701.03">30841 13542 13357 0,'0'0'2219'15,"0"0"285"-15,0 0 94 0,0 0-453 16,0 0-611-16,0 6-151 16,3 16-523-16,-1 7-478 15,4 9-806-15,4 15-2238 16,-1 7 176-1,-4 20-1358-15,-5 11 1102 16,0 13 2257-16,-5-11 104 16,-1 8-3605-1,-3-25-2657-15</inkml:trace>
  <inkml:trace contextRef="#ctx0" brushRef="#br3" timeOffset="97128.1">27074 11368 17809 0,'0'0'1044'0,"0"0"348"16,0 0-521-1,0 0-330-15,0 9 353 16,4 14 570-16,2 11-493 16,1 19-687-16,-3 4-636 15,-4 24-839-15,-4-1-630 16,0 9-1773-16,-7-4-1880 16,-2-18-1427-16</inkml:trace>
  <inkml:trace contextRef="#ctx0" brushRef="#br3" timeOffset="97632.09">27048 11360 12876 0,'2'-2'3871'16,"9"-9"307"-16,4-6-926 15,10-4-1431-15,5 4-1320 16,-11 11-270-16,2 2-125 16,9 4-175-16,3 6-71 15,-13 2-777-15,-4 9-744 16,-3-4-330-16,-4 8 367 15,-3 3 642 1,-1 3 712-16,-3-4 323 16,-4 0 1302-16,-7 3-316 15,-6-3-482-15,-8-6-338 16,-5 6-5-16,-10-8 52 16,2 0-445-1,9-6-282-15,3 3 259 0,8 1 166 16,-1 0 35-1,6 2 177-15,4-3 991 16,14 7 767-16,10 0-349 16,2-4-588-16,9 6-87 15,14 0-517-15,11 5-386 16,-13-9-603-16,-13 0-1249 16,9 2-2386-16,2-2-2275 15,-4-1-1770-15</inkml:trace>
  <inkml:trace contextRef="#ctx0" brushRef="#br3" timeOffset="97982.04">27550 11451 3908 0,'0'0'5949'0,"-5"-3"-613"16,-1 8-2099-16,4-1-1210 15,-4 11-231-15,-2 10-501 16,1 7 200-16,3 4-304 16,-1 7-254-16,12 7 288 15,4-5 198-15,1-13-550 16,10 0-517-16,3-9-436 15,0-5-133 1,0-3-111-16,18-4-283 16,-3-9-761-16,-4-8-275 15,0-7-1163-15,-9-4-915 16,-1-4-1374-16,4-7-1617 16</inkml:trace>
  <inkml:trace contextRef="#ctx0" brushRef="#br3" timeOffset="98278.03">27396 11444 16880 0,'0'0'3977'0,"-3"3"-1063"16,1-2-1042-16,7 4 473 15,22-3-202-15,0 0-1095 16,14-4-732-16,3-2-1009 16,-2-3-1568-1,3-1-2394-15,-5-3-1578 0,-6 1-1133 16</inkml:trace>
  <inkml:trace contextRef="#ctx0" brushRef="#br3" timeOffset="98504.04">27446 11601 27386 0,'0'0'674'16,"11"4"461"-16,23 1 325 15,12-3-1323-15,3-6-1797 16,-9-5-1584-16,9-1-698 16,1-3-2165-1,-5-2-1362-15</inkml:trace>
  <inkml:trace contextRef="#ctx0" brushRef="#br3" timeOffset="98716.04">28036 11407 21428 0,'0'0'1354'15,"0"0"-326"1,0 10 202-16,-2 13 116 0,2 11-640 15,5 4-454 1,-2 5-150-16,-6 5-320 16,-2 7-2146-16,1-8-1587 15,2-11-2731-15</inkml:trace>
  <inkml:trace contextRef="#ctx0" brushRef="#br3" timeOffset="98973.05">27755 11341 4260 0,'0'0'8434'0,"0"0"-1766"0,20 6-731 0,5-2-2359 15,1 3-1957 1,14-3-1874-16,19-4-1459 16,-9-2-1542-1,-13 2-2564-15,5-5-572 0,11-1-671 16</inkml:trace>
  <inkml:trace contextRef="#ctx0" brushRef="#br3" timeOffset="99582.04">28363 11354 13485 0,'0'1'2078'16,"-4"10"-241"-16,2-5-987 15,-4 9-45-15,-2 11-112 0,2 8-105 16,-2 8-314-16,-2 0-167 16,3 3-44-16,1-1-78 15,-1 3 29-15,5-7 165 16,0-6-20-16,0-17-164 15,2-2-661 1,-2-9-1443-16,2-2 79 16,0-4-631-16,-9-10-25 15,1-14 516-15,-4-11 1140 16,0-8 1200-16,2 3 224 16,6-1-181-16,10 4 62 15,4-10 393 1,2 7 964-16,4-1-557 15,3-1-393-15,5 10-355 16,1 7 381-16,-4 10 2024 16,7 0-137-16,45 13 1281 15,-43 11-2262 1,-4 3-484-16,-5-1-811 16,-7-2-1402-16,-2-1-178 15,-2 3 60-15,-4-1 238 16,-6 3 455-16,-8-3 425 15,-7 3 621 1,-8 0-58-16,-9-3-161 16,-4-1-67-16,7-5-224 15,3 0-34-15,-1 3-101 16,11-1 206-16,-2 5-147 16,0 5 281-16,12 4 606 15,10 1 1062 1,5 4-228-16,4 2-358 15,8-1-717-15,13 4-328 16,6-5-1120-16,0-1-800 16,-12-12-1720-16,-11 3-1803 15,3-1-1331-15</inkml:trace>
  <inkml:trace contextRef="#ctx0" brushRef="#br3" timeOffset="100038.05">28748 11345 20307 0,'0'0'1860'0,"0"0"-234"16,0 0-294-16,-7 0-241 16,1 4-490-16,-15 11-156 15,-4 15-410 1,8-1-114-16,-3 20-158 16,4 4 271-16,10-2 220 0,8-1 82 15,8-5-333-15,0-11-991 16,6-2-904-16,5-9 182 15,6-4 683 1,-4-11 758-16,-5-1 1068 16,4-11 779-16,4-3 233 15,-3-9-764-15,1-16-507 16,-6-5-376-16,-13 0 169 16,-5 24-230-16,0-19-270 15,-7-4-130-15,-5 4-2110 16,-5-4-1259-16,4 13-906 15,-4-2-2801-15</inkml:trace>
  <inkml:trace contextRef="#ctx0" brushRef="#br3" timeOffset="100477.05">29116 11305 20820 0,'0'0'2120'16,"0"0"-821"-16,0 0-469 16,0 0-53-16,-14 0-486 15,-10 2-834-15,-8 4-76 16,-3 7 115-1,-1-2-712-15,14-1 642 16,14-2-774-16,2 1-427 16,-1 4-271-16,10 4 658 15,9 0 462-15,12 2 452 16,7 4 309-16,1 2 519 16,2 3 44-16,-2-5-265 15,-7 3-342-15,-2-1-594 16,-2-2 31-16,-8 0-231 15,-13-1 564 1,-11 3 360-16,-12-2 730 16,-2-1 65-16,-12-5-404 15,-9-3-240-15,-5-14-2291 16,11-8-2557-16</inkml:trace>
  <inkml:trace contextRef="#ctx0" brushRef="#br3" timeOffset="100738.05">29294 11421 6406 0,'4'9'8097'0,"5"16"-1489"0,4 17-3252 15,4 5-1813 1,-5 4-647-16,-2 6-357 16,-2-4-556-16,-2-4-1068 15,0-5-974-15,-6-12-309 16,-2-1-2420-16,2-12-1208 16</inkml:trace>
  <inkml:trace contextRef="#ctx0" brushRef="#br3" timeOffset="101062.06">29260 11407 19795 0,'0'0'2254'0,"4"-13"495"15,2-4-1043-15,10-2-1084 16,11-2-270-16,11 6-272 15,9 0-107 1,-13 13-428-16,2 2-435 16,-2 4-1017-16,-11 0 980 15,9 2 162-15,-7 7 317 16,-8 2-220-16,-7 0 131 16,-5 0 353-16,-16 8 221 15,-15-2 672-15,-11-2 58 16,-5 1-412-1,4-2-919-15,6-5-3586 16,-5 0-2595-16</inkml:trace>
  <inkml:trace contextRef="#ctx0" brushRef="#br3" timeOffset="101389.05">29666 11436 1954 0,'2'2'7482'15,"0"4"-1806"-15,2 14-1465 16,-2 9-1950-16,-8 7-713 16,-2 2-175-16,-2 9 205 15,2 0-409-15,1-3-227 16,5-8 51-1,4-2-778-15,7-5-141 16,-3 1-240-16,10-4-711 16,16-7 165-16,11-7 93 15,7-7-692-15,1-10-751 16,3-3-345-16,-1-9-1224 16,-13-6-78-16,4-5-890 15,9-4 277-15</inkml:trace>
  <inkml:trace contextRef="#ctx0" brushRef="#br3" timeOffset="101667.06">29577 11451 25176 0,'5'4'3348'0,"4"1"-1490"16,9-5-675-16,21-7-469 15,-1-2-671-15,15-1-1392 16,13-5-1756-16,-27 3-2503 15,3-1-2984 1</inkml:trace>
  <inkml:trace contextRef="#ctx0" brushRef="#br3" timeOffset="101890.08">29629 11536 18161 0,'0'0'4819'15,"0"0"-1776"-15,0 0-899 16,0 0-643-16,6 0-214 16,21 4-907-16,18 4-2794 15,-1-10-2605-15,-6 0-3078 16</inkml:trace>
  <inkml:trace contextRef="#ctx0" brushRef="#br3" timeOffset="102171.07">30215 11402 22677 0,'0'0'1942'0,"-12"5"-325"16,-10-4-846-16,-12 8-177 16,-6 4-433-16,-1 8-39 15,10 17 168-15,5 2-4 16,10 7 589-16,12 8 648 16,8-13-762-16,0-4-516 15,6-6-1529 1,3-11-903-16,8-2-2337 0,18-8-4693 15</inkml:trace>
  <inkml:trace contextRef="#ctx0" brushRef="#br3" timeOffset="102391.08">30429 11425 18578 0,'-2'5'5083'16,"0"13"-1270"-16,4 17-1753 15,-2 7-864-15,-2 6-420 16,0 1-530-16,2-6-1447 16,2-1-1914-16,0-8-1550 15,-4-8-3049-15</inkml:trace>
  <inkml:trace contextRef="#ctx0" brushRef="#br3" timeOffset="102628.06">30203 11326 31614 0,'0'0'413'0,"14"9"-47"16,13-1-157-16,15-8-109 15,-3 4-62-15,-11-8-893 16,10-2-1687-16,-4-3-2736 16,-5 3-1719-1,3-1-1034-15</inkml:trace>
  <inkml:trace contextRef="#ctx0" brushRef="#br3" timeOffset="102849.07">30636 11381 8744 0,'0'0'3437'0,"2"2"7"16,5 9-163-16,-3-1 38 15,2 9-342 1,-1 13-714-16,-5 6-290 0,0 11-485 15,-5-2-506 1,1 14-418-16,2-6-600 16,-5-2-649-16,3-15-1830 15,-4-2-2598-15,1-13-2673 16</inkml:trace>
  <inkml:trace contextRef="#ctx0" brushRef="#br3" timeOffset="103242.08">30791 11408 28251 0,'0'0'1412'0,"0"3"-637"15,0 1-604-15,0 4-236 16,8 54-1963 0,-12-20 1208-16,-2 9 405 15,4-3 641-15,4-1-64 16,6-5-22-16,9-6-297 16,2-8-658-16,8-9-647 15,-7-6 722-15,2-5 941 16,4-8 1086-16,2-6 587 15,-1-13-16 1,-3-4-491-16,-1-7-449 16,0-6-542-16,-4-7-221 15,-9 3-97-15,-3-2-1663 16,-2 15-2503-16,-7-1-3416 16,-3 0-1945-16</inkml:trace>
  <inkml:trace contextRef="#ctx0" brushRef="#br3" timeOffset="103641.08">31219 11440 24727 0,'2'4'1369'0,"4"16"-711"16,6 5-860-16,-5 5 167 16,-10 4-661-16,-3 2-59 15,-4 6 547-15,2 5 1548 16,-2-6-41-1,4-5 205-15,8 3-271 16,9-3-589-16,6-2 112 16,0-9-298-16,4-2-166 15,8-3-71-15,10-15-604 16,13-6-324-16,-4-14-589 16,-2-9-1526-16,7-3-2280 15,-8-13-1972 1,-9 8-679-16</inkml:trace>
  <inkml:trace contextRef="#ctx0" brushRef="#br3" timeOffset="103913.07">31142 11464 32222 0,'2'0'208'0,"13"6"-40"16,25 0-67-16,13-4-58 16,-9-6-28-1,12-2-8-15,3-5-526 16,-8-2-2622-16,-3-1-4371 0,5-1-4163 15</inkml:trace>
  <inkml:trace contextRef="#ctx0" brushRef="#br3" timeOffset="104116.07">31195 11654 32767 0,'6'11'0'0,"22"6"0"16,21-3-545-16,27-7-2288 16,-7-9-6584-16</inkml:trace>
  <inkml:trace contextRef="#ctx0" brushRef="#br3" timeOffset="106631.65">26794 11343 26105 0,'0'0'1203'0,"0"0"185"0,0 0-396 16,0-2-216-16,2 2-165 15,-2 0-374 1,0 0-233-16,4 2-366 15,3 4-445-15,-2 7-406 16,1 12 199-16,0 9 373 16,-2 11 98-16,-6 10 242 15,0 2 170-15,-2 15 408 16,4-3-253-16,0-7-16 16,-2 10-504-16,-4-9 277 15,-1-6 83-15,-2 7 214 16,3-11 111-1,0-2-40-15,-7 2 70 16,5-15 104-16,1-6-273 16,5-5-397-16,4-10-660 15,5 0-384-15,-1-2 428 16,13-2 458-16,11-5 266 16,2-4 134-16,10-1 212 15,5-3 844 1,12 0 598-16,0-3 77 15,-4 1-854-15,13-2-232 16,0 0-360-16,9-1-53 16,14-1-86-16,3 4 62 15,-5 2 131-15,10-2 296 16,7 2 275-16,-11 2 28 16,11 0-77-16,10-2-311 15,-9 4-262 1,4-4-15-16,16 5-123 0,-4-1 182 15,-2-2 21 1,8 0-184-16,-1 0-49 16,0 0-11-16,14 1-3 15,-18-6-1-15,8-3 0 16,21 4-323-16,-16-7-239 16,1-1-354-16,3 1-333 15,-5-1 302-15,2-3 181 16,-5 7 466-1,1-1 155-15,-5 3 378 16,-13-2-83-16,5 3-111 16,-12-1-100-16,-16 2-23 15,14 0-291-15,-8 0 159 16,-19 2 358-16,1 0 189 16,-12-2 330-16,-13 4 58 15,-3 0 84-15,-5 2-295 16,-13-4-218-1,-9 4-158-15,4 1-214 16,-9-1-35-16,-8-2-39 16,0-2 222-16,-5 5 36 15,-4-5-87-15,-4 0-60 16,2 0 133-16,2 1-200 16,-1-1-30-1,-3 0 5-15,0 0-78 0,3-1 173 16,-6-6 38-16,-2-6-29 15,3-3 15 1,0-6-123-16,4-9 65 16,2-3 228-16,-1-7 162 15,-3-1 7-15,-5-2 123 16,3-1 43-16,2-8-10 16,-6 2-362-16,0-8-300 15,6 0-446-15,-4-2-26 16,-4-3-255-16,5 3-1 15,8-1 15 1,-3 5-181-16,0 2-965 16,4 2 534-16,-2 5 864 15,-2 13-118-15,0 4-335 16,-2 1-334-16,0 3 402 16,-4 4 240-16,-4 5 554 15,-3 4 411-15,-4-1 775 16,0 2 201-1,-3 5 220-15,-8 4-218 16,-16-3 197-16,-5 1-58 16,7 2-659-16,-9-1-148 15,-10 1-211-15,-5-2-154 16,-7-1 159-16,1-1-187 16,-13-1-128-16,4 1 70 15,2-3 44-15,-21 1-168 16,1-1 66-16,-3 3-5 15,1-5-303 1,-5 1 334-16,-8 1-120 16,15-2 66-16,-9 1-408 15,-12-1 455-15,7 9 193 16,-8-3 461-16,12 3-205 16,-8 6-16-16,-7-2-386 15,3 0-31 1,4 4-7-16,-10 1-531 0,3 1-612 15,2 0 63 1,-1 3 470-16,11-1 764 16,-3-1-44-16,12-3 659 15,-3 0 420-15,-6 5-346 16,17-5-401-16,0 0 118 16,-4 0-171-16,10-2-59 15,2 5-144-15,15-5 188 16,7 0-213-16,-7 0 109 15,11-4-1 1,-3 4-28-16,7-2 21 16,19-4 12-16,-11 2-157 15,-3 2 7-15,9-5-24 16,7 3-9-16,12 2-125 16,-4 2-483-16,1-2-105 15,-5 0-12-15,-2-2-130 16,1 0 257-1,11 2 401-15,6 0-4 16,-4-2 2-16,2 2 35 16,-1 2 5-16,2-2 77 15,-4 0-86-15,0-2-173 16,0 2-251-16,-2 2-172 16,4-4-152-16,4 2 350 15,5 2-347-15,2-2 96 16,-6 0-198-16,8 0 235 15,-4 0 227 1,-7 2 206-16,2 0 116 16,5 0-204-16,-7-4 53 15,3 2 166-15,-2 2-47 16,4-4 152-16,2 4-32 16,4 1 72-16,-5-3 75 15,-2 0 19-15,5 2 189 16,4-2-171-16,0 0 151 15,0 0 25 1,0 2-156-16,2-2-6 16,0 0-61-16,0 0 22 15,-2 4-70-15,2 3-354 16,0-6-31-16,0 6-170 16,4 2 143-16,-4 1 61 15,0-2 272-15,0 1-80 16,2 4 178-16,4-1-86 15,-4 1 13 1,0 2 67-16,0 2 102 16,3 2 268-16,-1-2-111 15,3 2-147-15,1 0-117 16,-4 4 26-16,-2 1-375 16,0 1-1420-16,-4 4-1739 15,-2 1-1843 1</inkml:trace>
  <inkml:trace contextRef="#ctx0" brushRef="#br3" timeOffset="108077.75">30647 12560 13068 0,'0'0'1889'15,"0"0"-31"-15,0 0-104 16,0 0-294-16,0 0-345 16,2 4-356-16,2 7-97 15,3 1-563 1,1 1-32-16,-2 0 91 15,4 6-118-15,-4 2-37 16,-2-2-51-16,0 2 124 16,14 34-920-1,-13-34 472-15,-5 5 13 16,2 0 101-16,-4-1-283 16,-1 0 167-16,8 2-241 15,-1-1-553-15,-2 0-493 16,5-5 694-16,-5 2 48 15,-2 0 167 1,-2-1 449-16,0 1 23 16,2 2 124-16,2 0 103 15,4 20-15 1,-6-26-2-16,2 0 68 16,2-2 1-16,-2 4 115 15,1-2 41 1,-1 4 106-16,-4-1-37 0,2-3-281 15,2-5 29 1,-2 2 61-16,0-2 183 16,2 5 301-16,2-2 748 15,-4 0-6-15,-2 2-218 16,0 4-304-16,0-2-289 16,2 1-251-16,4-5-296 15,0-3-105-15,-2 5-443 16,2 1-538-16,-4-4 125 15,0 1-95 1,0 5-109-16,4 1-552 16,-1-6-1129-16,-1 0-596 15</inkml:trace>
  <inkml:trace contextRef="#ctx0" brushRef="#br1" timeOffset="122995.61">1320 4131 3331 0,'0'0'4606'0,"7"11"-929"0,1 0-535 16,1 3-996-16,-1 3-975 15,-8 5-616 16,6 1-273-31,0 0-116 0,4 5-123 0,-4-7 59 16,-6 4-52-16,4 3 44 16,0-1 402-16,4 3 298 15,-8-5-36-15,4 11 222 16,1-4 871-16,1 2-461 16,-8 0-597-16,7-3-286 15,-5 3-283-15,0 0 258 16,4-2-208-16,2 2 51 15,-2 0-246 1,1 0-118-16,-1 2 78 16,0 0-22-16,-8 0 66 15,-3 4 28-15,12-8-69 16,1 3 221-16,2-1-81 16,-6 3 119-16,2 0-24 15,-4-5-20-15,0 4 117 16,3-2-219-1,10 2 24-15,-13 4 104 16,4-8-79-16,2 6-96 16,-6-4-138-16,4 4 17 15,0 0 140-15,0 0 56 16,3-2-107-16,-7-2 231 16,5 4-98-16,-1 3-65 15,0-5-200-15,4 1 298 16,-8-1-256-16,2 4-106 15,-2-1 317 1,5 1 1-16,-10 0-101 16,8 3-57-16,1 1-24 15,-4-4-10-15,-4 5-4 16,6-7-1-16,-9 6 0 16,9-1-1-16,1 3 0 15,-6-8 0-15,3 3 0 16,7-1 0-1,-9 2 0-15,0 0 0 16,4 3 0-16,4-3 0 16,-4-2 0-16,-4 3 0 15,-6-1 0-15,12 2 0 16,0 1 0-16,0-7 0 16,-4 6 0-16,0 3 0 15,0-3 0-15,4 1 0 16,-8-1 0-16,6 5 0 15,-2-5 0 1,2 5 0-16,-2-5 0 16,2 8 0-16,1-6 0 15,-3 5 0-15,0-5 0 16,0 3 0-16,0-2 0 16,2-1 0-1,0 3 0-15,5 0 0 16,-3-3 0-16,-4 3 0 15,2 2 0-15,4-3 0 16,-4-3 0-16,0 1 0 16,4 5 0-16,-2-7 0 15,2 3 0-15,-4 2 0 16,0-36 0-16,-2 27 0 0,0 2 0 16,-2 5 0-16,4 3 0 15,0 1 0-15,-6-4 0 16,4 4 0-16,2 46 0 31,4-49 0-31,-12 1 0 16,4 7 0-16,4-8 0 15,-2 5 0-15,2 0 0 16,4-2 0-16,-8 6 0 16,-2-7 0-16,4 8 0 15,2-9 0-15,-2 4 0 16,2 4 0-1,-8-9 0-15,6 7 0 16,2 3 0-16,2-4 0 16,-6 10 0-16,2-9 0 15,-4 6 0-15,0-10 0 16,4 4 0-16,2 6 0 16,0-5 0-16,-2 1 0 15,0 4 0-15,-2-2 0 16,0 1 0-16,2 3 0 15,-6-4 0 1,6 2 0-16,6 3 0 16,-6-4 0-16,-10 5 0 15,12-6 0-15,-2 0 0 16,0 7 0-16,-2 2 0 16,0 0 0-16,0-5 0 15,0 7 0-15,0-5 0 16,2 8 0-1,2-5 0-15,-10-1 0 16,2 7 0-16,-1-6 0 16,7 2 0-16,7 2 0 15,-7-7 0-15,-2 9 0 16,-3-6 0-16,1 2 0 16,2 4 0-16,2-10 0 15,4 8 0-15,-6-1 0 16,0 4 0-16,6-3 0 15,-4-5 0 1,0 14 0-16,-4-7 0 16,4 0 0-16,4 4 0 15,1-6 0-15,-3 13 0 16,-2-7 0-16,-2 7 0 16,-1-2 0-16,3 3 0 15,0 10 0-15,3-7 0 16,1-5 0-1,-6 9 0-15,4-4 0 16,0 2 0-16,0 2 0 16,-2 2 0-16,2-1 0 15,6 1 0-15,-4-4 0 16,2 9 0-16,-6-5 0 16,3 6 0-16,-3-12 0 15,3 9 0-15,-3-5 0 16,6 6 0-1,-4-4 0-15,-6 5 0 16,4-3 0-16,4 1 0 16,0 1 0-16,4-2 0 15,-8 5 0-15,2-11 0 16,0 9 0-16,3-7 0 16,1 6 0-16,-10-10 0 15,6 9 0-15,6-9 0 16,-3-1 0-1,-5 3 0-15,2 5 0 16,0-3 0-16,2 4 0 16,-2-12 0-16,7 4 0 15,-9-3 0-15,-2 8-1461 16,2-23-2025-16,0 1-3651 16,-2-2-2165-16</inkml:trace>
  <inkml:trace contextRef="#ctx0" brushRef="#br1" timeOffset="129573.02">5139 10011 5477 0,'-2'0'2275'16,"0"3"-651"-16,-2 5-512 16,-5 3-431-16,-14 12 1 15,16-15-552 1,-1 7 85-16,6 0 600 16,-7 4 1248-16,5 3-146 15,-1-1-462 1,-1-1-110-16,0 8-451 0,-2 0-464 15,2 1-273 1,0-1 109-16,4 31 1049 16,-2-23-314-1,6 2-90 1,-2 2-400-16,-4-2-79 31,4 81 537-15,-2-32-315-16,2-34-375 0,2-7 179 15,-4 9-197 1,4 53 174 0,-2-52-292-16,2-2-173 15,-4 5 18-15,2 1 50 16,0-1-108 15,-4 133 815-31,8-121-475 0,2-6-182 16,2 3 6-1,-8-5 148-15,-2 1-393 16,8 12 339-16,-4-12-321 16,-6-1 4-16,2 7 170 15,4-8 184-15,-2 9-168 16,0 1 221-16,0-4-81 16,-2 8 131-16,0-12-227 15,2 4 212-15,2-1-274 16,0 5 235-16,-2-4 286 15,-2 1-354 1,0-3-139-16,-4 9-44 16,6-8-16-16,8 5-4 15,-8-2-2-15,-2 6-1 16,4 0 0-16,0-6 0 16,-2 4 0-16,-2 3 0 15,4 1 0-15,-2 2 0 16,2 1 0-1,-2 1 0-15,-2-3 0 16,2 5 0-16,0 3 0 16,0-4 0-16,2-1 0 15,0 5 0-15,4-5 0 16,-2 1 0-16,-2 2 0 16,2 4 0-16,0-7 0 15,-4-1 0-15,7 14 0 16,-5-9 0-16,-2 6 0 15,0-3 0 1,0 1 0-16,-2 3 0 16,0-4 0-16,6 3 0 15,-2 5 0 1,-4-12 0-16,2 8 0 0,5-4 0 16,-5 6 0-16,-3 0 0 15,6 7 0-15,1-9 0 16,2 0 0-1,2 0 0-15,-8-6 0 16,5-2 0-16,-7-3 0 31,4 79 0-31,4-81 0 0,-4 7 0 16,0-8 0-16,4 1 0 16,3-2 0-16,-6-2 0 15,7-1 0-15,6 73 0 16,-9-85 0-1,0 3 0 1,-1-11-1729-16,6-4-1958 16,-3-13-3677-16,-1-5-956 15</inkml:trace>
  <inkml:trace contextRef="#ctx0" brushRef="#br1" timeOffset="133672.9">4897 4785 18834 0,'0'0'300'16,"0"-4"-74"-16,2-2 374 15,-2 4 203-15,0 0-267 32,0-1-363-32,0 3-938 0,0 0-343 0,0 11 483 15,3 8 151-15,-3 7 220 16,0 5 134-16,-5-1 140 15,10 8-30 1,-3-6 298-16,2 10 461 16,-2-1 291-16,1 0-138 15,1 6-110-15,-2-2-53 16,2 1-105-16,6 3 72 16,-2-2-364-16,0 6 12 15,-8-9-51-15,6 11-120 16,-2 0-96-1,2-11 22-15,2 9 77 16,-3 3-200-16,8-4 152 16,-9 3 96-16,2 0 221 15,-1 1-312-15,-3-6 68 16,2 1-133-16,-2-2-109 16,2-1 139-16,4 8 36 15,2-4 195 1,-6 5-50-16,-2-6-68 0,0 8 29 15,2 1-299 1,-4-1-60-16,6 3 92 16,-6-10 112-16,-6 8-184 15,6-1 267-15,0-2 129 16,4 5 162-16,0-5-41 16,-4 0 77-16,-4 0-348 15,2 2 46-15,2 0 179 16,-2-1-104-1,0-4-119-15,8 6 66 0,-8-9-230 16,4-1 145 0,0 7 36-16,-6-8-115 15,2 2-98-15,0 4 23 16,4 2 71-16,4-4-58 16,-6 2 21-16,4 7 51 15,-4-9-7-15,-2 0-40 16,2 0 25-1,-2-1 9-15,-2 5-77 0,6-6 194 16,2 2-130 0,-6 4-132-16,2 0 180 15,2 3-59-15,-4-5-43 16,0-4 127-16,2 4-54 16,0-7-2-16,2 1 82 15,-2 2-9 1,0 2-63-16,-2-5-47 15,2 5-16-15,2 5-5 16,2-8-3-16,-8 3 0 16,2-2-1-16,0 4 0 15,2-9 0-15,-4 1 0 16,6 2 0-16,0-7 0 16,-2 7 0-16,0-5 0 15,4 9 0-15,-4-9 0 16,-2 5 0-16,2-9 0 15,0 5 0 1,0-3 0-16,2 32 0 16,-2-35 0-1,4 5 0-15,-2-4 0 16,-2-6 0-16,2 2 0 16,3 0 0-16,-1 4 0 15,3-10 0-15,-1-1 0 16,-4 10 0-1,2-2 0-15,-4 10 0 0,0-6 0 16,2 3 0 0,2-2 0-16,3 13 0 15,3 0-453-15,-4-10 731 16,-6 4-169-16,3-5-69 16,-3 5-24-16,0-5-10 15,2 7-3-15,0-4-655 16,-2 3-1009-16,-2-1-1630 15,0 4-4681 1,-1-4-2218-16</inkml:trace>
  <inkml:trace contextRef="#ctx0" brushRef="#br1" timeOffset="136120.9">1976 4625 2819 0,'0'-2'7610'0,"2"-7"-2775"16,-2 2-2441-16,4 3-1031 15,-2 0-572-15,2 4-371 16,4 4-107-16,2 7-148 16,0 10-22-16,-3 9 1 15,-1 4-25-15,-3 8-27 16,3 7 386-1,0 2 1255-15,-1 1-296 0,-5 10 118 16,4 1-721 0,8 10-87-16,-12 0 19 15,0-1-328-15,0 11-115 16,-2-9-292-16,2 7 45 16,4-7-75-16,-2-1 0 15,-10 4 87-15,4-3 134 16,4 0 4-1,2-6-349-15,-2-9 21 16,2 0 275-16,-4-2-278 16,2-6-32-16,-2-5 205 15,2-5-4-15,-4-1 58 16,0-6 164-16,1-7 140 16,6-8-190-16,-8 5-204 15,3-11 56-15,2-5-86 16,0-6 58-16,0 0 177 15,0-2 84-15,2 0 25 16,7-2-83 0,1-2-105-16,3-5-68 15,10-3-37-15,-1-1-29 16,-4 3-13-16,19-3-5 16,1 2-4-16,13 0-1 15,1 1 0-15,3 6-1 16,5 0 0-1,-11-1 0 1,7 5 0-16,21 5 0 0,-16-1 0 16,9 4 0-16,4-3 0 15,-2 3 0-15,21-2 0 16,-19 1 0-16,5 1 0 16,-2 0 0-16,0 1 0 15,-5 4 0-15,-7 2 0 16,6 0 0-16,-6 2 0 15,11-1 0 1,1-3 0-16,-6 2 0 16,1 0 0-16,-7-1 0 15,-7 1 0-15,7 0 0 16,-5 2 0-16,-11 0 0 16,0 2 0-16,-1 0 0 15,-8-6 0-15,-5 5 0 16,-7 0-93-1,11-1-160-15,-13 0-19 16,-4-5 52-16,-2-1 106 16,-6-5-144-16,-3 1 298 15,-5-3 20-15,-6-4-9 16,2 0 99-16,-2 0 147 16,-2 2-60-16,2-2-119 15,0 0-25-15,0-9-16 16,-4-14-31-16,-2-4-24 15,-3-3-11-15,-3-10-6 16,1 4-3 0,9-6-2-16,-5-5 1 15,-3-6-1-15,0 2 0 16,8-8 0-16,0-6 0 16,-6-3 0-16,4 0 0 15,-2-8 0-15,2-1 0 16,8-1 0-1,-4 6 0-15,0-2 0 16,4 2 0-16,2 0 0 16,2-2 0-16,-6 6 0 15,-4-1 0-15,12-1 0 16,-2 6 0-16,0 5 0 16,-1 0 0-16,2 8 0 15,-1 4 0-15,2 3 0 16,-5 4-133-16,-1 4-279 15,2 0-130-15,-4 6 5 16,7 5 81 0,-7-1 179-16,-2 5 102 15,2 2 47-15,1 4 128 16,-6 2-29-16,1 1-16 16,-2-1-172-16,-1 5-204 15,-5 1 145-15,-11 1 206 16,-5 1-67-1,-14 5 125-15,13-4 77 16,-1 8 88-16,-12 3-20 16,-17-1 110-16,13-4-3 15,1 5 81-15,-21-1 33 16,1-6 184-16,6 0-170 16,-7 0-1-16,-7-4 88 15,53 4-350-15,-37 0 229 16,-17-2-204-16,-1-2-89 0,9 4-28 15,-6-5-8-15,-4 7-4 16,-5-6 0 0,3 0-1-16,-2 2 0 15,8-4 0-15,-13 10 0 16,5-4 0-16,2 0 0 16,-6 4 0-16,22-8 0 15,-16 8 0-15,4-8 0 16,17 6 0-1,-11 2 0-15,5-4 0 16,6 0 0-16,-3 4 0 16,2-6 0-16,5 2 0 15,21 0 0-15,-3 2 0 16,-3 3-413-16,0-3-1085 16,12-2-1492-16,-1 4-5168 15</inkml:trace>
  <inkml:trace contextRef="#ctx0" brushRef="#br1" timeOffset="137305.91">2753 3448 9161 0,'0'0'4507'16,"5"-5"-1464"-16,-5 3-1417 15,0 0-638-15,0 2-342 16,2 0-228-16,-2 0-230 15,2 7 16 1,2 11 109-16,4 17 142 16,12 3 1497-16,2 2-476 15,-4 8-285-15,-1 8-132 16,6 13 92-16,-6 5-187 16,-3 5-210-16,-10-1-238 15,12 7-38-15,-16 2-537 16,-4-11 327-16,4-15-314 15,-2-8-634 1,-2-11-2914-16,1-10-5922 16</inkml:trace>
  <inkml:trace contextRef="#ctx0" brushRef="#br1" timeOffset="138078.91">2741 3427 28795 0,'4'-15'-16'0,"9"-15"-119"16,17-4 31-16,1-2 143 16,-14 13 135-16,12 2-112 15,13-1 104-15,14 10-430 16,-7-5 90-16,-9 9-707 16,9 5-373-16,3 8-909 15,-9 5 307-15,-3 5 1105 16,-15 2 632-16,-1 4 104 15,-2 7 380 1,-20 1 693-16,-6 5-272 16,-12 0 54-16,-8 0-292 15,-11 8-132-15,-16 5-301 16,0-13 6-16,4-1-80 16,-4 3-68-16,5-6 18 15,1-7 86-15,11-6-107 16,10 2 145-16,13-8-228 15,0-2 87-15,9-5-103 16,0 2 239 0,4 0 98-16,11-1 119 15,24 3-119-15,17-6 87 16,-5 3-329-16,6-4-41 16,10 8 26-16,-19-1 93 15,14 3-68 1,-5 8 16-16,-2 5 5 0,-19 1-76 15,-6 3 87-15,-14 1-42 16,-2 7 95 0,2-2-55-16,-14 2 259 15,0-2 7-15,0 6 197 16,-20-2 158-16,4 0-23 16,-20 11-12-16,-7-11-201 15,5 0-115-15,-9 0-25 16,-1-4-103-16,-7-2-31 15,21-17-82-15,2-3-356 16,0-1-1008 0,-7-11-1210-16,4-11-3101 15,-1-12-2072-15</inkml:trace>
  <inkml:trace contextRef="#ctx0" brushRef="#br1" timeOffset="138788.91">4131 3895 23799 0,'-6'-3'986'0,"-9"-1"-905"16,-8 4-792-16,-3 0 518 15,-11 4 303 1,11 3-67-16,5 10-41 16,-9 8 37-16,-8 9 179 15,-9 4 243-15,17 6 1 16,-1 9-164-16,-1-2-154 16,22-5-136-16,6-5-482 15,-1-9-1790-15,3-9 748 16,11-6 519-16,5-5 557 15,9-3 149 1,7-9-74-16,2-5-556 16,4-9 70-16,0-12-407 15,-6 1 578-15,-3-15-362 16,-4 0 307-16,7-7 583 16,-7 1-23-16,-4-10 358 15,-6 25 96-15,-3 8 1405 16,-8 6 241-16,-2 6-359 15,0 4 501-15,0 3-904 16,-2 4-618 0,-4 4-147-16,-8 14-52 15,5 9 376-15,7 11 351 16,6 11 15-16,3-9-404 16,3 9-114-16,7 1-149 15,-4-14-317-15,-5 0-530 16,-2-8-1621-16,5 0-3014 15,-2-9-1607-15</inkml:trace>
  <inkml:trace contextRef="#ctx0" brushRef="#br1" timeOffset="139203.92">4551 3979 19795 0,'0'-2'473'16,"0"-2"-114"-16,0-1-232 16,-5 1-76-16,-12 4-123 15,1 4 4-15,-14 11 28 16,7 8 78-16,-1 7 282 16,0 11 2205-16,8-1 34 15,7 2-262-15,3-2-623 16,15-2-893-16,11-4-499 15,12-9-513-15,-8-5-1058 16,5-8-912 0,13-4-2251-16,9-8-2135 15,-7-4-942-15</inkml:trace>
  <inkml:trace contextRef="#ctx0" brushRef="#br1" timeOffset="139621.93">4959 3624 25560 0,'0'0'471'15,"2"0"-445"-15,4 0-1689 16,3 10 669-16,1 11 404 16,-1 13 310-16,-7 8 136 15,0 5 362-15,5 4 1108 16,-10 10-172-16,-5 1-89 15,1-1-210-15,10 3 179 16,-18-11-366 0,2-9-554-16,5 5-49 15,0-13-5-15,0-9-265 16,0-4-1243-16,-4-8-2962 16,12-4-986-16,-2-10-616 15</inkml:trace>
  <inkml:trace contextRef="#ctx0" brushRef="#br1" timeOffset="140029.93">5285 3973 26361 0,'0'0'253'0,"0"0"-345"16,-9 8-93-16,-3-1 104 15,-8 5 1-15,-7 3-231 16,-9 0-99-16,-10 4 416 16,14-4-154-16,11-2 143 15,-1 5 21-15,-8 1 28 16,10-3-130-16,-2-4 219 15,14-4 24-15,1 3 427 16,12 4 398 0,10 2 120-16,8-3-32 15,5 2-476-15,-3-2-392 16,17 1-142-16,22 0 8 16,-24 0-377-16,-9 2-142 15,10 6-1081-15,23 9-10033 16,-46-26 4010-1</inkml:trace>
  <inkml:trace contextRef="#ctx0" brushRef="#br1" timeOffset="140384.93">5640 3755 26009 0,'0'0'161'0,"0"6"-120"15,-4 17-64 1,-2 11-6-16,2 11 35 16,2 1 135-16,10 7 282 15,-18 10 499-15,-3-1-45 16,0-7-497-16,11-6-749 16,4-11-3326-16,-2-8-2486 15,0-5-1727-15</inkml:trace>
  <inkml:trace contextRef="#ctx0" brushRef="#br1" timeOffset="140845.94">6032 4036 27130 0,'-2'-2'943'15,"-4"-2"-831"-15,-1 4-1122 16,-3 2 143-16,-5 7 126 16,2 5 96-16,1 12 450 15,-4 10-14-15,10 4 239 16,2 10-18-16,6-3 152 15,-2 0-280-15,6-7-1711 16,0-6-1128 0,8-9-220-16,11-4 861 15,7-12 1604-15,20-15 986 16,-9-11 514-16,-13-2 1502 16,4-5-98-16,8-9 31 15,0-8 725-15,-21-1-1276 16,-8 0-828-16,-5 3-445 15,-10 3-95-15,-6 11-77 16,-3 2-233 0,-15-3-130-16,-3 5-88 15,2 4-2888-15,14 9-2116 16,1 2-2285-16</inkml:trace>
  <inkml:trace contextRef="#ctx0" brushRef="#br1" timeOffset="141845.95">6910 4045 10858 0,'2'-3'6740'0,"-2"-3"-2818"16,0 0-1754-16,-4-3-743 16,-8 1-921-16,-8-3-1048 15,-11 5-655-15,-20 4 104 16,13 0 694-1,-9 6 250-15,-4 6 193 0,7 9 370 16,-1 7 824 0,9 1 365-16,5 8-417 15,-5-2-312-15,-4 5-399 16,17-4-428-16,5-4-504 16,12 0-574-16,6-1-1431 15,15-1 74-15,19-7 1007 16,0-2 779-16,4-6 321 15,4-5 321 1,19-8 335-16,3-2 93 16,-17-4-356-16,4-5-513 15,-1-4-497-15,-5 1-236 16,3 1 661-16,-14 0 308 16,-7 0 387-16,-5 3 707 15,-10 3 335-15,-1-1-336 16,-7 2-556-1,-1-5-274-15,-10-6-38 16,-4 0-44-16,3 4-54 16,4 5 64-16,-4-1-144 15,4 3 76-15,-4 0 142 16,0-1 75-16,6 3-7 16,-6-2-22-16,6 2-71 15,-2 0 22-15,-1-1-20 16,5 3 232-16,0-2 652 15,-2 2 138-15,2 2-355 16,2-3-189 0,5 6-287-16,3 1-21 15,0 5-1-15,12 7-59 16,1 3-46-16,-2 4 106 16,0 3 259-16,1 8 226 15,1 4-177-15,9 2-212 16,-2 7-4-16,-4-7-103 15,-8-2-205 1,-6 0 58-16,1 4-128 16,-7-3-109-16,5 1 225 15,-11 2 147-15,-2-4 455 16,-5-2-184-16,-1 0-120 16,0-4-71-16,-9-2-6 15,-15-5-168-15,-10-6-34 16,-1-9 19-16,-20-1 211 15,-11-11-451-15,13-5 45 16,-22-1-81 0,13-5-773-16,3 1-1043 15,-10-1-1924-15,27-4-3093 16,-1 7-2442-16</inkml:trace>
  <inkml:trace contextRef="#ctx0" brushRef="#br1" timeOffset="155082.53">2057 6686 25913 0,'0'0'383'0,"0"0"-341"15,0 0-34-15,0 0 10 16,8 13-112-16,-4 8-339 16,8 9-1363-16,-6 10 47 15,-6 6 313-15,0 12 446 16,0 5 499-16,-6 1 451 15,-2 10 222 1,4 4 121-16,2-2 337 16,-8 5 209-1,2-3-392-15,-3 0 1126 0,5 5-62 16,-7-3-446 0,4-10-382-16,1 2-81 0,6-57-467 15,-6 38-110-15,6 2-125 16,4 0 99-16,-6-4-188 15,0-13-147-15,2-2 324 16,2-5-324-16,0-5 103 16,6-5 125-16,-4-2-124 15,-2-4 55-15,2-7 88 16,-2 1 89-16,0-5-4 16,0-2-70-16,2 0-155 0,-2 0-386 15,2 1 134-15,-2-3 170 16,8-3 203-16,7 1-8 15,15-6-492 1,-6-1-282-16,6 1 534 16,-2 2 156-16,8-1 141 15,25 5 256-15,-10 2-36 16,4 2-46-16,19 2-165 16,-4 1-58-1,17 6-26-15,0-3 110 0,0 0 483 16,2 1 32-1,6-1 847-15,-4 1-65 16,10 6-461-16,-12-3-352 16,6 3-331-16,0 0-123 15,3-2 220-15,-13-3-576 16,6 5 191-16,2 0-881 16,2-2-502-16,-18 1-179 15,2-5 898-15,0 5 237 16,-13-1 147-16,-3 2-15 15,-12-2 43 1,-7-1-40-16,-6 8 255 16,-4-4 21-16,-9 0-260 15,3 2 0-15,-8 1-226 16,-6-4 133-16,-1 2 331 16,-9-9-658-1,0 1 442-15,-2-2 710 0,-2-6 668 16,2-1 84-1,-2-6 1055 1,-4-11-546-16,-4-10-478 16,1-9-300-16,1-4 636 15,0-9-705-15,-2-12-145 16,-4 3 76-16,6-12-369 16,-4 3-213-16,0-8 194 15,2-13-765-15,6 18 145 16,2-17 32-1,2 15-485-15,-12-2-302 16,8 2 279-16,4 6 13 16,-2-6 106-16,0 13 308 15,4 2 284-15,0 2 36 16,-6 7-104-16,4 12-292 16,3-1 155-16,-8 8 52 15,3 3 66 1,0 3 169-16,-4 6 53 15,-8-10 44 1,4 14-79-16,-7 3-22 16,-11-3 37-16,6 2 106 15,2 0 320-15,-12 1 223 16,-14-3 1284-16,6-4-78 16,0 3-527-16,-10-2-338 15,-14-2-251-15,5 3-467 16,-9-2-85-1,-10 2-185-15,-5-2-109 16,-5 0 33-16,5 4-32 16,-6-1-13-16,5-1 21 15,-18 0 141-15,-3 0 160 16,16 3-168-16,-8-1 370 16,-1-2 37-16,1 4-61 15,-6-1 103-15,20 3-63 16,-22-2-72-1,5 7-296-15,14-2 33 16,-11 4-79-16,10 0-134 16,19 2-1699-16,-2 4-3651 15,22-6-5111-15</inkml:trace>
  <inkml:trace contextRef="#ctx0" brushRef="#br1" timeOffset="156689.55">2071 8657 1473 0,'0'0'7200'0,"0"0"-1115"0,7 2-1915 15,-4 9-1294 1,3 14-889-16,-2 13-1117 16,-2 3-462-16,-8 17-47 15,2 8-18-15,-1 6 293 16,-4 7 391-16,-5 7-633 16,-1-6-369-16,-2 3 95 15,6 0 49-15,1 5-2 16,2-11 12-1,-2-5 6-15,2-9 105 16,0-5 15-16,4-10 19 16,0-1-85-16,4-12-116 15,-5-9-180-15,10-3 83 16,-5-10-147-16,0-2-344 16,2-3 42-16,8 0 60 15,10 1 258-15,0-5-15 16,2-4 113-1,5 0-203-15,1-6 74 16,1-1-158-16,9-5 24 16,11 6-86-16,13-5 68 15,-1 7 169-15,-1 4 78 16,5-3-16-16,3 8 273 16,17-1-454-16,-14 2 146 15,-9 3-357-15,15-1-310 16,8 5 184-1,10 2 514-15,-6 0 89 16,-10 2 268-16,5 4 66 16,3 2 111-16,-10-8-208 15,8 8 1-15,-12-4 73 16,3 2-408-16,13-4 25 16,-10 5 31-16,-1-1 31 15,-8 0 161 1,-2 0-251-16,-5-4 70 0,-12-2-19 15,-3 2 54 1,8-3-165-16,-16 3-318 16,-11-4-99-16,-5 0-783 15,-8-3 537-15,-3 1-13 16,-4 0 290-16,-3-3-94 16,-4-4 197-16,1 1 242 15,-1-4 7-15,0-1-191 16,-2 0 540-1,0-14 1213 1,-4-8-539-16,-3-9 488 16,-3-9 419-16,-1-3-552 15,6-8-251-15,-5-65-17 16,6 44-791 0,4-2-147-1,-2-6 174-15,4 4-606 0,-2 8 34 16,0-13-337-1,0 7-84-15,6-4-682 16,5 2-748-16,2 6 533 16,6 9-77-16,1-3-576 15,-8 7-16-15,0 6 1164 16,7 11 807-16,-4 4 194 16,-5 9 222-1,-1 1-4-15,-9 11-3 0,0 4 114 16,0 3 398-1,-6 0 608-15,-9 3-403 16,-7 1-120-16,-2 4 820 16,-6 4-56-16,-11 1-219 15,5-1-279-15,-2-2 515 16,-11 2 642-16,3-2-555 16,-19 1-15-16,-4-6-262 15,2-1-126 1,-9 0-483-16,-5-5-153 15,-8 5-338-15,2-7 5 16,-3 5-89-16,-6-4 157 16,-3-3-162-16,-1-2 47 15,1 0 430-15,8 1-280 16,-8-2-162-16,-3 4 346 16,13-1-347-16,-7 7-208 15,-5 1 171-15,18 5-555 16,1 3-191-1,-5 7-880-15,-8-8-992 16,36 1-1187-16,2 3-2796 16,-7 2-1945-16</inkml:trace>
  <inkml:trace contextRef="#ctx0" brushRef="#br1" timeOffset="158407.74">2021 10358 21460 0,'0'0'907'0,"2"3"-268"15,9 5 487-15,1 5-3 16,-1 10-666-16,3 7-397 16,0 6-53-16,-10 4-290 15,-4 17-315-15,2 3-534 16,0-5 268-16,-8 19 145 16,4-9 218-16,2-1 312 15,-4 8 80-15,4-6 53 16,-3-1 123-1,3-1 186-15,0-3 274 16,-5-2 1236-16,-3-10-438 16,0-9-784-16,0-2-288 15,5-10 4-15,1-9-52 16,4-6-204-16,-2-7-51 16,0-4-147-16,3 2-121 15,3 0 314-15,8-2 229 16,0 0-125-1,2-2-58-15,3 3 12 16,-2 1-92-16,6-6 52 16,11 2-154-16,17 0-127 15,5 2 3-15,-12 0 173 16,15 0 12-16,4 3 157 16,-7 0 213-16,19 2-244 15,0-3 208-15,-10 3-49 16,15 3-177-16,3 1 91 15,0 4-151 1,2-3-203-16,-3 1-439 16,11 0 124-16,2-3-736 15,-8 3 114-15,8 0 661 16,-4 4 365-16,0 2 695 16,9-2-177-1,-11-3-93-15,-17 4-180 0,6 0 89 16,-1-1-198-1,-10 2-187-15,-11-2 10 16,-8-2-40-16,-5 2 105 16,-6-2 152-16,3 0-309 15,-10-2-25-15,-6 1 178 16,-10-3 55-16,-3 0-98 16,-5-3-287-16,0 0 302 15,-1-6 93-15,-5 3 163 16,0-5-106-1,0 2 184-15,0-2 436 16,0 0 204-16,0 0 519 16,-3-7-210-16,3-7-101 15,-8-6 506-15,-2 0-352 16,-1-10 34-16,3-4-497 16,-3-2-194-16,-2-6-344 15,-3-15-2-15,2 12-179 16,0-6 40-1,1-4-232-15,5-2 18 16,-3 4-233-16,4 2-183 16,-3-10-522-16,2 10-296 15,2-2-153-15,2-10-993 16,4 12 691-16,0 0 168 16,-6 4 347-16,4 1 64 15,2 6 159-15,-6 1-204 16,0 12 654-1,2 0 176-15,6 3-41 16,-6 1-41-16,-5 6 277 16,3 5 119-16,2 3-102 15,-1 2 22-15,1 1 406 16,-7 0 223-16,1 4 30 16,-2 0 279-16,0 2 700 15,2 2-31-15,2-2 246 16,-1 2-284-1,-6 2-324-15,-6-2 1 16,0 0 671-16,-12 1-60 16,-6-8-416-16,1 3-399 15,0-6-151-15,6-3-533 16,-23-2 75-16,-4 1-24 16,-52-13 53-1,42 12 45 1,1-2-143-16,-3 0 150 15,7 0 423-15,-11 2-110 16,-6 1-47-16,-11-1 236 16,1-2-194-16,9 2-40 15,-12 1 75-15,5-1-267 16,7-2-231-16,-10 5-66 16,1-1-20-16,12 7-318 15,-8 4-973-15,17-6-1573 16,-5 1-3062-1,8 3-3333-15</inkml:trace>
  <inkml:trace contextRef="#ctx0" brushRef="#br1" timeOffset="160347.74">2087 11910 28699 0,'0'0'911'0,"-2"0"-113"16,0 2-440-1,-3 0-184-15,-2 13-252 0,5 6-217 16,0 18-295-1,-4 3-873-15,-2 11-489 16,1 4-1137-16,-1 15 1115 16,4-6 714-16,-5 8 453 15,7 0 727-15,8 4 296 16,-1 0 383 0,7 1-104-16,-3-1 144 0,-5-6 749 15,2 2 551 1,0-9-770-16,-6-5-424 15,5-9-257-15,-5-11-293 16,-3-6-341-16,3-9-53 16,0-6 69-16,3-6 52 15,-3-9-65-15,2-2 4 16,1 3 291-16,3-1-78 16,6-4 132-16,1-3-139 15,-2 2-30-15,8-2-63 16,-5 1 13-1,10 0-78-15,14 0-129 16,0 4 112-16,-1 0 197 16,8 3-111-16,2-1 152 15,12 0-57-15,-2 2 139 16,16 1-286-16,9 3 117 16,-10-1-139-16,8 1 64 15,5 3-23-15,-2-2-94 16,-5 4 148-1,2-5-200-15,10 5-224 16,-1-7-61-16,-16 3-2 16,-3 2 75-16,15-3 140 15,-14 7 62-15,-5-4 274 16,-5 2-148-16,4 2 248 16,-2 0-364-16,-11 2-112 15,-13-2-233-15,-7-5-418 16,2-1-244-1,1-5-325-15,-1 7-366 16,-10-5-254-16,-4 1 824 16,-2-3 185-16,-6-2 234 15,1 0-80-15,6-1 263 16,-2-3-186-16,-3-5 595 16,2-7 536-16,-2-5 618 15,10-9 408 1,-11 3-369-16,3-11 313 15,2 2 693-15,-6 1 139 16,-6-3-501-16,2-10-198 16,3-1-616-16,0 2-198 15,0-14-320-15,-1 7 405 16,0-8 103-16,-6-1-424 16,2-2-197-16,8 4-153 15,3-2-286-15,-2-7-147 16,-1 13 185-1,-1 0 170-15,-9-6-238 16,-2 1-28-16,7 4-201 16,-2-2-212-16,3 1-723 15,-6 2-629-15,-2 11 850 16,2-9 593 0,5 11 289-16,-2 6 21 0,-3 5-83 15,-4 3 194 1,2-1 227-16,0 10 216 15,2-2-204-15,-2 4-364 16,2 4-353-16,-4 5 582 16,0-1 351-16,-6 1 240 15,-2 2-23-15,4 2 193 16,-6 2 206-16,-4 2 111 16,2 2-35-16,-6 2-377 15,4 1-365-15,-12-1-105 16,-5 3-97-1,3-3 88-15,5-4-49 16,-3 3 78-16,-6-5-53 16,-8 0 88-16,-7 0 2 15,7 0 37-15,1-5-4 16,-4 3-19-16,-10-8-89 16,10-1 8-16,-14 3 40 15,-10-5-3-15,16-2 99 16,-4 0-85-1,-6-2 11-15,6 7 250 16,-3-7 92-16,-15 6 137 16,11 5-184-16,-3-9-445 15,-16 5-98-15,13-3 198 16,-8-2-51-16,8 7 114 16,7-3 266-16,-13 0 614 15,1 3 635-15,-6 2-122 16,0-5-507-1,19 5 308-15,-9-3 496 16,7-4-985-16,5 7-369 16,-12-1-391-16,13 2-1273 15,-3-6-799-15,-6 6-2783 16,16 1-1846-16</inkml:trace>
  <inkml:trace contextRef="#ctx0" brushRef="#br4" timeOffset="168995.13">7062 11051 6502 0,'0'0'745'0,"0"0"9"0,-2 2-29 15,2 2 10-15,-2 4 12 16,2 7-326-1,0 0-203-15,-2 2-36 16,2 7-2-16,0-6-35 16,-2 10-13-16,0-5 61 15,2 5 7-15,-2 4 76 16,-2 1 323-16,2 1 332 16,0 0 770-16,4 0-562 15,2 6-277 1,-2 0-187-16,-4-1-350 15,2 1-231-15,2-2-56 16,-2 7-22-16,0-5 29 16,-2-3-66-16,4 4 301 15,-2-1 80-15,-2 3-156 16,0-1-142-16,0-4-75 16,0 2 46-16,-5 5-59 15,5 3 155 1,2-10-25-16,0 11 39 15,-2-2-9-15,-2 1-143 16,0-6 6-16,2 5 100 16,-5 4-99-16,1-7 197 15,3 3 120-15,-1-1-38 16,0 3 71-16,0 0 142 16,-2-5-309-16,0 11 78 15,-2-4 134 1,4-2 231-16,4-3-294 15,-4 7-35-15,-2-8-153 16,4 3 33-16,-2-1 29 16,-2 6-41-16,-1-6-165 15,3 7 1-15,2 4 228 16,-5-5-229-16,5 0-142 16,2-3 52-16,-4 10 140 15,2-14-91 1,-5 7 127-16,-1 6-93 15,8-8 187-15,2 4 296 16,-4 4-171-16,-2 1-158 16,4-10 108-16,-4 8-241 15,2-1 95-15,-5-8-70 16,2 4-165-16,3 4 226 16,0-2-64-16,-6-1-84 15,8 6 12 1,-2-5 189-16,-2 4-138 15,2-6-49-15,-2 2 104 16,-3 0-125-16,5-6 97 16,-2 6-87-16,4-2 92 15,0 0-110-15,2 4 41 16,-2 0 98-16,0-2 14 16,0 4-119-16,0-2 83 15,2 0-96 1,0 3 28-16,1-1-10 15,3 3 100-15,0-1-111 16,0 4-39-16,-2-1 29 16,7 8 95-16,0-6-11 15,-5 2-88-15,-10 5-120 16,10-5 96-16,-2-2-35 16,3 6 138-16,1-7 2 15,-4 10-41 1,-4-8 114-16,0 3-90 15,2 4 188-15,9-6 226 16,-2 8-127-16,-3-8-38 16,-8-5 56-16,2 5 91 15,4-9 79-15,-2 0 117 16,-4 9-385-16,6-11 78 16,0 7 229-1,-2 4-85-15,2-5-235 0,4-1 11 16,-4 3-15-1,-2 3-242-15,0-5 259 16,2 5-337-16,2-11-24 16,0 7 133-16,-1-3-607 15,1-5-363-15,1 0-936 16,1 0-2001-16,1-8-1809 16,1-2-212-16</inkml:trace>
  <inkml:trace contextRef="#ctx0" brushRef="#br4" timeOffset="170326.67">8553 11313 21845 0,'0'0'600'15,"0"5"-545"-15,2 7 55 16,-2 7 22-16,0 9-690 16,-2-1-379-16,-2 5-1175 15,-3 4-1088 1,5 0 1379-16,2 2 921 15,2 5 388-15,-4 7 460 16,-2 1 195-16,6 8-6 16,7 0 664-16,-7 3 1097 15,-7 1-120-15,8 7-619 16,-1-2-426-16,-7 2-508 16,5-2-43-16,9 8-34 15,-7 7 212-15,-4-10-56 16,2 6 169-1,-2-1-151-15,4 3-353 16,-4 5 268-16,2-7-211 16,-4 10-18-16,4-7 84 15,2 11 50-15,0-10 210 16,0 10 55-16,0-8-92 16,-4 10-11-16,0-8-174 15,0 6-91 1,-9-4-367-16,5 4 139 15,4-8 24-15,6 5 115 16,-4-7 102-16,-6 10 535 16,6-8 50-16,4-3 178 15,-6 1 167-15,-2 2-300 16,4 1-94-16,0-5-259 16,2 4-206-16,0-7-20 15,0 6-138-15,0-8 69 16,2 5 21-1,0-5 27-15,-8-3-230 16,2 3 276-16,4-2 283 16,-6 2-16-16,4-8-167 15,0 1-152-15,0 5 189 16,0-4-203-16,0 4-107 16,0-8 393-1,-2-1-295-15,-2 7 183 16,4-4 201-16,2-7 64 15,0 9 78-15,-8-15-453 16,4 9 152-16,-1 2-98 16,8-5 196-16,-10 2-310 15,-2-1 272-15,5-5-182 16,4 5-100-16,3-4-37 16,2-6-13-16,-3 1-3 15,-2 3-2-15,-4-11-1 16,2-1 0-1,2 1-39-15,-2-1-817 16,-2-5-1057-16,4-10-2147 16,-4-4-2816-16,0-5-1585 15</inkml:trace>
  <inkml:trace contextRef="#ctx0" brushRef="#br4" timeOffset="176348.56">7158 15765 9513 0,'-4'0'2958'0,"-7"4"616"15,3-4-1294-15,-3 2-860 16,5 0-673 0,0 0-472-16,1 0-132 0,3-2-61 15,0 2-108-15,0 3-30 0,4-1 33 16,0 0 9-1,11 2 288-15,16-3 734 16,5-6 1365-16,-2-3-520 16,4 0-525-16,13-3-262 15,16-1-478-15,-12 1-338 16,1 3-99-16,7-1-156 16,-9 1-17-16,12 2-29 15,10 0 99-15,-6-2-98 16,1-5 121-1,12 2-48-15,-15 7-59 16,12 0 46-16,-12 4-7 16,-3 0-235-16,9 5-1172 15,-19-1-2588-15,0 5-2994 16,4-3-2531-16</inkml:trace>
  <inkml:trace contextRef="#ctx0" brushRef="#br4" timeOffset="176932.28">7088 14219 21492 0,'0'0'190'0,"0"0"-81"15,4 5 648-15,2 1-283 16,14 0-356-1,18 3-469-15,7-5 47 16,-10-2 174-16,1-4 112 16,28 0 856-16,-3-2 576 15,12 2-109-15,20-7-375 16,-11 3-339-16,7-1-408 16,0 3-61-1,4 2-86-15,4-2-164 16,-6 6 138-16,-6-2-141 15,6 2-978-15,0-4-3343 16,-2 0-3134-16,-28 2-582 16</inkml:trace>
  <inkml:trace contextRef="#ctx0" brushRef="#br4" timeOffset="177465.29">7137 13062 1185 0,'-9'4'9551'15,"-1"2"-4071"-15,-1 3-2518 16,2-1-1654-16,-1 7-1555 16,0 0-2016-16,8 0 493 15,4-3 458 1,8 3 799-16,12 0 635 0,15-2 2296 16,12-3 351-16,15-8 1362 15,12 1-1333 1,-4-6-894-16,8-1-892 15,13 4-81-15,-8 2-710 16,6-2-132-16,0 9-267 16,6-5-197-16,-3 2-2468 15,-10 1-3874-15,-14 1-2456 16</inkml:trace>
  <inkml:trace contextRef="#ctx0" brushRef="#br4" timeOffset="177977.04">7078 11880 13453 0,'0'3'3226'16,"4"1"-985"-16,6 5 614 16,14 3-562-1,11-1-874-15,10-3-749 16,-3-3-506-16,12-4-58 15,15-1-64-15,-3-4-29 16,1 0-94-16,10 2-100 16,-1 0-227-16,9 0-2836 15,4 2-2699-15,-2 0-2410 16</inkml:trace>
  <inkml:trace contextRef="#ctx0" brushRef="#br4" timeOffset="179225.65">7395 11163 21909 0,'0'0'923'16,"4"9"-19"-16,2 3-128 15,3 5-616-15,-2 7-1217 16,-3 9-124-16,-4 5 145 16,-2 3 329-16,2 1-420 15,2 4-178-15,-4 7-596 16,2 38 445 0,-2-48 1374-16,-3-7 50 15,5-6 270 1,0-5-51-16,3-9 16 15,-1-5-61 1,2 0-51-16,-2-5-216 0,0-2 5 16,0-1 49-16,4-3 150 15,11-7-48 1,-1 1-96-16,12-5 81 16,11 7 49-16,1-3-96 15,-12 3 108 1,-7 4 85-16,11 3-73 15,24-2 181-15,-7 6 64 16,-13-1 247-16,5 5-76 16,20 1 197-16,-8-3-21 15,-18 0-18-15,4-1-217 16,5 3-122-16,-2-3-219 16,-9-1-48-16,-10 1-85 15,-6-2 96-15,-3 1-82 16,4-1-183-16,-6 0-374 15,-3-2-281 1,-5-1-325-16,2 3 141 16,-2-2 493-16,-4 0 644 15,0-4 708-15,3 0 176 16,-3 0-42-16,0 0-211 16,-5-6-198-16,5-9-288 15,0-6-90 1,0-6 63-16,5-10-300 15,-1 6 66-15,2-7 84 16,-1-6-99-16,3 5 210 16,-2 1-52-16,0-6-73 15,-2 3 4-15,4 5 22 16,-4-1 8-16,0 2-163 16,2 0-15-16,-2 1 219 15,-4 6-234 1,2 7 240-16,-2 4-248 15,-8 2 72-15,0 5-239 16,2 3 88-16,-14 1 20 16,-3 4-38-16,-1 0 9 15,4 4 208-15,-28 11 630 16,9-5 22 0,-3-1 609-16,5-2 446 15,-5 2-201 1,-5-1-363-16,-10-6-353 15,8 0-531-15,12 0-17 16,-23-1-140-16,7-4-194 16,11 3-234-16,-3-3-713 15,-12 5-2828-15,9-1-2304 16,12-3-1430-16</inkml:trace>
  <inkml:trace contextRef="#ctx0" brushRef="#br4" timeOffset="180500.63">7456 12249 11915 0,'2'4'3196'16,"-2"9"-844"-1,5 4-283-15,-1 6-526 16,-4 7-380-16,-2 7-941 15,2-2-263-15,-9 7-521 16,3 2-149-16,-4 9-783 16,-3-2-1079-16,0-2 610 15,0 8 578-15,5-2 835 16,-2-9 579-16,4-7-37 16,-4-3 453-16,2-7-27 15,4-4 246 1,0-5 105-16,-3-3-244 15,5-2-141-15,2-3-387 16,5 3-257-16,-3-2-155 16,0-5-48-16,2 1-182 15,2-1 214-15,0 0 151 16,10-3 136-16,-4-1 88 16,-4-2 239-16,10 0 242 15,7-2 367 1,-6 0 492-16,8-2-156 15,20 0 117-15,-11-2-624 16,-10-1-333-16,3 1-149 16,19-4 8-16,10 1-90 15,-11 1-37-15,-22 0-101 16,9 1 6-16,22 1 100 16,-11 4-75-16,-13 0-4 15,-12 4-15-15,-4 3 18 16,12 2-224-1,1 1 115-15,-11-4-504 16,0 1 182-16,-1-1 113 16,-10-2 178-16,1-1-256 15,-2 1-249-15,-6-4-175 16,2 0-47-16,1 0 273 16,-1-7 240-1,0-6 170-15,2-10 31 16,0-4 105-16,0-3 161 15,-2-10-129-15,-2 4 134 16,0-2 74-16,0 4 194 16,0-11 380-16,0 3-165 15,2-4-292-15,7-3-117 16,-6-2-127-16,1 3-29 16,2 1 9-16,2 9 4 15,-4 8 55 1,3-2-102-16,0 5 28 15,-1 8 79-15,-2 2-32 16,-2 4-43-16,0-2 69 16,0 3 47-16,-6 3-175 15,-4-2 107-15,-6 1 248 16,4 6 555-16,4 2 103 16,-4 0 191-1,-16 2 5-15,-4 0-320 16,-10 4-139-16,0 2 0 15,14 1-314-15,-8-3 778 16,-18 2 325-16,-1-2-333 16,10 0-423-16,1 1-181 15,-19-1-109-15,15-2-658 16,16-2-736-16,2 0-2515 16,-1-2-2737-16,-5-4-2761 15</inkml:trace>
  <inkml:trace contextRef="#ctx0" brushRef="#br4" timeOffset="181848.51">7452 13487 21428 0,'0'0'705'0,"0"2"1037"15,0-2-359-15,-2 0-306 16,0 0-461-16,0 2-480 16,-4 3-695-16,-3 3-1762 15,-1 15-172-15,-3 7 400 16,0 4 508-16,5 4-414 16,2 6 870-16,4 3 803 15,0-1 222 1,-1 10 575-16,0-7 193 15,-1-5 604-15,-4 0 1 16,4-8-289-16,0-4-396 16,2-2-275-16,0-11-132 15,2-6-142-15,0-8-19 16,-3 0-31-16,3-1-682 16,0-4-839-16,-2 2 460 15,2-2 348 1,5-2 123-16,3-8 252 15,2-6 116-15,8 2 95 16,0-3 90-16,4 4-73 16,-12 3-55-16,7-5 132 15,7-2 24-15,7 2-6 16,13 3 96-16,-4 3-42 16,-14 1 108-16,13-3-48 15,26 2 103 1,-15 7 74-16,-18-2-137 15,19 4 76-15,9 2 43 16,-5 2-200-16,-27 3 183 16,1-1-214-16,19 2 75 15,-10 1-151-15,-6-1 20 16,-7 1 61-16,-7-3 87 16,2 3-152-16,4-1 8 15,-1 3 5 1,-1-3 69-16,-12-1-34 15,2 1-16-15,-2-2 111 16,-4-2-115-16,-4 5 200 16,-2-7-81-16,0 0-373 15,-2 1 167-15,-6-1 0 16,-6-4 73-16,0-5 948 16,-1-3 583-16,2-14-374 15,5 3-366 1,-5-4-102-16,-2-9-179 15,2 0-282-15,9-13-127 16,6 7 53-16,0-2-167 16,-4 2 66-16,4 0-88 15,0-3 41-15,0 5 93 16,5 0 57-16,4 10-236 16,-3-3 26-16,0 1 86 15,-3 9 68-15,-3 6-6 16,0 5 70-1,-6-1-159-15,-3 2 42 16,5 3-7-16,-2 2-2 0,-2 0-137 16,-7 1-87-16,0 1 93 15,3 2 13-15,-7 5-51 16,-15 1 90-16,-6-2 79 16,8 3 34-16,1-1 67 15,-5 2 259-15,-15-1 625 16,-13-3 721-16,14 0-614 15,10-2-63 1,-13 4-134-16,-8-1-493 16,17 1-468-16,-7 3-922 15,-4 1-2685-15,9-3-1868 16,10-7-2163-16</inkml:trace>
  <inkml:trace contextRef="#ctx0" brushRef="#br4" timeOffset="183107.33">7524 14461 19763 0,'-4'8'1144'0,"-4"12"1440"0,-3 5-263 15,-2 13-1233-15,1 2-755 16,10 4-691-1,-2 9-1509-15,-3 9-45 16,-4-7 577-16,7 6 527 16,0 5 635-16,0-3 390 15,4-1-124-15,-3 1 173 16,-1-5 362-16,4-8 872 16,7 1-244-1,-5-2-769-15,-2-9-250 16,-9-2-65-16,7-4-309 15,-2-5 28 1,0-8-197-16,0-4-491 0,4-6-141 16,-5 0 329-16,5-7 59 15,0-4-223-15,2 4 153 16,5-4-244-16,1-2 392 16,-6 0 201-16,11-9 101 15,13-1 85-15,16-9 121 16,7 6 120-1,-7 0-238-15,-21 5 55 16,13-6 88-16,27 2 10 16,-10 3-169-16,-20 4 65 15,18-1 57-15,11 6 153 16,-9 2-199-16,-15 5 34 16,2-1 88-1,6 2 0-15,-15-2-172 16,1 3 41-16,-7-3-16 15,-7-2-235-15,-8 2-206 16,-4-2-152-16,4 0-423 16,-2 4 448-16,1 3 156 15,-7-2 239-15,0-1 81 16,0-2-3-16,0-2 121 16,0-2 38-16,0 0 770 15,0-12 325-15,-2-10 94 16,-7-8-60-1,5-1-310-15,2-5-309 16,2-17-225-16,-2 8-174 16,-2-8-77-16,0-4-32 15,0-2 71-15,2 0-38 16,2-5-160-16,0-1 92 16,-3 5 53-16,6-7-67 15,1 5-1 1,-4 10-223-16,4 7 47 15,-2 3-46-15,0 10 231 16,0 2-5-16,0 9 16 16,-2 0-28-16,-2 10 9 15,2-10 351 1,0 13-120-16,-2 1 53 16,0 3 350-16,-2 0 3 15,-7 2 0 1,-8 2-3-16,-15 2 286 15,-11 2-419-15,18 3 1 16,-1-3-142-16,-10 4-170 16,-19-1-47-16,-4 3-326 15,25 1-1963-15,-6-3-807 16,-5-3-2056-16,5-8-2075 16</inkml:trace>
  <inkml:trace contextRef="#ctx0" brushRef="#br4" timeOffset="183735.69">7537 16093 26041 0,'-2'2'1078'16,"-7"8"945"-16,-1 1-756 15,2 6-580-15,-8 8-684 16,2 14-1453-16,3-8-878 16,4 7-184-1,5 2 518-15,-4 20 1028 16,4-5 799-16,0 8 400 15,4 11 1483-15,-2-6 289 16,6 6-592-16,1-2-600 16,-5-4-490-16,-7 4-1322 15,8-17-225-15,-1-4-2593 16,-2-3-2049-16,-5-3-1736 16</inkml:trace>
  <inkml:trace contextRef="#ctx0" brushRef="#br4" timeOffset="184516.84">7450 16059 13741 0,'0'0'569'0,"2"6"1833"16,4 3 315-1,8-1-662-15,15 1-488 16,1-3-871-16,6-2-481 16,-2-1-309-16,-22-3-376 15,7 1-137-15,25-2 303 16,12 1 58-16,31-16 263 31,-36 8-15-31,12-3-150 16,-19 3 102-16,-4-9-50 15,31-2-292-15,-23 4 47 16,-10 0-120-16,0 0-15 16,7 3 105-16,-12 1 215 15,-9 5 114-15,-3-2 205 16,-13 5-98-16,1-1-97 16,-3 2 29-16,-1 2 51 0,-3 0 150 15,0 2-1304-15,-9 9-801 16,-3 10 570-1,-3 4 747-15,6 5 490 16,-1-1 1033-16,0 5 759 16,-4-2 228-16,0 0 352 15,2 8 57-15,2 0-422 16,3-4-637-16,-1 2-585 16,-5 7-72-1,3 1-14-15,-1 5-364 16,1 0-110-16,0 8-35 15,1-4-182-15,-2 56 130 16,5-63-94 0,6 5 237-16,0-7-394 15,-6 8 191-15,4-10-609 16,6-10-615-16,-4-5-193 16,-2-3-1740-16,0-1-1064 15,0-8 262-15,-2-4-970 16</inkml:trace>
  <inkml:trace contextRef="#ctx0" brushRef="#br4" timeOffset="185024.83">7594 16844 5477 0,'0'0'3125'0,"0"0"819"15,-2 2-986-15,4 0-781 16,7 5-517-16,1-3-565 16,-6 2-523-16,15 5-184 15,35 0-21-15,-4 1-275 16,-3 5-78-16,-3-2-247 16,31 4-414-16,-10 2-1037 15,-23-2-2078-15,35 4-3886 16</inkml:trace>
  <inkml:trace contextRef="#ctx0" brushRef="#br4" timeOffset="190331.17">9617 10882 4324 0,'0'0'4590'16,"-2"0"-1359"-16,0 1-1409 15,2 2 9-15,-2 5 89 16,0 7-111-16,2 6-524 16,10 4-531-16,-8-5-435 15,0 7-77-15,6 1 10 16,-4 3 8-1,0 8 48-15,-2-3 246 16,-2 1-1-16,2 4 406 16,0-1-188-16,4 9-56 15,3-5-544-15,-5 1-145 16,5 7 67-16,-3 5-121 16,-2-10 18-16,-2 8-52 15,-4 0 119 1,11 1-37-16,1-8 48 15,-4 7 80-15,1-4-136 16,4 0 216-16,-5 3-164 16,-2 4 123-16,2 1-160 15,-2-10-139-15,5 10 90 16,0-4-27-16,-5-12-84 16,0 9 160-1,7 3 44-15,-3-4 116 16,-4 0 84-16,5 8 291 0,-2-8-171 15,-3-4 328 1,0 10-415-16,6-11-20 16,5-2 393-16,-4-3-364 15,-1-1 66 1,7 0-95-16,-2 3-112 0,0-3-106 16,6 0-79-1,-4 3 127-15,-5-7-73 16,-3 1-214-16,4-2 47 0,0 1-39 15,-1-1-35 1,4-1 175-16,-2-4-4 16,9-7 35-16,0 5-3 15,-2-5 125-15,-3 3 17 16,0 3-24-16,-4-6-2 16,-4-3-102-16,3 1 129 15,10 2-110-15,2-2 89 16,-3-2 33-1,-2 0 91-15,4 0-138 16,-5 5-62-16,3-4-27 16,0-3-13-16,0 0-4 15,1 5-3-15,7-3-2 16,-6-5 1-16,0 2-1 16,1-2 0-16,3 3 0 15,-4-4 0 1,-2 2 0-16,47 8 0 15,-34-11 0 1,-9-3 0-16,6 0 0 16,-1-3 0-16,1 0 0 15,0-1 0-15,2 1 0 16,-3 2 0-16,1-1 0 16,4-5 0-16,-2 4 0 15,-5-2 0 1,5-4 0-16,2 3 0 15,3-3 0-15,-1 0 0 16,-9 1 0-16,5-1 0 16,10 0 0-16,-5 0 0 15,-7 0 0-15,1 3-129 16,7-3 52-16,7-4 105 16,-7 1 79-16,0 1-84 15,-6 0 5-15,5 0-16 16,-5 2-8-16,-7 0-2 15,5 0-1 1,6 0 0-16,-2 0-1 16,-5 2 0-16,9-4 0 15,1-2 0-15,-5 2 0 16,0-1 0-16,-4 3 0 16,7-2 0-16,4 0 0 15,-9 2 0-15,4 2 0 16,6 0-157-1,1 3-138-15,-7-3-123 16,-10-2 317-16,1 4 71 16,5-2 90-16,0 0-127 15,4 2 113-15,15 3-124 16,-28-5-34 0,5 2 4-16,2-4 24 15,-7 3 136-15,-3-3-14 16,-12 0 68-1,4 0 11-15,2-3 161 16,2 3-221-16,2-2 36 16,-10 0-96-16,-1-2 127 15,5 2-154-15,4-5 13 16,0-3 26-16,2-1 45 16,1-1-96-16,-5-3-62 15,0 4 90 1,-2 1-74-16,1-7 42 15,0-5 59-15,-2 1-93 16,-3-2 25-16,3 2 99 16,2-4-24-16,5-5-66 15,-4 7 81-15,-6 1 32 16,3-3-88-16,0 0 99 16,-3-5-78-16,-1-2 165 15,1 2-222-15,3-8-26 16,0 5 68-1,-7 1 65-15,-2-2-29 16,7 0-68-16,0-4 84 16,-3-2 17-16,3 6-71 15,-5-4 48-15,4-7-116 16,-3 3 91-16,4 0-3 16,-3 10 16-16,0-12-30 15,2 5 7-15,-5-5 22 16,-2 6-11-1,1-5 54-15,-4 1-57 16,0-4-41-16,8 1 3 16,-4 1-176-16,0 3 131 15,-4-7-53-15,-4 5 25 16,4 1 181-16,2 2-218 16,-4-11 184-16,0 11 32 15,-2-1-159-15,0 1 15 16,-2-6-37-1,3 3 67-15,1 3-50 16,-5 0 208-16,3-2-127 16,-2-3-92-16,4 7 65 15,-2-4 119-15,-2-2-88 16,1 1 24-16,3 1-30 16,0 6 138-16,0-4-128 15,-3 1 77-15,-1 1-62 16,-4 0 106-1,1 7-126-15,1-8-53 16,-1 8 93-16,3-1-165 16,-3-2 57-16,-1 4-10 15,10-1 84-15,-2 7-83 16,-6-7-12-16,-2-1 91 16,2 6-32-16,4 3 56 15,-6 0-10-15,-3 2-56 16,2-1 44-1,-4 8-15-15,3-3-73 16,-4 0-38-16,0 2 21 16,1-2-213-16,2 2-102 15,1 0 15-15,-3 0 189 16,-2-1-156-16,-2 1 111 16,-7-2 188-16,-5 2-13 15,-5 0-6-15,8 0 77 16,9 1 45-1,-6-1-335-15,-2-2-34 16,-9 2-52-16,-3 0 21 16,1-2 298-16,2 3 160 15,3 1 82-15,-8-2 1 16,-1-2-198-16,2 7 39 16,6-6-81-16,-9 0 101 15,-5-5-139 1,3 6 92-16,7 0-27 15,-8 0 27-15,-3-2 113 16,-4 5-141-16,-7-1 9 16,-3 2-18-16,6-1 121 15,0 3-63-15,2 0-63 16,2 4-43-16,-2-8 66 16,-13 6 67-16,5-1 2 15,-1-3 211-15,-1 5-458 16,9-1-37-1,-5-1-134-15,-13 2-56 16,13-1 369-16,4 3 152 16,-5-4 139-16,7 4-122 15,2 1 79-15,-8 3 146 16,1-2-149-16,14 4-115 16,-5 1-194-16,3-3 6 15,-3 4 103-15,-5-2-65 16,5 4 142-1,5-6 207-15,2 6 117 16,-3 1-169-16,3 1-184 16,3-1 46-16,10-1-59 15,3-2-92-15,-10 3 83 16,-2-1 21-16,-3 2 125 16,17-6 142-16,4 5-514 15,1-1-7 1,-11 7 118-16,2-5 31 15,1 5 86-15,1-3 143 16,0-1 487-16,4 2-312 16,-4-1 90-16,3-1-19 15,-1-1-246-15,-2 3-505 16,7-7-36-16,4 2-233 16,2 1-179-16,1-3-1011 15,-2-2-1478 1,14 0 1583-1,-2-2-249-15,0 0 557 16,0 0 341-16,4-2 172 16,-4 2-405-16,-2-6-1656 15,-3-7-916-15</inkml:trace>
  <inkml:trace contextRef="#ctx0" brushRef="#br4" timeOffset="190610.22">9406 10499 8328 0,'0'-3'3178'0,"-5"1"564"16,-1 2-941-16,4-2-485 16,2 2-601-16,0 0 63 15,6 0-506-15,12 4-70 16,11 3-775-1,1 1-254-15,4 7-376 16,-2 2-199-16,-1 6-453 16,-1 7-753-16,-12-7 147 15,0 11-984-15,1-2-1516 16,6 0-1817-16</inkml:trace>
  <inkml:trace contextRef="#ctx0" brushRef="#br4" timeOffset="191141.34">9201 10513 18834 0,'-4'-2'3485'0,"-9"-4"-1645"16,0-3-374-1,0 1-4-15,7-5-618 16,4-8-388-16,8-9-157 16,17-10-251-16,5 2-308 15,0 0-217-15,7 2-187 16,5 6-463-16,7 5-653 16,-11 12 18-16,-6 1 993 15,10 5 333-15,3 9-25 16,-1 4-213-1,-30-3 473-15,14 13-1050 0,-5 6-825 16,-1 12 56-16,-8 8 229 16,-10 1-290-16,0 1 1179 15,-4-12 1410-15,-10 6 520 16,-14-6 562-16,-10-1 176 16,-15-3-420-16,4-5-2711 15,-7-8-1013-15,-15-7-3902 16</inkml:trace>
  <inkml:trace contextRef="#ctx0" brushRef="#br4" timeOffset="191851.93">13045 10975 3427 0,'0'0'5827'16,"0"0"-1840"-1,0 0-1520-15,0 0-648 0,0 0-402 16,0 0-458-16,0 0-233 16,0 0-258-16,0 0 22 15,-3 4-363 1,-1 11-126-16,-2 2-48 15,-13 6-301-15,-2 7-304 16,-9 10 226-16,4 0 347 16,1 2 271-16,-9 1-768 15,7-12-2067-15,3 1-656 16,1-11-2562-16</inkml:trace>
  <inkml:trace contextRef="#ctx0" brushRef="#br4" timeOffset="192306.5">12962 10774 22742 0,'0'0'2263'16,"-6"-5"-689"-16,6-5-524 15,2-5 112-15,4-4-291 16,12 0-1010-16,-2-4-159 16,9 4-604-16,5-3-347 15,-6 8-1467 1,20 5-149-16,13 7-3 15,-11 13-87-15,-3 12 1022 16,-3 9 788-16,-6 10-762 16,-7 4 179-16,-16 9 242 15,-8-6 1501-15,-3 4 1409 16,-6-10 1189-16,-2-6 1488 16,-8-9-98-16,-8 0 232 15,1-9-1252-15,-13 2-1322 16,2-8-1041-1,-27-11-1364-15,-3-11-2820 16,13-10-2946-16,-10-15-3713 16</inkml:trace>
  <inkml:trace contextRef="#ctx0" brushRef="#br4" timeOffset="-210255.21">6407 8102 11691 0,'2'-4'3554'0,"0"-4"-366"16,2-7 833-16,-2 2-1166 16,-4 2-1196-16,-4 1-778 15,-9 1-568-15,-10 8-523 16,-5 5-19-16,-17 6-139 16,-3 9 80-16,1 0-118 15,-4 6 523-15,11 1-298 16,4-3 19-1,14-2 192-15,3 3-52 16,15-5-186-16,12 4-31 16,17-2 283-16,17 4-64 15,-1-3 169-15,7-1-8 16,11 4 61-16,3 3-132 16,-7 1-110-16,1 7 47 15,3 1-495-15,-16-10 195 16,-14 3 245-1,-3-1 48-15,-11-7 573 16,-11-1 482-16,-6 6 552 16,-3-1-298-16,-6-5-507 15,-12 0-600-15,-17-2-1395 16,-9-11-1429-16,15-8-3568 16,2-4-1929-16</inkml:trace>
  <inkml:trace contextRef="#ctx0" brushRef="#br4" timeOffset="-209962.24">6682 8329 19731 0,'0'0'815'16,"2"0"-236"-16,10 10 981 16,4 9-100-16,-12 11-686 15,-2 8-265-15,2 11-366 16,-6 10-5-16,2-2 243 16,-2 7-477-1,-2-5-41-15,-9-2-1953 16,6-13-1035-16,5-8-2336 15,4-10-1474-15</inkml:trace>
  <inkml:trace contextRef="#ctx0" brushRef="#br4" timeOffset="-209611.24">6654 8270 18033 0,'6'-3'2570'15,"12"-20"-1143"-15,11-2-704 16,17 6-409-16,-1 6-515 16,-11 4-816-16,2 5 126 15,-4 6 92-15,-5 7-114 16,-3 3-195-1,2 8 129-15,-16 7-372 16,-6 3 1359-16,-10-7 1103 16,-14 11 1046-16,-5-7 389 15,-7 3 292-15,0 2-1352 16,-20-7-866-16,-1-10-1492 16,15-2-2831-16,6-5-2356 15,9-4-920 1</inkml:trace>
  <inkml:trace contextRef="#ctx0" brushRef="#br4" timeOffset="-209345.24">7120 8267 11979 0,'0'0'2027'15,"8"3"163"-15,3 7-35 16,1 11 66-16,0 11-1208 16,-8 6-475-16,-10 17-327 15,-4 4-237-15,-6 7 123 16,1-3-1405-16,2-7-1537 16,2-4 227-16,5-11 488 15,6-16-712-15,-4-4-1111 16</inkml:trace>
  <inkml:trace contextRef="#ctx0" brushRef="#br4" timeOffset="-208886.19">7107 8261 12588 0,'0'-4'4898'15,"11"-15"-93"-15,-1-2-2235 16,5 1-1364-16,11-1-727 16,-1 0-602-16,-6 6-822 15,4 7-798-15,-3 1 688 16,6 12 380-16,4 5 334 16,-8 1 11-16,-5 4 176 15,-9 0 103-15,-8 6 238 16,-10 0 10-1,-5 6-119-15,-17-3 263 16,8-1 49-16,-3 0-70 16,-15 0 21-16,6-3 202 15,2-5 373-15,13-1-244 16,6-3-319-16,4 1-260 16,7 1 25-16,4 2-51 15,6 2 146 1,18 8 95-16,19-2-71 15,-3-3 9-15,-7 1 157 16,11 6-275-16,1 3-162 16,-5-3-177-16,-8-3-596 15,-13-5-1376-15,0 0-854 16,-4-2-1623-16,-7-3-1635 16</inkml:trace>
  <inkml:trace contextRef="#ctx0" brushRef="#br4" timeOffset="-208558.15">7577 8191 25208 0,'0'0'876'16,"2"0"-501"-16,0 6-103 16,6 5 217-16,2 17 177 15,-4 10 8-15,-4 6-394 16,0 9 100-16,-2 8-92 16,-6 5-272-16,6 0-54 15,-9-5-331 1,-2-6-329-16,-1-6-961 0,1-9-1851 15,0-8-2164 1,5-11-78-16</inkml:trace>
  <inkml:trace contextRef="#ctx0" brushRef="#br4" timeOffset="-208264.93">7812 8181 21685 0,'0'0'1483'16,"0"0"-469"-16,7 4-169 16,-1 11 113-16,-4 12 76 15,0 9-504 1,0 4-513-16,-4 15 32 15,-6 9 11-15,1 4-146 16,1-1-520-16,-7-3-570 16,-1-9-701-16,2-10-161 15,4-10-1842-15,8-13-930 16,0-12-346-16</inkml:trace>
  <inkml:trace contextRef="#ctx0" brushRef="#br4" timeOffset="-207878.88">7799 8155 20403 0,'0'0'197'0,"4"0"-578"15,7 13-92-15,6 12 120 16,0 15-1193-16,0 13-660 16,-8 7 511-16,1 9-215 15,-10-1 717-15,2 0 1010 16,6-13 539-16,8-11 609 16,-2-12 171-16,1-2 808 15,2-9 529 1,-2-4-427-16,-3-11 404 15,0-4-52-15,10-12-84 16,10-20-655-16,-11-12-939 16,-5-13 106-16,6-13-394 15,-2 0-398-15,-12 9-1304 16,5 11-1276-16,-5 3-3004 16,-2 9-2103-16</inkml:trace>
  <inkml:trace contextRef="#ctx0" brushRef="#br4" timeOffset="-207615.22">8276 8191 23286 0,'0'0'1502'15,"8"17"-104"-15,6 13-259 16,0 12-229-16,-10-2-418 16,4 13-327-16,5 2-21 15,-2 9-240-15,-11 0-486 16,-7-10-758-16,-1-3-2671 16,3-15-1643-16,3-12-1705 15</inkml:trace>
  <inkml:trace contextRef="#ctx0" brushRef="#br4" timeOffset="-207386.21">8153 8111 28443 0,'0'0'1049'0,"6"-3"-380"16,22-7-374-16,33-7-271 15,9 8-1397-15,21-1-2410 16,-12-5-1582-16,3 9-3542 16</inkml:trace>
  <inkml:trace contextRef="#ctx0" brushRef="#br4" timeOffset="-206727.96">5969 9139 26745 0,'0'-4'245'15,"2"-2"-349"-15,2-2-349 16,2 5 141-16,9 6 181 16,8 24 533-16,-2 11 46 15,-7 15-283-15,-10 15 4 16,-4 1 147-16,-9 12-522 16,-4-3-1468-16,3-19-2573 15,-1-7-1879-15,7-21-631 16</inkml:trace>
  <inkml:trace contextRef="#ctx0" brushRef="#br4" timeOffset="-206201.95">5918 9152 11179 0,'2'-4'5195'0,"4"-6"-399"16,7-10-1858-16,15 1-1089 16,16 2-665-16,9 4-866 15,2 5-344-15,-17 6-361 16,4 6-534-16,3 9-608 16,-11 0-580-16,-5 4 480 15,-5 6-100-15,-12 5-905 16,-6-5 937-1,-4 7 411-15,-12-1 600 16,-15 3 347-16,-13 1 102 16,-5-3 228-1,11-7 348-15,12-5 831 0,6-4 294 16,4-5-735-16,4-5-1275 16,6-4 11-16,4-2-133 15,19-2 230 1,17 6 218-16,2 2 169 15,3 2-534-15,-11 3-104 16,-4 3-579-16,-12 5 365 16,0 9 464-16,-6 3 243 15,-5 5 589-15,-14-4 897 16,-12-2 362-16,-10 3 2334 16,-9 1-994-16,-3-2-344 15,-13-9-1288-15,5-9-1131 16,5-1-2161-1,-3-9-2738-15,-2-10-1207 16</inkml:trace>
  <inkml:trace contextRef="#ctx0" brushRef="#br4" timeOffset="-205694.2">6436 9175 21012 0,'2'0'431'0,"18"3"7"15,4 5-92-15,-8 7-196 16,-4 10-178-16,3 9 70 16,-11 10-474-16,0 3-652 15,1 10-641-15,-7 0 90 16,2-10 1071-1,-3-7 502-15,6-12 429 16,-8-7-132-16,3-8-27 16,-2-5-1483-16,2-4 339 15,-2-4 155-15,-3-4-69 16,-1-21 95-16,8-9 1143 16,0-13 872-16,2-6 225 15,0-8-308-15,2 4-614 16,3 2-711-1,7 15-116-15,6 10 221 16,-2 11 896-16,8 4 223 16,2 9 34-16,-1 4-143 15,-9 6-441-15,4 6-101 16,0 16 315-16,-14 6-127 16,-2 16-157-16,1 5-95 15,-5 2-145-15,-6 0-138 16,2-10-779-16,2-5-2027 15,-3-4-2074 1,3-17-492 0</inkml:trace>
  <inkml:trace contextRef="#ctx0" brushRef="#br4" timeOffset="-205468.19">6454 9351 23126 0,'2'2'922'16,"18"-2"618"-16,4 0-483 16,3 0-845-16,15 4-1807 15,9-4-2121-15,-11 0-1947 16,-10-4-1047-16</inkml:trace>
  <inkml:trace contextRef="#ctx0" brushRef="#br4" timeOffset="-205233.15">7062 9224 9705 0,'-4'-2'3131'0,"-8"-2"-801"16,-9-3-1040-16,-17 11-872 15,-2 3 89-15,-1 10 27 16,1 4 559-16,6 11-71 16,-2 4 2-16,5 2 618 15,17-4 275-15,14 4-457 16,14 0-714-16,10-2-615 16,11-11-760-16,-1-4-2229 15,-2-4-2109-15,9-4-1322 16</inkml:trace>
  <inkml:trace contextRef="#ctx0" brushRef="#br4" timeOffset="-204946.15">7107 9199 20660 0,'3'2'696'0,"5"4"-84"15,7 15 849-15,3 5 372 16,-4 6-743-16,-6 12-401 16,-4 1-440-1,-2 3-129-15,2 1-394 0,-6 0-1884 16,-8-12-977-16,-3-7-1657 15,2-4-691 1,3-9 540-16</inkml:trace>
  <inkml:trace contextRef="#ctx0" brushRef="#br4" timeOffset="-204642.5">7361 9267 2114 0,'-2'1'8124'15,"-8"10"-2026"-15,-7 8-2645 16,-3 4-107-16,0 1-1014 16,-4 1-807-16,5 1-491 15,0 3-464-15,4 1 22 16,3 0-160-16,3-3-286 15,0 0-98 1,11-5-145-16,12 3-339 16,-2-8-530-16,7-4-1810 15,7-3-1444-15,8-5-1718 16,-24-5 3979-16,22-3-4071 16</inkml:trace>
  <inkml:trace contextRef="#ctx0" brushRef="#br4" timeOffset="-204295.49">7448 9171 17424 0,'0'0'2520'0,"-2"7"-1464"16,2 7-539-16,4 9 188 16,-2 1 1002-16,-4 8-503 15,2 6-120-15,2-2-262 16,2 0-48-16,7 6-31 16,2-2-288-16,1-4-145 15,8-6 0 1,-1-2 60-16,0-7-381 15,-4-2-220-15,5-2-885 16,-2-5-823-16,12-3-1898 16,5-9-1929-16,5-4-2034 15</inkml:trace>
  <inkml:trace contextRef="#ctx0" brushRef="#br4" timeOffset="-203886.52">7939 9254 20211 0,'-6'0'1084'0,"-13"0"-706"15,-11 2-620 1,-6 6 278-16,9 3 67 15,3 12 163-15,-6 3 104 16,-3 7 996-16,7 8-81 16,4-3-266-16,6 2-340 15,14-6-495-15,8-5-504 16,14-1-1312-16,16-7-264 16,-5-8 865-16,9-9 735 15,11-6 271 1,0-4 16-16,-2-11 410 15,-8 0 1443-15,-4-2 43 16,-3-11-570-16,-6 1-436 16,-12-3-579-16,-7 2-903 15,-9 0-1123-15,-7 5-1607 16,-3 0-2195-16,-2-3-1667 16</inkml:trace>
  <inkml:trace contextRef="#ctx0" brushRef="#br4" timeOffset="-203313.04">8365 9065 1121 0,'12'-2'7570'0,"8"-4"-1284"16,2-1-2527-16,-4 3-1082 0,-10 2-518 15,-6 2-1295 1,-2 0-333-16,-10 0-325 16,-16 2-170-16,-4 11 92 15,-1 6-53-15,1 11 321 16,-10 12 293-16,-9 9-23 16,15-2-480-16,13 5 402 15,6-7-332 1,9-2-357-16,4-8-389 15,6-1 64-15,4-6-701 16,6-11-569-16,8 0-6 16,12-8 618-16,1-7 376 15,-7-6 456-15,-2-6 35 16,2-3 189-16,5-12 550 16,-7 0 58-16,0-5-320 15,-7 4-104-15,-11 6-124 16,-2 3 450-16,0 0 193 15,-3 6-118 1,-6 1 104-16,-1-3-196 16,2 5-180-16,-2 6-4 15,0-2 30-15,-2 2 75 16,1 4 183-16,-1 13 66 16,0 11 102-1,8 6-365-15,4 10-86 0,-2 1-233 16,-8-8-225-1,-2 4-868-15,0-5-2421 16,-3 0-1778-16,2-13-1119 16</inkml:trace>
  <inkml:trace contextRef="#ctx0" brushRef="#br4" timeOffset="-203047.04">8267 9321 8744 0,'0'0'7747'15,"13"3"-355"-15,17 1-3050 16,10-2-2525-16,25 2-3305 16,-8-10-3269-16,-8-1-4469 15</inkml:trace>
  <inkml:trace contextRef="#ctx0" brushRef="#br4" timeOffset="-190548.54">5602 7975 9961 0,'0'0'6349'0,"2"-12"-1386"0,-4-20-1594 16,6-6-1402-16,7-6-815 16,6 1-732-16,5-2-237 15,-2 1 8 1,21-9-458-16,-5 0 137 15,0-2-106-15,13 0-107 16,18-4 479-16,-1 0-75 16,12 6-111-16,-4 4 104 15,34 7-61-15,-26 6 232 16,14 10-66-16,-1 8-45 16,9 2-59-16,-9 12-17 15,7 6-143-15,-7 16-85 16,-4 9-575-1,2 17 592-15,-12 18-222 16,-25 14-55-16,-21-2 346 16,5-4 161-16,-9-13 428 15,-14-15 95-15,-2-8 226 16,3-4-172-16,-12-9-179 16,0-10-210-1,0-3-64-15,-4-6-89 16,-2 0-11-16,0-2 111 15,0 0-25-15,0 0-9 16,0-2-109-16,0-7-181 16,2-10 102-16,4-6 84 15,14-11-332-15,1 0-222 16,17 2 250-16,9-4 113 16,5 2-78-16,-3 6 204 15,13 3-36-15,7 2 75 16,20 6 27-1,7 4-39-15,10 8-105 16,-9 10 65-16,15 7 18 16,22 13-241-16,-25 9-261 15,2 15 424-15,-22 10 133 16,-18 6 195-16,-3 13 150 16,-23-3 134-16,-1 5 318 15,-12 5 206 1,-13-11-617-16,-9-1-58 15,-10-9 34-15,-12 1-297 16,-3-14 113-16,-9-5-145 16,8-8-53-16,-8-10-17 15,3-5-8-15,6-6-2 16,7-5-106-16,1-6-34 16,7-4-161-16,0 3 61 15,0-3 59-15,0 2 66 31,0-2 19-31,3 0 74 0,11-5-148 16,10-7 173-16,6 1-57 16,7 1-143-16,3 6 154 15,-4 4 44-15,3 8 36 16,1 13-62-16,4 9 197 16,-3 8 97-16,-16 6-97 15,-6 22 132 1,-4 10-71-16,2 11 89 15,-6 2-229-15,-13 2-384 16,-1 4 158-16,-3 0 139 16,-13-10 311-16,-6 2-225 15,-16-7-66-15,-12-1-20 16,2-6-6-16,-63 59-1 16,60-79-1-1,4-20 0-15,-9-1 0 16,8-15 0-1,13-2 0-15,-4-7 0 16,2-1 0-16,7-3-255 16,19-4-132-16,0 2 16 15,7-4-107-15,5 2-20 16,2 0-306-16,0 0 224 16,0 0-283-16,9 0 239 15,15 2-48 1,8 9-348-16,0 17-1937 15,-5 8 1048-15,-11 10 7 16,-12 9 1124-16,-8 6 634 16,-14 3 1074-16,-4 6 392 15,-25 4 1339-15,-6-4-144 16,-15 2-329-16,-15-2-257 16,-8-1-721-16,-8-5-367 15,12-7-378 1,-4-10-338-16,-21-3-91 15,10-10-27-15,-3-24-7 16,3-5-1-16,13-20-1 16,-12-19 0-1,3 2-232-15,5-8-297 0,0-3-35 16,7-11 84-16,-1 1-392 16,10 6 117-16,5-6 213 15,5 1-217 1,16 3 256-16,-1 6-170 15,2-10-228-15,14 15-162 16,9 7 690-16,7 3 363 16,10 9 540-16,6 6-113 15,-1 5-13-15,3 6-73 16,2 0-67-16,-2-1 11 16,0 3-68-16,-8 0-1083 15,-18 13 295-15,-8 10 335 16,-4 7 609-1,-5 2 433-15,-20 4-340 16,-7-2-131-16,11-9-57 16,-10-1 261-16,-5-12-185 15,11-10-260-15,-3-4 525 16,-4-13-559-16,-2-14-78 16,13-8-46-16,3-13 94 15,-1-12 54 1,8-9-277-16,9-4 31 15,10-3-307-15,7-9 110 16,3 2-79-16,4-8 153 16,4-8 25-16,8 8-214 15,18 0-182-15,-6 8-281 16,4 11 361-16,3 4 231 16,4 7 241-16,4-3 268 15,3 11-793-15,2 6-468 16,-2 9 196-1,10 6 187-15,-5 4 530 16,-7 11 212-16,-16 9 521 16,7-1 962-16,-9 7 661 15,0 2 248-15,-6-4-513 16,-2-9-516-16,-30-36 483 31,9 17-1412-31,1-11-262 16,-1 1-121-16,8-15-42 15,6-7-18-15,5 0-6 16,4-7-175-16,6-2-1174 16,2-1-1731-16,16-2-4814 15</inkml:trace>
</inkml:ink>
</file>

<file path=ppt/ink/ink9.xml><?xml version="1.0" encoding="utf-8"?>
<inkml:ink xmlns:inkml="http://www.w3.org/2003/InkML">
  <inkml:definitions>
    <inkml:context xml:id="ctx0">
      <inkml:inkSource xml:id="inkSrc0">
        <inkml:traceFormat>
          <inkml:channel name="X" type="integer" max="32767" units="cm"/>
          <inkml:channel name="Y" type="integer" max="32767" units="cm"/>
          <inkml:channel name="F" type="integer" max="32767" units="dev"/>
          <inkml:channel name="T" type="integer" max="2.14748E9" units="dev"/>
        </inkml:traceFormat>
        <inkml:channelProperties>
          <inkml:channelProperty channel="X" name="resolution" value="2047.9375" units="1/cm"/>
          <inkml:channelProperty channel="Y" name="resolution" value="3640.77783" units="1/cm"/>
          <inkml:channelProperty channel="F" name="resolution" value="0" units="1/dev"/>
          <inkml:channelProperty channel="T" name="resolution" value="1" units="1/dev"/>
        </inkml:channelProperties>
      </inkml:inkSource>
      <inkml:timestamp xml:id="ts0" timeString="2022-01-18T12:00:18.143"/>
    </inkml:context>
    <inkml:brush xml:id="br0">
      <inkml:brushProperty name="width" value="0.05292" units="cm"/>
      <inkml:brushProperty name="height" value="0.05292" units="cm"/>
      <inkml:brushProperty name="color" value="#FF0000"/>
    </inkml:brush>
    <inkml:brush xml:id="br1">
      <inkml:brushProperty name="width" value="0.05292" units="cm"/>
      <inkml:brushProperty name="height" value="0.05292" units="cm"/>
      <inkml:brushProperty name="color" value="#00B0F0"/>
    </inkml:brush>
    <inkml:brush xml:id="br2">
      <inkml:brushProperty name="width" value="0.05292" units="cm"/>
      <inkml:brushProperty name="height" value="0.05292" units="cm"/>
      <inkml:brushProperty name="color" value="#7030A0"/>
    </inkml:brush>
  </inkml:definitions>
  <inkml:trace contextRef="#ctx0" brushRef="#br0">20866 461 16015 0,'-15'-6'32'0,"-53"-5"-1776"16,39 9 501-1,-1 6-1234-15,-29 13 41 16,-9-2-436 0,13 6 1569-16,-11 3 894 15,-1-7 727-15,14-1 1856 16,5 1 203-16,-15-4 238 15,17 2-1196-15,14-7-170 16,5 3 840-16,18-7-727 16,0 0-224-16,9-4-282 15,16-4-146 1,7-8 398-16,41-12 309 0,27-8-1673 16,4 3-395-1,12-5 417-15,4 6 268 16,-12-1-25-16,24-5-31 15,10 6-473-15,114-12-419 16,-124 25 788 0,-4 5-478-16,0-3 427 15,-1 11 155-15,-31-2 219 16,12 4 258-16,-27-9-164 16,-15 16-97-1,5-5 313-15,-17-4-185 16,-31 2-286-16,1 0 47 15,-13 0-235-15,-2 2-410 16,-2 2 273-16,-23 11 289 16,-32 0 0-16,-3-11 83 15,-33 6 86-15,-108-3 432 32,76-5-520-32,-2 0-85 15,4 4 172-15,-4 5-78 16,-6 1-44-16,12 1-59 15,-12 8 230-15,35 1 292 16,-9-8-198-16,37-1-214 16,-7 4-131-16,26-8 4 15,27-5 38-15,17-2 34 16,7-2-264-16,21 0 42 16,42-9 1205-1,16-8-217-15,35-8-541 16,32 0-593-16,0 2-1108 15,23 3 1100-15,13 5-197 16,7 5 12-16,-13 8-40 16,10 4 160-16,-14 7 398 15,-31 1 272-15,-37-4-95 16,-6 5 240 0,-16-9 631-16,-40 5 640 15,-6-3-146-15,-34-4-1362 16,0 4-583-16,-10 4 301 15,-51 12-26-15,-15-8 104 16,-32 5-124-16,-6-11 61 16,-32-8 138-16,-19 10 239 15,-23 5-509-15,14-2 304 16,-38 8-170 0,24 0-33-16,2 2-264 15,29 9 334-15,12-2 63 16,27-5-58-16,7-6 268 15,37 0-343-15,9-7 294 16,23-4-312 0,29-3 196-16,7-1 148 0,19-4 40 15,53-15 822-15,25-6-156 16,27-9-885 0,33-4-46-16,8 12-112 15,1 3-1236-15,24 4 122 16,-10 7-994-16,7-1 682 15,-7 7-615-15,-37 6-708 16,-12-4 1802 0,-17 2 1268-16,-40 2 2151 0,-11 0 494 15,-23-2-658-15,-21 0-333 16,-15 0-1465-16,-27 4 150 16,-33-2-40-1,-44 7 706-15,-4-3-872 16,-30 3-257-1,-44-1-127-15,13 7-180 0,-9 4-910 16,-2 8 175-16,-8-5-1003 16,15 8 1268-16,23-5 443 15,39 0 116 1,22-10 429-16,35 0 503 16,19-5-477-16,25-3-351 15,8-5-21-15,14 4 858 16,39-6 1489-16,53-12-823 15,24-10-968-15,36-1-2414 16,-1 4-970-16,45 0 1522 16,-22 6-1653-16,-14-2-743 15,-10 13 2274-15,-29 0 1062 16,-10-2 1533 0,-28 2 3082-16,-14-9-1463 15,-35 5-181-15,-24 6-750 16,-18 0-776-1,-4-2-695-15,-4 4-174 0,-77 11 218 16,3-7-206-16,-57 5 46 16,-19 1-452-16,-16 1 246 15,5 0-121-15,-13 10 176 16,6-2-1385 0,5 5-537-16,29 1 413 15,21-8 1106-15,30 7 450 16,12-12 1965-16,39-7-141 15,28-7-1222-15,10 2-177 16,44-4-265-16,15-15 59 16,65-9-918-16,26 1-2893 15,7 4 1158-15,29 4-1245 16,-7 4-433-16,-19 7 397 16,-7 12 2275-1,-3 0 926-15,-29 3 2439 16,-38-1 1267-16,-22-4 1153 15,-31-1-1943 1,-16-1-227-16,-24 0-2179 16,-45 13 692-1,-23 6 574-15,-30-8-249 0,-29 6-703 16,2-6-116 0,8-3-221-16,-37 1 50 15,-13 5-400-15,14 1-1134 16,8 5-2249-16,26 5-4426 15</inkml:trace>
  <inkml:trace contextRef="#ctx0" brushRef="#br1" timeOffset="199177.07">25695 3928 13645 0,'0'0'606'0,"-2"-4"-930"16,-4-2 255-16,-2 0-206 15,4-3-110-15,-5 1 0 16,1-1 196 0,-9-8 338-1,2 4 287-15,3 5 657 16,-6-5 1092-16,4 5-50 16,-16-3-148-16,5 2 1 15,3 1-589-15,-3 2-617 16,-5 1-207-16,0 4-332 15,-6 1-171-15,5 1-79 16,5 6-48-16,-6 4 29 16,5 1 33-16,-15 9-4 15,6 0-21 1,-4 3 11-16,12-1 450 16,5 5 66-16,-5-1-279 15,3 3 207-15,-5 3-234 16,12 4-89-16,-2 1-9 15,8-4 179-15,5 3 136 16,-3 2 117-16,3-6-50 16,11 6-64-1,5-1-81-15,-7 0 189 16,7 0-232-16,7-4-367 16,4-4 151-16,7-3-104 15,3-1 240-15,-4-5 0 16,0 4 354-16,8-6-150 15,11-2-169-15,1-2-177 16,-20-11-69-16,19 2 36 16,12-3-27-16,25-12-26 31,-33-3 21-31,-1-8-8 16,5-5-2-16,-17-1-1 15,-6 1-1-15,1-4 0 16,1-6 0-16,2-2 0 15,-6-2 0-15,-7 1 0 16,-9 0 0-16,4 7 0 16,-6-12 0-1,-1 5-76-15,-1 0 102 16,-16 2-72-16,1-4-30 16,-5 0-129-16,-6 4 105 15,-4 1 1-15,-13 6-18 16,-15 0-57-16,10 5-240 15,-13 5-597-15,-9 2-808 16,7 5-449-16,-12 5-2645 16,7 1-3699-16</inkml:trace>
  <inkml:trace contextRef="#ctx0" brushRef="#br1" timeOffset="201358.78">24946 4478 14926 0,'0'0'1034'0,"0"0"100"16,0 0-380-1,0 0-531-15,0 0-870 16,-14 13-285 0,3-2 766-16,-3 6 538 15,0 2 684-15,0 9 50 16,1 1-265-16,-14 9-172 15,4-4-186-15,1 6-189 16,-4 9 519-16,12-5 29 16,-5 9-245-1,8 2 196-15,-10 4 215 16,-1-1-352-16,2 3-236 16,-1 1-5-16,-3-3-358 15,1 2-122-15,6-6 105 16,-2 8 167-16,13 5 76 15,-13-4 194-15,-9 2-314 16,3 3-1-16,-1 1 195 16,-1-4 122-16,1-3 540 15,10 3-348 1,-6 2-161-16,-1-3 19 16,2-1-206-16,-10 6-149 15,9-9-77-15,-1 0 21 16,4 7-143-16,0-9-67 15,5 5 123-15,0 6-20 16,-16-7-158 0,3 1 120-16,1 0-132 15,8-14 232-15,4-3 33 16,4-5-48-16,0-12-37 16,3-16 178-16,3-3-143 15,4-9-84-15,-2 0-212 16,2-2 61-16,8-15 73 15,5-25-71-15,-1-13-796 16,6-6-172-16,-4-11 355 16,4 11 331-16,9-15 70 15,-8 6 338 1,-4 5 311-16,-1-14-127 16,2 1 329-16,7-5-272 15,4 4-21-15,0-4-117 16,10-4-82-16,-12 5 66 15,2-5-93-15,3 7 197 16,-2-1 215-16,1 3 397 16,5 0-700-16,-4 9 7 15,-3 5 407 1,5-5-612-16,-8 7 122 16,11 5 58-1,3 0-65-15,-6 7-123 0,-12 0-61 16,7 11 18-16,19-12-268 15,-5 11-95-15,-5 6 7 16,-2-2 125-16,12 6 75 16,13-7 136-16,-20 12 150 15,3-3-18 1,0 5 471-16,17 2-85 16,-21 2 178-16,-3 2-84 15,1 5-45-15,14 3-193 16,-3 3 192-16,-7 4-312 15,-9 8 51-15,10 5-301 16,5 2 47-16,-14 0 182 16,-2 4 304-1,0 2-144-15,-5 2 100 16,5 3 124-16,-1-1-24 16,1 3 64-16,-9-3-213 15,-2 5 112-15,-2 8-193 16,-6-6-145-16,1 8 77 15,-5-4-48-15,-3 8 41 16,-2 1-102-16,4-8 114 16,0 6 29-1,3-1-47-15,-7 3-40 16,3-3-15-16,-7 4-6 16,2-7-3-16,0 7 0 15,-3-3-1-15,-1 5 0 16,-11 41 0-1,7-44 0-15,-1-3 0 16,3 6 0-16,0 4 0 16,2-10 0-1,-8 5 0-15,4-1 0 16,0 7 0-16,-7 0 0 16,-4-7 0-16,-2 7 0 15,4 3 0-15,-4-4 0 16,-3-1 0-16,8 8 0 15,1-6 0-15,4 2 0 16,-8 5 0 0,-5-7 0-16,4-5 0 0,-6 5 0 15,5-4 0 1,-5-1 0-16,12-1 0 16,-6 10 0-16,6-8 0 15,-7 0 0-15,-3-1 0 16,2-6 0-16,4-3 0 15,-1-10 0-15,7-5 0 16,3-10 0-16,5-5 0 16,1-5 0-1,3-2 0-15,-2-2 0 16,2 2 0-16,0-2-337 16,2 2-350-16,3 1-656 15,1-6-2523-15,3 1-1949 16</inkml:trace>
  <inkml:trace contextRef="#ctx0" brushRef="#br1" timeOffset="202266.53">24028 6889 21396 0,'0'0'2185'15,"-4"3"-786"-15,4-3-1042 16,-5 2-1720-16,5 0-369 16,5 4-68-16,-1 1 193 15,2 1-479 1,11 3 772-16,1-1 1282 16,8 3 1475-16,15 1 761 15,-9 2-403-15,-5 0 137 16,15 8 325-16,18-1-876 15,-7-4-945 1,-5 4 64-16,16 1-507 0,-1-1 65 16,5-4 87-16,8 0-57 15,-16-6 438 1,11-1-15-16,8-3 314 16,-3-1-422-16,-2-1 48 15,-8-3-18-15,-3-4-441 16,-3 0 126-16,-18-4 208 15,-3-3-30-15,-2 1 173 16,-1-1-186-16,-8-3-83 16,-12-1-124-16,-5 1-45 15,-2-7-15 1,-18-11-11-16,-8-3-419 16,-29-5-545-16,-5 6 73 15,-15 0 38-15,-15 10-284 16,-5-2-444-16,-4 3-3049 15,21 6-4401-15</inkml:trace>
  <inkml:trace contextRef="#ctx0" brushRef="#br1" timeOffset="205023.61">25501 3071 7687 0,'0'0'4996'16,"4"-2"-2710"-16,0 0-1024 15,-2 2-2160-15,-2 0-366 16,0 0-514-16,2-3-10 16,-2 3 665-16,0 0 921 15,0 0 673 1,0 0 762-16,-2 3 1310 16,0 1 235-16,-4 6-310 15,-6 29-219 1,3-16-1518-16,9 4 44 15,-7 37 117 1,5-30-393-16,0 0 488 16,0-7-67-1,0 1-127-15,2-1 40 16,0-4-288-16,2-1 54 16,2-3-200-16,-4-4-280 15,-2-7-60-15,0-4-114 16,2-2 68-16,0 1-127 15,0-3-355-15,0-7-3277 16,-2-14-4554-16</inkml:trace>
  <inkml:trace contextRef="#ctx0" brushRef="#br1" timeOffset="205483.61">25484 2991 29532 0,'0'0'427'15,"0"0"-866"1,3-4-832-16,11-3-1338 0,10 7 75 15,3 0 64-15,13 0-391 16,6 4 448 0,-18 3 2262-16,9-3 323 15,-6 2 444 1,-4 3 862-16,-14-3 54 16,-3 11 611-16,-3 0 564 15,-11 8-569-15,-15 7-602 16,-9 2-690-16,1-9-581 15,-3-2-888-15,5-1 39 16,3-5 275-16,-10 0 162 16,-8-5 82-16,7-5 243 15,9-3 152 1,-3-2-176-16,2-4-68 16,6 0-226-16,10 2-935 15,0 0-2003-15,3-4-3174 16</inkml:trace>
  <inkml:trace contextRef="#ctx0" brushRef="#br1" timeOffset="206344.57">25887 3175 20788 0,'-3'2'1794'15,"-5"19"-2200"-15,-3 9-230 16,9 4-348-16,-4 3-2468 16,-3-1 1364-16,5 3 1223 15,6-3 455 1,-6-5 629-16,0-1 409 16,-2-9 559-16,6-8 72 15,0-9-199-15,0 0 605 16,0-4 334-16,6-14 833 15,-2-29-1167-15,21-7-1035 16,-10-8-699-16,2-3-2606 16,-3 4-105-1,2 6-874-15,5 9 1606 16,-13 16 1736-16,3 11 1972 16,-9 7-169-16,-2 4-252 15,0 4-584-15,-6 8 682 16,-5 22-18-16,-2 6 154 15,-3 2-633-15,2-2-364 16,12-4-33-16,14 2 34 16,-2-9-133-16,9 0-112 15,0-14-50 1,-2-3 39-16,-3-8-141 16,2-6-24-16,13-9-225 15,13-12-190-15,0 2 285 16,-14 1-27-16,2 5 78 15,-3 2-204-15,-1 0-340 16,8 2-741-16,-11 1-357 16,-1 1 90-1,-6 2 605-15,-6 5-95 16,-7 4 980-16,1-1 546 16,-4 8 65-16,0 20 2510 15,-11 15-587-15,-3 13-745 16,-6 5-297-16,-7-1-261 15,1 4-8-15,4-8-351 16,10-6-519 0,8-5-170-16,-4 0-60 0,4-10-24 15,2-7-8 1,-2-4-387 0,6-1-1930-16,0-1-3501 0,4-7-4854 15</inkml:trace>
  <inkml:trace contextRef="#ctx0" brushRef="#br1" timeOffset="-197333.88">26745 3492 6598 0,'0'-2'3617'16,"-2"-4"-844"-16,4-3-298 15,-4 1-998-15,2-3-1346 16,-2-2-1617-16,-2-1 131 15,6-1 211-15,2-4 366 16,-6 6 346 0,0 1 613-16,0-8 652 15,4-1 2284-15,-6 2-109 16,2-2 348-16,-4 2-557 16,6-2-852-16,2 2-321 15,-4-5-669-15,-6 3-277 16,3 0-506-16,-8 0-121 15,-1-2-10-15,-12-1 50 16,19 3 110-16,-5 0 224 16,-4 0 7-16,-2 0-190 15,-1-3 158 1,8 7-245-16,1-2-75 16,1 5-45-16,-9 1-17 15,4 2-11-15,2 3-5 16,-5-3-1-16,2 1-2 15,7 3-1-15,-5-1 1 16,3-3-1-16,-12 1 0 16,2-1 0-1,12 5 0-15,-4-3 0 16,4 7 0-16,-1-2 0 16,-8 2 0-16,2 2 0 15,1-2 0-15,-6-1 0 16,2 2 0-16,1 1 0 15,2 0 0-15,-10 0 0 16,9-3 0-16,12 3 0 16,-4-1 0-16,2 2 0 15,-10-1 0 1,-2 4 0-16,-3-4 0 16,1 3 0-16,2-3 0 15,0 0 0-15,-5 0 0 16,4 0 0-16,4 0 0 15,5 2 0-15,-6 4 0 16,-6 1 0-16,-2 1 0 16,-1-2 0-16,-7 3 0 15,2-5 0 1,14 0 0-16,-7 3 0 16,5-1 0-16,-18 3 0 15,19-5 0-15,-12 0 0 16,6 0 0-16,1 1 0 15,-7-1 0-15,5 2 0 16,16-4 0-16,-18 4 0 16,-1 3 0-16,-5-3 0 15,4 1 0-15,6 1 0 16,-2-2 0-16,5 3 0 16,-7 0 0-16,-2-1 0 15,-2 1 0-15,2-3 0 16,9 2 0-16,-3 5 0 15,4 0 0-15,-8 6 0 16,3-5 0-16,-9 6 0 16,-27 16 0-1,40-15 0 1,0 0 0-16,-7 2 0 16,-3 2 0-16,-3-1 0 15,8-1 0-15,0 6 0 16,-2 1 0-16,3 0 0 15,-13 6 0 1,4-2 0-16,-31 38 0 16,39-36 0-16,12 2 0 31,-7 6 0-31,-3 1 0 0,2 1 0 16,-8 3 0-16,2-4 0 15,-1 10 0-15,11-7 0 16,-6 5 0-16,9 6 0 15,4-1 0-15,-3-1 0 16,-15 4 0-16,11-6 0 16,6 0 0-1,-5 5 0-15,0 3 0 16,3-2 0-16,-5 5 0 16,1-7 0-16,12 7 0 15,-6 2 0-15,0-7 0 16,-4 2 0-16,8 7 0 15,0-10 0-15,0 1 0 16,-5 4 0-16,7-1 0 16,0-5 0-16,-7 11 0 15,2-11 0 1,-1 5 0-16,4 4 0 16,-6-7 0-16,2 0 0 15,4 5 0-15,-2-3 0 16,1-3 0-16,5 1 0 15,-6-4 0-15,5 0 0 16,-3 1 0-16,8-1 0 16,-4-4 0-1,6 6 0-15,-4-6 0 16,5-4 0-16,-1 5 0 16,-4-7 0-16,4 2 0 15,3 2 0-15,1 3 0 16,-2-5 0-16,0 0 0 15,8 8 0-15,-6-6 0 16,-8-36 0-16,4 23 0 16,-4-26 0-16,6 29 0 0,5 5 0 0,2 5 0 15,-9-7 0 1,2 1 0-16,9 2 0 16,5-10 0-16,0 2 0 15,-5-3 0-15,6 0 0 16,2 2 0-16,1-6 0 15,-1-3 0-15,2 3 0 16,-1-4 0-16,-7 1 0 16,-1-1 0-16,14-3 0 15,-2-2 0 1,5 3 0-16,-5-5 0 16,-2-4 0-16,9 0 0 15,17 0 0-15,1-2 0 16,-15-7 0-16,10-8 0 15,11-2 0-15,-4-7 0 16,7-1 0-16,3-3 0 16,-3-4 0-16,-5-6 0 15,6-9 0 1,9-4 0-16,5-17 0 16,-10 2 0-16,-14-6 0 15,15-11 0-15,6-8 0 16,-8-2 0-16,-56 63 0 15,58-54 0-15,-7-18 0 0,-10-2 0 16,19-9 0-16,-15 1 0 16,-9 2 0-1,-1 2 0-15,1-7 0 16,-7 3 0-16,-10-7 0 16,8 7 0-16,5-12 0 15,-2 6 0-15,-9-3 0 16,-3 0 0-16,2 5 0 15,-1-5 0-15,-1 4 0 16,-7 1 0-16,-2-3 0 16,2 0 0-1,-10 5 0-15,-4 4 0 16,5-11 0-16,-4 10 0 16,-8-5 0-16,7-3 0 15,-7 5 0-15,-3 6 0 16,3 4 0-16,-10 0 0 15,2 0 0-15,8 6 0 16,-11-2 0-16,9 5 0 16,-1 0 0-16,3 1 0 15,-6 10 0 1,-2 1 0-16,-5 7 0 16,3-1 0-16,-3 9 0 15,0 3 0-15,-3 9 0 16,-8 1 0-16,12 8 0 15,-10 9-254-15,7 4-1828 16,-1 8-2955-16,-10 7-5842 16</inkml:trace>
  <inkml:trace contextRef="#ctx0" brushRef="#br2" timeOffset="60250.05">9279 4182 24888 0,'0'0'-186'0,"0"2"-74"16,0 9 89 0,-6 4-90-16,3-1-806 15,-3 5-564-15,0 1 593 16,-5 7 577-16,9 1 521 16,4 3 1933-16,-4 9 389 15,4 1 143-15,0 6-348 16,0-3-901-16,0 5-315 15,-4-1-53-15,7 3-485 16,-3 2-265 0,6 0-100-16,-6-3-37 15,5-1-14-15,-12 4-4 16,8-8-2-16,-3 3 0 16,2-1-1-16,-2 0 0 15,2-5 0-15,0 2 0 16,5-3 0-16,-14 1 0 15,7-12 0 1,0-5 0-16,2-4 0 16,-6-6 0-16,6-7 0 15,-4-1-64-15,2-5-680 16,0 0-638-16,0-2-252 16,0-2-3834-16,0-13-4897 15</inkml:trace>
  <inkml:trace contextRef="#ctx0" brushRef="#br2" timeOffset="61036.06">9916 4131 9321 0,'0'0'6492'16,"0"0"-2536"-16,0 0-1673 15,-2 3-847-15,-6 3-522 16,4 2-639-16,-26 14-79 16,7 1-2-16,-7 4 460 15,-6 5 340-15,-3 0 95 16,-11 0-153-16,9-7 53 15,-3 7 31-15,2-3-457 16,-11-3-284 0,19-12 39-16,2 5-4 15,-13-2 22-15,10-6-213 16,-3-9-73-16,18-2-32 16,0-2-9-16,9 0-6 15,2 0-1-15,3 0-1 16,2 0-49-16,2-1-129 15,-3 3-49-15,3 0-157 16,0 0 32 0,6 5 19-16,1 5 177 15,10 10 58-15,-2 3 189 16,13 7 107-16,-4 1 207 16,12 5 183-16,-3 0-288 15,1 9-184-15,-4 5-73 16,12 3-29-16,3-4-10 15,3-1-3-15,-11-1-1 16,8 6-1 0,-1-2 0-16,3 2 0 15,-3-3 0-15,-8 2 0 16,-4 2 0-16,6-5 0 16,-11-6 0-16,3-14 0 15,-22-10 0-15,-2-10-1084 16,-2-5-2388-16,11-10-4434 15</inkml:trace>
  <inkml:trace contextRef="#ctx0" brushRef="#br2" timeOffset="61892.98">10301 4146 20467 0,'0'0'1292'0,"-2"13"-218"16,0 17 345-16,0 14-466 16,-7 7-609-16,3 19-77 15,-7 10 379-15,1-1 653 16,8 5 497-16,0-10-302 15,-12 11-291-15,8-9-851 16,-9 0-241 0,8-6-77-16,1-10-24 15,2-2-6-15,4-15-3 16,-5-5 0-16,1-12-1 16,2-14 0-16,4-6 0 15,2-3 0-15,-2-3 0 16,-2-20 0-16,0-17-131 15,0-16-173-15,6-9 64 16,0-1 136 0,2-13-130-16,5-1 204 15,6-11-185-15,4-1-347 16,1 2 309-16,7 6 202 16,1-3 81-16,-8 13-131 15,4 10 134-15,6 9 40 16,-7 11 388-16,-1 14 22 15,-4 3-360-15,2 10 134 16,-12 5-183 0,14 11 273-16,1 15-189 15,7 15-44-15,-3 15-68 16,-1 10-29-16,4 2-11 16,-5 11-4-16,-5 10-1 15,-2 5-1-15,-2 0 0 16,5 4 0-16,0-3 0 15,-6-1 0-15,2-9 0 16,-14-59 0-16,5 36 0 16,6 10 0-16,0-12 0 15,-14-9 0-15,2-8 0 16,0-12 0-16,3-5 0 16,-5-11 0-16,-4-4-740 15,2 2-1313-15,-5-10-5401 16</inkml:trace>
  <inkml:trace contextRef="#ctx0" brushRef="#br2" timeOffset="62228.98">10081 4711 21076 0,'-6'-2'4212'15,"2"-2"-2911"-15,2 0 9 16,8-9-541-16,29-4-158 16,1 1-232-16,24 3 395 15,-1-2 174-15,-6 4-65 16,26 2-536-16,-7 4-241 15,-26 0-74-15,13 3-20 16,-4 2-7 0,-19 2-4-16,-12-2 0 15,-14 2-1-15,-3-2-1406 16,-5 0-2387-16,-2 0-2160 16</inkml:trace>
  <inkml:trace contextRef="#ctx0" brushRef="#br2" timeOffset="63098.18">10907 4216 12428 0,'0'0'7211'0,"10"15"-1102"0,9 19-2539 16,-3 6-2554 0,-2 11-1425-16,7 8-336 15,-6 4 129-15,-9 12 577 16,3-3 875-16,-1-2 863 16,-2 6-534-16,-4-11-804 15,0 7-239-15,6-13-83 16,-16-1-26-16,4-16-9 15,0-6-2-15,-2-8-2 16,4-18 1 0,0-6-1-16,2-1 0 15,0-3 0-15,-11-24 0 16,5-14 0-16,6-10 0 16,0-10 0-16,2-9 0 15,4-1 0-15,5-10 0 16,-1 1 0-16,-4 3 0 15,4 0 0-15,-2 2 0 16,0 4 0 0,-10 11 0-16,10 8 0 15,-6 18 0-15,0 3 0 16,-6 11 0-16,4 9 0 16,-4 3 0-16,4 5 0 15,6 24 0-15,8 18 0 16,2 11 0-16,3 17 0 15,7 2 0 1,10 9 0-16,-5-1 0 16,3 7 0-16,-12-1 0 15,13 5 0-15,1-8 0 16,4-5 0-16,-14-4 0 16,-5-12 0-16,3-9 0 15,-12-17 0-15,-4-17 0 16,-3-11 0-16,-3-5 0 15,0-6 0-15,7-24 0 16,-3-28 0 0,-2-9 0-16,-2-18 0 15,0 1 0-15,-6-14 0 16,2-2 0-16,-2-5 0 16,8 5 0-16,-10-1 0 15,2 5 0-15,-10 9 0 16,8 13 0-16,0 6 0 15,4 12 0-15,-6 11 0 16,10 16 0 0,-6 9 0-16,4 9-1561 15,-4 4-3556-15,1 8-4762 16</inkml:trace>
  <inkml:trace contextRef="#ctx0" brushRef="#br2" timeOffset="64143.03">11817 4233 3619 0,'0'0'9161'0,"4"13"-594"16,6 23-2857-16,-3 6-3286 16,-5 19-1595-16,1 7-642 15,-6 9 30-15,8 3 96 16,-12 5 322-16,5-1 139 15,2-3-545-15,2-9-160 16,9-1-47 0,-7-13-15-16,-8-10-4 15,12-12-3-15,-8-13 1 16,-2-7-1-16,2-10 0 16,-2-2 0-16,2-4 0 15,0-15-705-15,2-27-311 16,-4-17-233-16,0-7-16 15,2-4 710 1,-13-2 458-16,0 4 645 16,-2-3 291-16,5 3 349 15,2 4-320-15,-3 1 49 16,8 1-572-16,-7 1-225 16,8-3-79-16,10 10-28 15,-1-2-8-15,16 6-3 16,9 5-1-16,8 7-1 15,15 4 0 1,-16 11 0-16,7 4 0 16,15 8 0-16,-14 11 0 15,-7 11 0-15,-2 12 0 16,-11 11 0-16,-5 4 0 16,-6 8 0-16,-14 1 0 15,-12 4 0-15,-13-9 0 16,-3 3 0-16,-6-5 0 15,1-11 0 1,-1-1 0-16,0-9 0 16,0-4 0-16,12-9 0 15,13-3 0-15,-1-1 0 16,4 0 0-16,-1-2 0 16,5 0 0-16,5 0 0 15,14 0 0-15,19 2 0 16,2 4 0-16,3 5 0 15,15 8 0-15,-5 4 0 16,-10 7 0 0,-9-1 0-16,8 7 0 15,0 0 0-15,-7 4 0 16,-11-4 0-16,-8 3 0 16,-14-3 0-16,-16 4 0 15,-10 0 0-15,-21-2 0 16,5-10 0-16,-9 1 0 15,-21-5 0 1,1-7 0-16,-12-5 0 16,9-8 0-16,-5-1 0 15,-7-8 0-15,23-3 0 16,16-5 0-16,-12-6 0 16,15-6 0-16,16-1-2353 15,-1-18-4525-15,20-7-3634 16,5 37 7602-16</inkml:trace>
  <inkml:trace contextRef="#ctx0" brushRef="#br2" timeOffset="64743.07">12638 4108 31710 0,'2'5'-452'16,"7"18"-88"-16,3 21 343 15,2 11 179-15,-20 15-118 16,6 19 157-16,-12-2 121 16,0 6 519-16,3-12 406 15,11 5-708-15,-4-12-257 16,0-8-70-16,-5-7-22 15,12-19-6-15,-3-14-3 16,2-9-1 0,-4-9 1-16,2-6-1 15,-4-6 0-15,0-36 0 16,0-30 0-16,8 0 0 16,-1-11 0-16,15 1 0 15,-6 4 0-15,-4-5-155 16,4 7-90-16,4-4 167 15,13 4 165 1,-3 11-364-16,4 5 316 16,-1 18-87-16,-5 9 184 15,-5 16 71-15,2 10-28 16,5 18-92-16,13 17-44 16,-4 16-27-16,-5 14-10 15,2 14-4-15,-7 12-1 16,11 3-1-16,-6 2 0 15,4-4 0-15,-4 2 0 16,-13-11 0 0,-1-4 0-16,4-14 0 15,-1-16 0-15,-6-12 0 16,-8-11-234-16,-3-10-1960 16,-2-7-2793-16,-4-4-4175 15</inkml:trace>
  <inkml:trace contextRef="#ctx0" brushRef="#br2" timeOffset="65020.07">12570 4553 32767 0,'0'0'0'0,"10"-3"0"16,16 2 0-16,13-6 0 15,11-5 0-15,9-4 0 16,11 2-478-16,-9-3 53 16,18 4 186-16,-7-2-225 15,-15 9-2056-15,24-1-3553 16,-29-1-2848-16</inkml:trace>
  <inkml:trace contextRef="#ctx0" brushRef="#br2" timeOffset="65795.06">13546 4140 32767 0,'0'6'0'15,"17"39"0"-15,-19 6 0 16,4 14 0-16,0 17 0 16,-4 10 0-16,0-1 0 15,-2-11 0-15,8 0 0 16,7-5 0-16,-15-5 0 15,4-15 0-15,0-11 0 16,0-14 0 0,4-20 0-16,-4-3 0 15,0-7 0-15,2-15 0 16,6-40 0-16,9-32 0 16,-4-15 0-16,4 5 0 15,0 6 0-15,-13-2 0 16,4-1-228-16,-8 10 164 15,5 10 110 1,-5 13 115-16,-5 4-106 16,5 14-37-16,-6 9-11 15,6 13-4 1,0 11-2-16,2 5-1 0,-2 3 0 16,2 13 1-16,5 31-1 15,3 11 0-15,2 13 0 16,10 7 0-16,6 6 0 15,-22-62 0-15,19 53 0 16,-3 14 0-16,-2 7 0 16,8-4 0-16,11-4 0 15,-3-7 0-15,-1-13 0 16,-13-18 0-16,-6-9 0 16,0-13 0-16,-8-10 0 15,2-7 0-15,14-12 0 16,1-26 0-1,5-32 0-15,-3-3 0 0,-20-12 0 16,9-18 0 0,1 4 0-16,-6-7 0 15,0-5 0-15,-5 7 0 16,10 1 0-16,-2 10 0 16,-8 7 0-16,-2 18 0 15,4 12 0-15,-3 11 0 16,-5 16 0-16,0 10 0 15,0 7-1825-15,-7 11-7638 16</inkml:trace>
  <inkml:trace contextRef="#ctx0" brushRef="#br2" timeOffset="66924.16">8597 5609 1441 0,'0'0'7623'0,"6"2"-1737"15,8 4-1186-15,6 1-1689 16,8-1-1659-16,9-6-641 16,2 0-1322-16,15-2 268 15,-4 0 321-15,5 2 1220 16,24-2 598-16,-3-1-329 15,-15 2 159-15,15-4-233 16,15 5-303 0,-15-6-782-16,16 1-208 15,7-3-70-15,0 0-22 16,3-1-6-16,-6 3-1 16,3-7-1-16,11 9 0 15,-24-7 0-15,21 7 0 16,0-2 0-16,-10 2 0 15,16 1 0-15,-20 2 0 16,13 2 0 0,-4-1 0-16,14 0 0 15,-10-1 0-15,-9 1 0 16,7 0 0-16,-7 1 0 16,17-2 0-16,-4-2 0 15,5 6 0-15,-5-8 0 16,-13 3 0-16,26 2 0 15,-23-2 0-15,15 2 0 16,2 0 0 0,-20 0 0-16,31 0 0 15,-24-2 0-15,-1 2 0 16,13 4 0-16,-12-6 0 16,6 6 0-1,5-2 0-15,-4 1 0 0,4-2 0 16,-2 2 0-16,9-3 0 15,-6 0 0-15,-8-3 0 16,17 2 0 0,-2 1 0-16,-18-3 0 15,16 1 0-15,-4 2 0 16,-16-4 0-16,-1 6 0 16,-7-2 0-16,-11 2 0 15,9 3 0-15,-27-5 0 16,8 8 0-16,-10-11-857 15,-20 8-5071-15,-8-3-5560 16</inkml:trace>
  <inkml:trace contextRef="#ctx0" brushRef="#br2" timeOffset="120101.95">10712 6060 19795 0,'0'0'1463'0,"-2"0"-70"15,0 0-459-15,2 0-516 16,0 0-956-16,0 0-499 16,0 0-68-16,0 0 352 15,0 0 232-15,2 4 534 16,-2 2 1639-16,0 1 517 15,2 3 287 1,6 5-143-16,-4 2-591 16,6 2-496-16,-8 0-630 15,2 5-293-15,-2-1-160 16,-4 2-77-16,4-2-35 16,2 3-16-16,0-1-8 15,2 30-2 1,-4-27-5-16,-4-1 1 15,6 3-1 1,1-1 0-16,1 1 0 16,-1 0 0-16,-1 6 0 15,-4 0 0-15,6-2 0 16,-2 4 0-16,-2 2 0 16,-2 4 0-16,0-1 0 15,3-6 0-15,3 8 0 16,-8 2 0-1,6-2 0-15,4 1 0 16,-6-2 0-16,-4 3 0 16,4-1 0-16,0 5 0 15,1-4 0-15,-8 3 0 16,1-1 0-16,0-4 0 16,4-1 0-16,-2 5 0 15,2-2 0-15,-4-6 0 16,0 8 0-16,1-2 0 15,-1-2 0 1,0-1 0-16,-6 5 0 16,5-5 0-16,-2-2 0 15,1 5 0-15,4 2 0 16,-4-5 0-16,8 1 0 16,2-3 0-16,-14 6 0 15,12-5 0-15,4-1 0 16,-8 1 0-16,-2 1 0 15,2-2 0-15,0 3 0 16,4-3 0 0,0 5 0-16,-2 1 0 15,0-8 0-15,-2 11 0 16,4 2 0-16,-4-13 0 16,4 7 0-16,0 4 0 15,-4 8 0-15,0-8 0 16,6 6 0-16,-6 5 0 15,2-8 0-15,0 1 0 16,-8 5 0 0,4-16 0-16,8-3-19 15,-4-5-2176-15,-2-13-2521 16,0-8-2980-16</inkml:trace>
  <inkml:trace contextRef="#ctx0" brushRef="#br2" timeOffset="121660.83">12136 5958 13869 0,'0'0'1552'16,"0"0"-638"-16,0 2-155 15,2-2-405-15,-2 4-241 16,0 3-78-16,2 1 124 15,-2 1 407 1,5 1 207-16,0 3 482 16,-1 2 879-16,-4 4-136 15,2-2-464-15,0 2-41 16,0 4-243-16,-4 1-275 16,6-1-223-16,-6 7-124 15,2-1-98-15,-2-1-423 16,4 3 50-1,-4 1-69-15,6 2 7 16,-2 4-73-16,-2-2 173 16,-4 0 36-16,2 4-133 15,2 0-20-15,6 3-45 16,-4-3-21-16,0 2-7 16,0 1-3-16,0 7-1 15,0-9-1-15,2 3 0 16,1 3 0-16,-5 6 0 15,0-11 0-15,0 5 0 16,7 1 0 0,-7 3 0-16,0-7 0 15,0 3 0-15,-5 4 0 16,3-1 0-16,4-3 0 16,-4 4 0-16,2 2 0 15,0-6 0-15,0 3 0 16,2-1 0-16,1 6 0 15,-1-7 0-15,-9 1 0 16,5 7 0 0,-3-8 0-16,3 1 0 15,2 1 0-15,-4 5 0 16,0-3 0-16,4-4 0 16,4 5 0-16,-2-4 0 15,-6-1 0-15,0 1 0 16,4 6 0-1,-2-9 0-15,-2 1 0 0,8-1 0 16,-6 6 0 0,2-12 0-16,-2 4 0 15,2-2 0-15,-2 7 0 16,4-9 0-16,0 0 0 16,-2 3 0-16,0 8 0 15,2-9 0-15,-4 3 0 16,4-1 0-16,0 9 0 15,2-11 0 1,4 5 0 0,1-5 0-16,-6 11 0 0,-1-11 0 15,2 5 0-15,-6 4 0 16,0 8 0-16,0-8 0 16,2 0 0-16,-7 4 0 15,4-15 0-15,3-9-2158 16,-4-9-3722-16,0-12-5063 15</inkml:trace>
  <inkml:trace contextRef="#ctx0" brushRef="#br2" timeOffset="123231.56">10966 6316 26105 0,'0'0'103'0,"0"0"-63"16,0 0-136 0,2 0-427-16,-2 2-328 15,2 0-288-15,-2 0 78 16,4 3 524-16,7 1 1085 16,4-4 527-16,6-2 349 15,13 0 152 1,4-2-182-16,11 0-4 0,10-2-693 15,-15-1-152-15,18 1-44 16,-3 2-142 0,-6-3-298-16,17 5 27 15,-9 0-123-15,-10 3 84 16,11-1-93-16,-8 2 152 16,-19-2-201-16,0 0 70 15,-3 1-3-15,2-2 106 16,4 2-45-1,-11-1-40-15,-7-2-13 16,-4 0 165-16,-8 0-203 16,-8 0 20-16,8 2-29 15,-8-2-32-15,0 0 66 16,0 0 18-16,0 0-7 16,0 0 54-16,0 0-27 15,-6 2-1-15,2-2-1 16,2 0-97-16,2 2-18 15,-2 9 131-15,4 2 84 16,4 8-14 0,2 2 182-16,-4 0-52 15,2 5-56-15,6 6-12 16,-3 6 46-16,-7 2-118 16,-2-4-50-16,4 11-18 15,3-3-8 1,-9 7-3-16,4-6-1 0,4-1-1 15,-12 7 0 1,4-8 0-16,0-5 0 16,-11 3 0-16,0-10 0 15,9 1 0-15,2-13 0 16,0-4 0-16,0-4 0 16,-2-2 0-16,2-5 0 15,2-2 0-15,0-2 0 16,-8 2 0-16,-2-1 0 15,-4-3 0-15,-1-3 0 16,-4-1-112 0,0-2-258-16,-13 0-120 15,6 3 130-15,7-1 273 16,-19 8-40-16,-15 1 193 16,5-7 39-16,6 6 49 15,-9 2 91-15,-9 0-194 16,15-3-112-16,-9 3-87 15,-9 2 29 1,11-5-201-16,3 1 581 16,5 0-164-16,-15 0 296 15,17-2-166-15,8-2-15 16,0 7-28-16,15-5-164 16,-4 0 7-16,6 0 48 15,8-2-42-15,5 0-16 16,2-2-7-16,0-4-3 15,0-9-2-15,0-4-3 16,2-18 0 0,4-3-1-16,2-2-1 15,-4-6 0-15,-10-10 0 16,8 5 0-16,-6-8 0 16,6-2 0-16,-6 3 0 15,-2-1 0-15,6-3 0 16,-4 1 0-16,0 1 0 15,4 7 0 1,4 2 0-16,-2 5 0 16,-2 10 0-16,8 4-316 15,2 2-539-15,-6 15-1594 16,0 4-3000-16,1 5-3231 16</inkml:trace>
  <inkml:trace contextRef="#ctx0" brushRef="#br2" timeOffset="124563.75">11078 7539 24311 0,'5'0'-41'0,"20"4"305"16,25 1-163-16,-7-5-142 15,-11 0-102-15,23 2 95 16,9 2 8-16,-8-2 855 16,-7 5 666-16,10 1 892 15,-8-6-806-15,-2 2-364 16,4 1-589-16,-13-1-403 15,-7-2-130-15,-9-2-50 16,0 0-16 0,-1 2-8-16,-5-2-4 15,0-2-2-15,-8 2 0 16,10 0-113-16,-8-2-452 16,3 2-542-16,-11 0-105 15,0-3 66-15,-2 3-120 16,2 3 149-16,-1 1 586 15,-1 7 633 1,-7 8 439-16,-1 0 194 16,0 6 499-16,4 3-148 15,-3 4-98-15,8 1-238 16,-3 3-65-16,0 7-164 16,0 3-276-16,0 5-150 15,-3-2-60-15,6 0-23 16,3 1-8-16,-2-6-3 15,-6 1-1 1,-2-1-1-16,4-12 0 16,0-2 0-16,-2-3 0 15,-5-5 0-15,-1-4 0 16,-4 2 0-16,-2-1 0 16,0-2 0-16,1-7 0 15,-8 5 0-15,4-4 0 16,-2-1 0-16,-8-1 0 15,-12-3 0-15,5-6 0 16,4 0 0 0,-1-2 0-16,-1-2 0 15,-10 1 0-15,0-3 0 16,12-2 0-16,11 3 0 16,-15-1 0-16,-4-2 0 15,1-1-188-15,2 5-77 16,14 4-270-16,4-2 197 15,7 0 186-15,-4 0 20 16,0 2 182 0,-5 0 25-1,14 0 58-15,-5 0-3 0,1 0-36 16,3 0 35-16,6 0-73 16,-4-3-38-16,-6-7-4 15,-2-3-7-15,4-4 188 16,0-4 111-16,0-13-91 15,-1 3-107 1,2-16-59-16,-5 0-30 16,5-4-11-16,1 5-6 15,-4-18-1-15,-6 5 0 16,2 2-1-16,12-11 0 16,6 1 0-16,0-1 0 15,-6-2 0-15,4 4 0 16,-6 9-229-16,4 7-648 15,10 10-961-15,-3 12-1827 16,-1 11-3699 0</inkml:trace>
  <inkml:trace contextRef="#ctx0" brushRef="#br2" timeOffset="125743.75">11101 8693 27162 0,'9'2'-158'0,"12"-2"323"16,13 0-261-16,0-4-1187 15,4 2-525-15,6-1-105 16,13 3 1543-16,54-4 3863 31,-44 0-1896-31,-1-4 32 16,-9 3-14-16,9-1-395 15,-15-3-300-15,-13 3-569 16,6 2-203-16,-11 2-93 16,-5 0-33-16,-4-1-13 15,-11 2-5-15,-9 1-2 16,2 0-1-16,-4 1 0 15,2-1-1 1,-4 0 1-16,2 5-1 16,-6 7 0-16,2 3 0 15,-8 9 0-15,3 8 0 16,3 10 0-16,2 4 0 16,-5 7 0-16,7 6 0 15,-10 3 0-15,3-3 0 16,-1 9 0-16,0-7 0 15,-3-1 0-15,4 1 0 16,3-8 0 0,0-9 0-16,-2 0 0 15,2-5 0-15,-2-12 0 16,-6-4 0-16,10-10 0 16,0-2 0-16,2 0 0 15,-2-3 0-15,-2-4 0 16,-11 2 0-16,1-3 0 15,-10-3 0 1,-6-4 0-16,-1-3 0 16,-13-2 0-16,3 3 0 15,-1-2 0-15,-22-5 0 16,26 4 0-16,3-1 0 16,-30-7 0-16,11 11 0 15,18-2 0-15,-11-1 0 16,5 5 0-16,-9-1-261 15,9 5-66-15,19 0-121 16,-1 0 336 0,5 5 175-16,-4-4 317 15,10-1-43-15,2 0-178 16,7 0-79-16,0-4-25 16,2-15-17-16,2-10-18 15,6-13-10-15,7-14-6 16,2-3-3-16,-1-11 0 15,4-4-1 1,-8-2 0-16,-4 6 0 16,5-6 0-16,0 14 0 15,-5-3 0-15,-4 16 0 16,0 16 0-16,-2 13-528 16,-2 10-1905-16,0 8-4053 15</inkml:trace>
  <inkml:trace contextRef="#ctx0" brushRef="#br2" timeOffset="152642.03">15335 3806 9001 0,'0'0'5891'0,"0"0"-1712"0,0 1-1604 15,4 8-631 1,0 10-2017-16,0 9-1488 16,0 8 392-16,1 4 710 15,-10 4 740-15,14 7 2754 16,-2 6-324-16,3 2 172 16,-6 7-1077-16,5 6-640 15,-5 6-781-15,0 1-266 16,2 3-82-16,-2 3-26 15,-4 8-7 1,-8 0-3-16,8 0-1 16,-4-2 0-16,-6 6 0 15,-1-3 0-15,-4 1 0 16,-2-2 0-16,5 0 0 16,0-15 0-16,6-12 0 15,4-21-1779-15,0-22-5111 16</inkml:trace>
  <inkml:trace contextRef="#ctx0" brushRef="#br2" timeOffset="153513.69">8684 3827 25816 0,'0'0'469'16,"-4"6"-1587"-16,-6 20 510 15,1 15 341-15,0 17-32 16,5 12-871-16,2 15-26 16,-4 9 1122-16,3 6-39 15,-1 10 1119-15,4-4 1969 16,4 4-992-1,-12 5-406-15,4-6-463 16,4 10 40-16,-2-4-576 16,0-6-193-16,-2 0 23 15,4-6-301-15,0-4-78 16,0-14-21-16,-10-13-6 16,4-21-565-16,2-25-1786 15,-6-14-4354-15,-5-20-4780 16</inkml:trace>
  <inkml:trace contextRef="#ctx0" brushRef="#br2" timeOffset="155251.96">8726 3748 13677 0,'0'0'-116'16,"7"0"1414"-16,12 2-531 16,4 3-1359-16,7-1-443 15,-2 0 350-15,-8-2 340 16,10 0 329-16,-5 2 378 16,13 1 893-16,5-5 975 15,5 0-230-15,1 0-746 16,2-2 241-16,2-1 97 15,-8 2-28-15,14 1-541 16,4 0-314 0,-5-3-139-16,7 6-276 15,-12-3-178-15,9-3 158 16,1 3 115-16,7-2-252 16,-5-2 54-16,-7 6 205 15,3-4 442-15,2 0-195 16,7 2-201-16,-7-2-90 15,-11-2-55-15,11 4-267 16,3-7-147 0,-9 1 79-16,10 0-19 15,-3-3 228-15,-7 5-51 16,17-3 33-16,-19 3-230 16,2-4 49-16,15-1 18 15,-6 1 155-15,-9 0-344 16,6 1 125-16,4-4 92 15,-11 5 194-15,3 0-282 16,10-3 3 0,-15 3-100-16,7-1 65 15,-7 1 109-15,5 0 58 16,6 4-169-16,-15-3 90 16,11 1-138-16,-4 4-128 15,0-2 79-15,-10-2 232 16,2 0-80-1,9 0 155-15,-5-1-111 0,7 3 4 16,-3-2-20 0,8-3-93-16,-11 7-146 15,5-2 287-15,-2-2 3 16,-13 4-39-16,14 0 210 16,-3-4-190-16,-5 2 114 15,9 0-140-15,5-1 94 16,-19-3-54-16,7 6-76 15,16-2 182-15,-22-2 7 16,-10 2-181 0,22 2 188-16,-1 0-93 15,-8-2-74-15,-15 2-4 16,16 0 176-16,11-2-198 16,-12 2-67-16,-3 0 130 15,16 0 201-15,-15-3-265 16,-7 1 32-16,21 2 114 15,1-6 21-15,-25 4-44 16,15 2-202 0,7 2 204-16,-10-4-71 15,-11 2-4-15,13 4 81 16,12-4-114-16,-12-2 62 16,2 0 104-16,-4 2-47 15,1 2-94-15,-7-2 197 16,18-2-149-16,5 2-48 15,-22 0 5-15,1 0 20 16,14 0-10 0,-11-5-25-16,-14 5 122 15,19 3-117-15,1-6-115 16,-4 2 142-16,-11 1-105 16,11 0 31-16,9-3-26 15,-19 3 115-15,3-1 1 16,7 1-18-16,7-3 34 15,-18 1-70-15,-5 2 14 16,6 0 43 0,-6 0-58-16,-5 0 50 15,20 5-28 1,-32-4 29-16,-9 2-84 16,1-2-1-16,-1-1 64 15,-6 3-50-15,5-3-64 16,-3 2-12-16,0 2 183 15,-1 0 34 1,-3 1 63-16,-3 1-7 16,3-2 97-16,0 0-25 15,-4 0-82-15,4 3-62 16,2 1-22-16,3 5-24 16,-1 2-16-16,4 2-8 15,2 6-6-15,0 3-2 16,2 5-2-16,0 6 0 15,-3-2-1-15,4 7 0 16,2 7 0 0,-9 0 0-16,-4-2-139 15,0 6-238-15,-8-7-600 16,-3-2-998-16,3-14-1918 16,2-9-2035-1,2-8-1263-15</inkml:trace>
  <inkml:trace contextRef="#ctx0" brushRef="#br2" timeOffset="156046.04">15303 3545 29660 0,'0'0'-1098'0,"16"15"-195"16,10 6 1158-16,4 3-1655 16,-1 7-27-16,1 10 627 15,-6-6 636-15,5 10 573 16,3 5 1198-16,10 3 608 15,-8 0-370-15,3 5-479 16,-6 1-171 0,15 4 151-16,1-3-159 15,-11 1-112-15,4-8-213 16,9 0-245-16,-5 4-66 16,-10-9-133-16,9 5-17 15,-1-8-71-15,0-1-108 31,28 31-360-31,-36-42-351 0,0-1 863 16,-4-4-48 0,-5-3-128-16,2-1 112 15,-14-8-150-15,-1 1 138 16,-8-2-61-16,4 0 145 16,-2-5-264-16,-6 3-113 15,-6 4 10-15,-8 4 178 16,-21 3 248-1,-31 3-50-15,17-4 40 16,-12 11 18-16,-7 4-39 16,-4 9 75-16,3 0 226 15,-4-1 628-15,14 5 318 16,-5 8-434-16,9-6-348 16,9-2-271-16,-9 0 54 15,9-7-737-15,7-10-1670 16,-1-13-2817-16,12-12-2001 15,16-12-614-15</inkml:trace>
  <inkml:trace contextRef="#ctx0" brushRef="#br2" timeOffset="156438.04">16291 4720 27578 0,'-6'6'-2606'0,"-11"16"-2210"15,3 9 616-15,-4 5 951 16,20-10 1153-16,10-3 2440 16,8-4 4645-16,25-11 1921 15,16-14-1614-15,-17-9-2443 16,-4-8-1777-16,-12-3-669 15,-11 3-251 1,-17-8-84-16,-23-10-807 16,-17 18-6549-16</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000"/>
            </a:lvl1pPr>
          </a:lstStyle>
          <a:p>
            <a:fld id="{1386E511-D742-4EFE-90B5-C9FC42762E0F}" type="datetimeFigureOut">
              <a:rPr lang="en-GB" smtClean="0"/>
              <a:pPr/>
              <a:t>18/01/2022</a:t>
            </a:fld>
            <a:endParaRPr lang="en-GB"/>
          </a:p>
        </p:txBody>
      </p:sp>
      <p:sp>
        <p:nvSpPr>
          <p:cNvPr id="10" name="Slide Number Placeholder 9"/>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000"/>
            </a:lvl1pPr>
          </a:lstStyle>
          <a:p>
            <a:fld id="{A16CFAD1-D197-4A88-B173-A6412E995EE5}" type="slidenum">
              <a:rPr lang="en-GB" smtClean="0"/>
              <a:pPr/>
              <a:t>‹nr.›</a:t>
            </a:fld>
            <a:endParaRPr lang="en-GB"/>
          </a:p>
        </p:txBody>
      </p:sp>
      <p:sp>
        <p:nvSpPr>
          <p:cNvPr id="11" name="Footer Placeholder 10"/>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000"/>
            </a:lvl1pPr>
          </a:lstStyle>
          <a:p>
            <a:endParaRPr lang="en-GB"/>
          </a:p>
        </p:txBody>
      </p:sp>
      <p:sp>
        <p:nvSpPr>
          <p:cNvPr id="12" name="Slide Image Placeholder 11"/>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000"/>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noProof="0"/>
          </a:p>
        </p:txBody>
      </p:sp>
      <p:sp>
        <p:nvSpPr>
          <p:cNvPr id="4" name="Slide Number Placeholder 3"/>
          <p:cNvSpPr>
            <a:spLocks noGrp="1"/>
          </p:cNvSpPr>
          <p:nvPr>
            <p:ph type="sldNum" sz="quarter" idx="5"/>
          </p:nvPr>
        </p:nvSpPr>
        <p:spPr/>
        <p:txBody>
          <a:bodyPr/>
          <a:lstStyle/>
          <a:p>
            <a:fld id="{A16CFAD1-D197-4A88-B173-A6412E995EE5}" type="slidenum">
              <a:rPr lang="en-GB" smtClean="0"/>
              <a:pPr/>
              <a:t>1</a:t>
            </a:fld>
            <a:endParaRPr lang="en-GB"/>
          </a:p>
        </p:txBody>
      </p:sp>
    </p:spTree>
    <p:extLst>
      <p:ext uri="{BB962C8B-B14F-4D97-AF65-F5344CB8AC3E}">
        <p14:creationId xmlns:p14="http://schemas.microsoft.com/office/powerpoint/2010/main" val="1510886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A16CFAD1-D197-4A88-B173-A6412E995EE5}" type="slidenum">
              <a:rPr lang="en-GB" smtClean="0"/>
              <a:pPr/>
              <a:t>3</a:t>
            </a:fld>
            <a:endParaRPr lang="en-GB"/>
          </a:p>
        </p:txBody>
      </p:sp>
    </p:spTree>
    <p:extLst>
      <p:ext uri="{BB962C8B-B14F-4D97-AF65-F5344CB8AC3E}">
        <p14:creationId xmlns:p14="http://schemas.microsoft.com/office/powerpoint/2010/main" val="3697859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a:p>
            <a:pPr>
              <a:defRPr/>
            </a:pPr>
            <a:r>
              <a:rPr lang="da-DK" b="0">
                <a:cs typeface="Calibri"/>
              </a:rPr>
              <a:t>Nu ved jeg ikke, hvor meget </a:t>
            </a:r>
            <a:r>
              <a:rPr lang="da-DK" b="1">
                <a:cs typeface="Calibri"/>
              </a:rPr>
              <a:t>i kender til det agile</a:t>
            </a:r>
            <a:r>
              <a:rPr lang="da-DK" b="0">
                <a:cs typeface="Calibri"/>
              </a:rPr>
              <a:t>, men er nogen, som kunne have lyst til at sætte et par ord på, hvad du forbinder med det agile?</a:t>
            </a:r>
            <a:r>
              <a:rPr lang="da-DK">
                <a:cs typeface="Calibri"/>
              </a:rPr>
              <a:t> </a:t>
            </a:r>
            <a:endParaRPr lang="da-DK" b="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a-DK">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i="0" baseline="0"/>
              <a:t>Der gør vi ved at være </a:t>
            </a:r>
            <a:r>
              <a:rPr lang="da-DK" b="1" baseline="0"/>
              <a:t>T</a:t>
            </a:r>
            <a:r>
              <a:rPr lang="da-DK" b="1"/>
              <a:t>ransparente</a:t>
            </a:r>
            <a:endParaRPr lang="da-DK"/>
          </a:p>
          <a:p>
            <a:pPr marL="0" marR="0" lvl="0" indent="0" algn="l" defTabSz="914400" rtl="0" eaLnBrk="1" fontAlgn="auto" latinLnBrk="0" hangingPunct="1">
              <a:lnSpc>
                <a:spcPct val="100000"/>
              </a:lnSpc>
              <a:spcBef>
                <a:spcPts val="0"/>
              </a:spcBef>
              <a:spcAft>
                <a:spcPts val="0"/>
              </a:spcAft>
              <a:buClrTx/>
              <a:buSzTx/>
              <a:buFontTx/>
              <a:buNone/>
              <a:tabLst/>
              <a:defRPr/>
            </a:pPr>
            <a:r>
              <a:rPr lang="da-DK"/>
              <a:t>Vi skal have gennemsigtighed i det vi laver eller skal lave, i tæt samarbejde med kunden, så vi som team kan tage beslutninger på oplyste grundlag</a:t>
            </a:r>
            <a:endParaRPr lang="da-DK">
              <a:cs typeface="Calibri"/>
            </a:endParaRPr>
          </a:p>
          <a:p>
            <a:pPr>
              <a:defRPr/>
            </a:pPr>
            <a:r>
              <a:rPr lang="da-DK"/>
              <a:t>Det er eksempelvis være det at have en </a:t>
            </a:r>
            <a:r>
              <a:rPr lang="da-DK" err="1"/>
              <a:t>backlog</a:t>
            </a:r>
            <a:r>
              <a:rPr lang="da-DK"/>
              <a:t>, som åbent viser hvilke opgaver vi arbejder på, </a:t>
            </a:r>
            <a:endParaRPr lang="da-DK">
              <a:cs typeface="Calibri"/>
            </a:endParaRPr>
          </a:p>
          <a:p>
            <a:endParaRPr lang="da-DK" b="1"/>
          </a:p>
          <a:p>
            <a:r>
              <a:rPr lang="da-DK" b="0"/>
              <a:t>Derudover skal vi i</a:t>
            </a:r>
            <a:r>
              <a:rPr lang="da-DK" b="1"/>
              <a:t>nspicere </a:t>
            </a:r>
            <a:r>
              <a:rPr lang="da-DK" b="0"/>
              <a:t>hvilket betyder, at vi skal </a:t>
            </a:r>
            <a:r>
              <a:rPr lang="da-DK"/>
              <a:t>stoppe op, forholde os til det der er sket og gøre brug af de </a:t>
            </a:r>
            <a:r>
              <a:rPr lang="da-DK" err="1"/>
              <a:t>læringer</a:t>
            </a:r>
            <a:r>
              <a:rPr lang="da-DK"/>
              <a:t> vi gør os undervejs.</a:t>
            </a:r>
            <a:endParaRPr lang="da-DK">
              <a:cs typeface="Calibri"/>
            </a:endParaRPr>
          </a:p>
          <a:p>
            <a:endParaRPr lang="da-DK"/>
          </a:p>
          <a:p>
            <a:r>
              <a:rPr lang="da-DK" b="0"/>
              <a:t>Derfor skal vi være forandringsparate og kunne </a:t>
            </a:r>
            <a:r>
              <a:rPr lang="da-DK" b="1"/>
              <a:t>tilpasse os</a:t>
            </a:r>
            <a:r>
              <a:rPr lang="da-DK"/>
              <a:t> </a:t>
            </a:r>
            <a:r>
              <a:rPr lang="da-DK" b="0">
                <a:latin typeface="Academy Sans Office"/>
              </a:rPr>
              <a:t> </a:t>
            </a:r>
            <a:r>
              <a:rPr lang="da-DK" sz="1200">
                <a:solidFill>
                  <a:schemeClr val="tx1"/>
                </a:solidFill>
                <a:latin typeface="Academy Sans Office"/>
              </a:rPr>
              <a:t>i takt med at vi bliver klogere qua tingene ændrer sig</a:t>
            </a:r>
            <a:r>
              <a:rPr lang="da-DK">
                <a:latin typeface="Academy Sans Office"/>
              </a:rPr>
              <a:t> </a:t>
            </a:r>
            <a:endParaRPr lang="da-DK" sz="1200">
              <a:solidFill>
                <a:schemeClr val="tx1"/>
              </a:solidFill>
              <a:latin typeface="Academy Sans Office" panose="020B0503030000000000" pitchFamily="34" charset="0"/>
            </a:endParaRPr>
          </a:p>
          <a:p>
            <a:r>
              <a:rPr lang="da-DK" sz="1200">
                <a:solidFill>
                  <a:schemeClr val="tx1"/>
                </a:solidFill>
                <a:latin typeface="Academy Sans Office"/>
              </a:rPr>
              <a:t>Fx nye lovforslag</a:t>
            </a:r>
            <a:r>
              <a:rPr lang="da-DK">
                <a:latin typeface="Academy Sans Office"/>
              </a:rPr>
              <a:t>, nye planer grundet nye kundebehov, omprioritering ift. ønsket funktionalitet  </a:t>
            </a:r>
            <a:endParaRPr lang="da-DK" sz="1200">
              <a:solidFill>
                <a:schemeClr val="tx1"/>
              </a:solidFill>
              <a:latin typeface="Academy Sans Office" panose="020B0503030000000000" pitchFamily="34" charset="0"/>
            </a:endParaRPr>
          </a:p>
          <a:p>
            <a:endParaRPr lang="da-DK" sz="1200">
              <a:solidFill>
                <a:schemeClr val="tx1"/>
              </a:solidFill>
              <a:latin typeface="Academy Sans Office" panose="020B0503030000000000"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a:t>Når vi </a:t>
            </a:r>
            <a:r>
              <a:rPr lang="da-DK" b="1"/>
              <a:t>arbejder agilt </a:t>
            </a:r>
            <a:r>
              <a:rPr lang="da-DK"/>
              <a:t>er det </a:t>
            </a:r>
            <a:r>
              <a:rPr lang="da-DK" i="0" baseline="0"/>
              <a:t>ud fra et </a:t>
            </a:r>
            <a:r>
              <a:rPr lang="da-DK" b="1" i="0" baseline="0"/>
              <a:t>mindset om</a:t>
            </a:r>
            <a:r>
              <a:rPr lang="da-DK" i="0" baseline="0"/>
              <a:t>, at </a:t>
            </a:r>
            <a:r>
              <a:rPr lang="da-DK" b="1" i="0" baseline="0"/>
              <a:t>hverdagen</a:t>
            </a:r>
            <a:r>
              <a:rPr lang="da-DK" i="0" baseline="0"/>
              <a:t> </a:t>
            </a:r>
            <a:r>
              <a:rPr lang="da-DK" b="1" i="0" baseline="0"/>
              <a:t>ikke er statisk</a:t>
            </a:r>
            <a:r>
              <a:rPr lang="da-DK" i="0" baseline="0"/>
              <a:t>, hvorfor vi skal være </a:t>
            </a:r>
            <a:r>
              <a:rPr lang="da-DK" b="1" i="0" baseline="0"/>
              <a:t>nysgerrige</a:t>
            </a:r>
            <a:r>
              <a:rPr lang="da-DK" i="0" baseline="0"/>
              <a:t> og have evnen til at </a:t>
            </a:r>
            <a:r>
              <a:rPr lang="da-DK" b="1" i="0" baseline="0"/>
              <a:t>tilpasse</a:t>
            </a:r>
            <a:r>
              <a:rPr lang="da-DK" i="0" baseline="0"/>
              <a:t> os hurtigt.</a:t>
            </a:r>
            <a:endParaRPr lang="da-DK" i="0" baseline="0">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a-DK" b="0">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b="0">
                <a:cs typeface="Calibri"/>
              </a:rPr>
              <a:t>Det agile mindset handler kort fortalt om vores tilgang til tingen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200">
              <a:solidFill>
                <a:schemeClr val="tx1"/>
              </a:solidFill>
              <a:latin typeface="Academy Sans Office" panose="020B0503030000000000" pitchFamily="34" charset="0"/>
            </a:endParaRPr>
          </a:p>
          <a:p>
            <a:r>
              <a:rPr lang="da-DK" sz="1200" b="1">
                <a:solidFill>
                  <a:schemeClr val="tx1"/>
                </a:solidFill>
                <a:latin typeface="Academy Sans Office"/>
              </a:rPr>
              <a:t>Fast-to-</a:t>
            </a:r>
            <a:r>
              <a:rPr lang="da-DK" sz="1200" b="1" err="1">
                <a:solidFill>
                  <a:schemeClr val="tx1"/>
                </a:solidFill>
                <a:latin typeface="Academy Sans Office"/>
              </a:rPr>
              <a:t>fail</a:t>
            </a:r>
            <a:r>
              <a:rPr lang="da-DK" sz="1200" b="0">
                <a:solidFill>
                  <a:schemeClr val="tx1"/>
                </a:solidFill>
                <a:latin typeface="Academy Sans Office"/>
              </a:rPr>
              <a:t> Vi arbejder i små iterationer og starter med det sværeste først </a:t>
            </a:r>
            <a:r>
              <a:rPr lang="da-DK">
                <a:latin typeface="Academy Sans Office"/>
              </a:rPr>
              <a:t>(høj risiko) og</a:t>
            </a:r>
            <a:r>
              <a:rPr lang="da-DK" sz="1200" b="0">
                <a:solidFill>
                  <a:schemeClr val="tx1"/>
                </a:solidFill>
                <a:latin typeface="Academy Sans Office"/>
              </a:rPr>
              <a:t> finder ud at om projektet overhovedet kan lade sig gøre</a:t>
            </a:r>
            <a:endParaRPr lang="da-DK" b="0">
              <a:latin typeface="Academy Sans Office"/>
              <a:cs typeface="Arial"/>
            </a:endParaRPr>
          </a:p>
          <a:p>
            <a:endParaRPr lang="da-DK"/>
          </a:p>
        </p:txBody>
      </p:sp>
      <p:sp>
        <p:nvSpPr>
          <p:cNvPr id="4" name="Pladsholder til slidenummer 3"/>
          <p:cNvSpPr>
            <a:spLocks noGrp="1"/>
          </p:cNvSpPr>
          <p:nvPr>
            <p:ph type="sldNum" sz="quarter" idx="5"/>
          </p:nvPr>
        </p:nvSpPr>
        <p:spPr/>
        <p:txBody>
          <a:bodyPr/>
          <a:lstStyle/>
          <a:p>
            <a:fld id="{CB7C86B7-3289-4123-A8CD-181325133945}" type="slidenum">
              <a:rPr lang="da-DK" smtClean="0"/>
              <a:t>6</a:t>
            </a:fld>
            <a:endParaRPr lang="da-DK"/>
          </a:p>
        </p:txBody>
      </p:sp>
    </p:spTree>
    <p:extLst>
      <p:ext uri="{BB962C8B-B14F-4D97-AF65-F5344CB8AC3E}">
        <p14:creationId xmlns:p14="http://schemas.microsoft.com/office/powerpoint/2010/main" val="9603837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B6EEECC-87E3-1045-865A-053EC30E9C15}"/>
              </a:ext>
            </a:extLst>
          </p:cNvPr>
          <p:cNvSpPr>
            <a:spLocks noGrp="1" noChangeArrowheads="1"/>
          </p:cNvSpPr>
          <p:nvPr>
            <p:ph type="sldNum"/>
          </p:nvPr>
        </p:nvSpPr>
        <p:spPr>
          <a:ln/>
        </p:spPr>
        <p:txBody>
          <a:bodyPr/>
          <a:lstStyle/>
          <a:p>
            <a:fld id="{141342B7-31B1-DD4B-8539-5AB7AE9C527A}" type="slidenum">
              <a:rPr lang="en-US" altLang="en-US"/>
              <a:pPr/>
              <a:t>7</a:t>
            </a:fld>
            <a:endParaRPr lang="en-US" altLang="en-US"/>
          </a:p>
        </p:txBody>
      </p:sp>
      <p:sp>
        <p:nvSpPr>
          <p:cNvPr id="10241" name="Text Box 1">
            <a:extLst>
              <a:ext uri="{FF2B5EF4-FFF2-40B4-BE49-F238E27FC236}">
                <a16:creationId xmlns:a16="http://schemas.microsoft.com/office/drawing/2014/main" id="{96F90E78-D81F-8C4F-BA01-8544A95B6BE2}"/>
              </a:ext>
            </a:extLst>
          </p:cNvPr>
          <p:cNvSpPr txBox="1">
            <a:spLocks noGrp="1" noRot="1" noChangeAspect="1" noChangeArrowheads="1"/>
          </p:cNvSpPr>
          <p:nvPr>
            <p:ph type="sldImg"/>
          </p:nvPr>
        </p:nvSpPr>
        <p:spPr bwMode="auto">
          <a:xfrm>
            <a:off x="-131763" y="903288"/>
            <a:ext cx="7924801" cy="44577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10242" name="Text Box 2">
            <a:extLst>
              <a:ext uri="{FF2B5EF4-FFF2-40B4-BE49-F238E27FC236}">
                <a16:creationId xmlns:a16="http://schemas.microsoft.com/office/drawing/2014/main" id="{7D5AA1E1-D433-6746-B366-80F564BD5378}"/>
              </a:ext>
            </a:extLst>
          </p:cNvPr>
          <p:cNvSpPr txBox="1">
            <a:spLocks noGrp="1" noChangeArrowheads="1"/>
          </p:cNvSpPr>
          <p:nvPr>
            <p:ph type="body" idx="1"/>
          </p:nvPr>
        </p:nvSpPr>
        <p:spPr bwMode="auto">
          <a:xfrm>
            <a:off x="766752" y="5645691"/>
            <a:ext cx="6129316" cy="5349240"/>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err="1"/>
              <a:t>Spørg</a:t>
            </a:r>
            <a:r>
              <a:rPr lang="en-US" altLang="en-US"/>
              <a:t> </a:t>
            </a:r>
            <a:r>
              <a:rPr lang="en-US" altLang="en-US" err="1"/>
              <a:t>indtil</a:t>
            </a:r>
            <a:r>
              <a:rPr lang="en-US" altLang="en-US"/>
              <a:t> </a:t>
            </a:r>
            <a:r>
              <a:rPr lang="en-US" altLang="en-US" err="1"/>
              <a:t>deltagernes</a:t>
            </a:r>
            <a:r>
              <a:rPr lang="en-US" altLang="en-US"/>
              <a:t> </a:t>
            </a:r>
            <a:r>
              <a:rPr lang="en-US" altLang="en-US" err="1"/>
              <a:t>erfaring</a:t>
            </a:r>
            <a:r>
              <a:rPr lang="en-US" altLang="en-US"/>
              <a:t>.</a:t>
            </a:r>
          </a:p>
          <a:p>
            <a:endParaRPr lang="en-US" alt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1" err="1"/>
              <a:t>Udgiv</a:t>
            </a:r>
            <a:r>
              <a:rPr lang="en-US" altLang="en-US" b="1"/>
              <a:t> Formular med </a:t>
            </a:r>
            <a:r>
              <a:rPr lang="en-US" altLang="en-US" b="1" err="1"/>
              <a:t>spørgsmålet</a:t>
            </a:r>
            <a:r>
              <a:rPr lang="en-US" altLang="en-US"/>
              <a:t> : </a:t>
            </a:r>
          </a:p>
          <a:p>
            <a:r>
              <a:rPr lang="en-US" altLang="en-US" err="1"/>
              <a:t>Hvilken</a:t>
            </a:r>
            <a:r>
              <a:rPr lang="en-US" altLang="en-US"/>
              <a:t> </a:t>
            </a:r>
            <a:r>
              <a:rPr lang="en-US" altLang="en-US" err="1"/>
              <a:t>erfaring</a:t>
            </a:r>
            <a:r>
              <a:rPr lang="en-US" altLang="en-US"/>
              <a:t> har du med det agile? – </a:t>
            </a:r>
            <a:r>
              <a:rPr lang="en-US" altLang="en-US" err="1"/>
              <a:t>Meget</a:t>
            </a:r>
            <a:r>
              <a:rPr lang="en-US" altLang="en-US"/>
              <a:t>, </a:t>
            </a:r>
            <a:r>
              <a:rPr lang="en-US" altLang="en-US" err="1"/>
              <a:t>mellem</a:t>
            </a:r>
            <a:r>
              <a:rPr lang="en-US" altLang="en-US"/>
              <a:t>, </a:t>
            </a:r>
            <a:r>
              <a:rPr lang="en-US" altLang="en-US" err="1"/>
              <a:t>lidt</a:t>
            </a:r>
            <a:endParaRPr lang="en-US" altLang="en-US"/>
          </a:p>
          <a:p>
            <a:r>
              <a:rPr lang="en-US" altLang="en-US" err="1"/>
              <a:t>Hvilken</a:t>
            </a:r>
            <a:r>
              <a:rPr lang="en-US" altLang="en-US"/>
              <a:t> </a:t>
            </a:r>
            <a:r>
              <a:rPr lang="en-US" altLang="en-US" err="1"/>
              <a:t>agil</a:t>
            </a:r>
            <a:r>
              <a:rPr lang="en-US" altLang="en-US"/>
              <a:t> </a:t>
            </a:r>
            <a:r>
              <a:rPr lang="en-US" altLang="en-US" err="1"/>
              <a:t>erfaring</a:t>
            </a:r>
            <a:r>
              <a:rPr lang="en-US" altLang="en-US"/>
              <a:t> har du?</a:t>
            </a:r>
          </a:p>
          <a:p>
            <a:pPr marL="171450" indent="-171450">
              <a:buFontTx/>
              <a:buChar char="-"/>
            </a:pPr>
            <a:r>
              <a:rPr lang="en-US" altLang="en-US"/>
              <a:t>Ingen, har </a:t>
            </a:r>
            <a:r>
              <a:rPr lang="en-US" altLang="en-US" err="1"/>
              <a:t>aldrig</a:t>
            </a:r>
            <a:r>
              <a:rPr lang="en-US" altLang="en-US"/>
              <a:t> </a:t>
            </a:r>
            <a:r>
              <a:rPr lang="en-US" altLang="en-US" err="1"/>
              <a:t>arbejdet</a:t>
            </a:r>
            <a:r>
              <a:rPr lang="en-US" altLang="en-US"/>
              <a:t> </a:t>
            </a:r>
            <a:r>
              <a:rPr lang="en-US" altLang="en-US" err="1"/>
              <a:t>agilt</a:t>
            </a:r>
            <a:endParaRPr lang="en-US" altLang="en-US"/>
          </a:p>
          <a:p>
            <a:pPr marL="171450" indent="-171450">
              <a:buFontTx/>
              <a:buChar char="-"/>
            </a:pPr>
            <a:r>
              <a:rPr lang="en-US" altLang="en-US" err="1"/>
              <a:t>Lidt</a:t>
            </a:r>
            <a:r>
              <a:rPr lang="en-US" altLang="en-US"/>
              <a:t>, har </a:t>
            </a:r>
            <a:r>
              <a:rPr lang="en-US" altLang="en-US" err="1"/>
              <a:t>været</a:t>
            </a:r>
            <a:r>
              <a:rPr lang="en-US" altLang="en-US"/>
              <a:t> </a:t>
            </a:r>
            <a:r>
              <a:rPr lang="en-US" altLang="en-US" err="1"/>
              <a:t>i</a:t>
            </a:r>
            <a:r>
              <a:rPr lang="en-US" altLang="en-US"/>
              <a:t> et </a:t>
            </a:r>
            <a:r>
              <a:rPr lang="en-US" altLang="en-US" err="1"/>
              <a:t>agilt</a:t>
            </a:r>
            <a:r>
              <a:rPr lang="en-US" altLang="en-US"/>
              <a:t> team</a:t>
            </a:r>
          </a:p>
          <a:p>
            <a:pPr marL="171450" indent="-171450">
              <a:buFontTx/>
              <a:buChar char="-"/>
            </a:pPr>
            <a:r>
              <a:rPr lang="en-US" altLang="en-US" err="1"/>
              <a:t>En</a:t>
            </a:r>
            <a:r>
              <a:rPr lang="en-US" altLang="en-US"/>
              <a:t> del, har </a:t>
            </a:r>
            <a:r>
              <a:rPr lang="en-US" altLang="en-US" err="1"/>
              <a:t>været</a:t>
            </a:r>
            <a:r>
              <a:rPr lang="en-US" altLang="en-US"/>
              <a:t> </a:t>
            </a:r>
            <a:r>
              <a:rPr lang="en-US" altLang="en-US" err="1"/>
              <a:t>på</a:t>
            </a:r>
            <a:r>
              <a:rPr lang="en-US" altLang="en-US"/>
              <a:t> et par agile </a:t>
            </a:r>
            <a:r>
              <a:rPr lang="en-US" altLang="en-US" err="1"/>
              <a:t>projekter</a:t>
            </a:r>
            <a:endParaRPr lang="en-US" altLang="en-US"/>
          </a:p>
          <a:p>
            <a:pPr marL="171450" indent="-171450">
              <a:buFontTx/>
              <a:buChar char="-"/>
            </a:pPr>
            <a:r>
              <a:rPr lang="en-US" altLang="en-US" err="1"/>
              <a:t>Meget</a:t>
            </a:r>
            <a:r>
              <a:rPr lang="en-US" altLang="en-US"/>
              <a:t>, har </a:t>
            </a:r>
            <a:r>
              <a:rPr lang="en-US" altLang="en-US" err="1"/>
              <a:t>længe</a:t>
            </a:r>
            <a:r>
              <a:rPr lang="en-US" altLang="en-US"/>
              <a:t> </a:t>
            </a:r>
            <a:r>
              <a:rPr lang="en-US" altLang="en-US" err="1"/>
              <a:t>arbejdet</a:t>
            </a:r>
            <a:r>
              <a:rPr lang="en-US" altLang="en-US"/>
              <a:t> </a:t>
            </a:r>
            <a:r>
              <a:rPr lang="en-US" altLang="en-US" err="1"/>
              <a:t>agilt</a:t>
            </a:r>
            <a:endParaRPr lang="en-US" altLang="en-US"/>
          </a:p>
          <a:p>
            <a:endParaRPr lang="en-US" alt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1" err="1"/>
              <a:t>Spørgsmål</a:t>
            </a:r>
            <a:r>
              <a:rPr lang="en-US" altLang="en-US" b="1"/>
              <a:t>: </a:t>
            </a:r>
            <a:r>
              <a:rPr lang="en-US" altLang="en-US" err="1"/>
              <a:t>Hvis</a:t>
            </a:r>
            <a:r>
              <a:rPr lang="en-US" altLang="en-US"/>
              <a:t> </a:t>
            </a:r>
            <a:r>
              <a:rPr lang="en-US" altLang="en-US" err="1"/>
              <a:t>flere</a:t>
            </a:r>
            <a:r>
              <a:rPr lang="en-US" altLang="en-US"/>
              <a:t> med </a:t>
            </a:r>
            <a:r>
              <a:rPr lang="en-US" altLang="en-US" err="1"/>
              <a:t>erfaring</a:t>
            </a:r>
            <a:r>
              <a:rPr lang="en-US" altLang="en-US"/>
              <a:t>, </a:t>
            </a:r>
            <a:r>
              <a:rPr lang="en-US" altLang="en-US" err="1"/>
              <a:t>hvad</a:t>
            </a:r>
            <a:r>
              <a:rPr lang="en-US" altLang="en-US"/>
              <a:t> er </a:t>
            </a:r>
            <a:r>
              <a:rPr lang="en-US" altLang="en-US" err="1"/>
              <a:t>så</a:t>
            </a:r>
            <a:r>
              <a:rPr lang="en-US" altLang="en-US"/>
              <a:t> </a:t>
            </a:r>
            <a:r>
              <a:rPr lang="en-US" altLang="en-US" err="1"/>
              <a:t>Jeres</a:t>
            </a:r>
            <a:r>
              <a:rPr lang="en-US" altLang="en-US"/>
              <a:t> </a:t>
            </a:r>
            <a:r>
              <a:rPr lang="en-US" altLang="en-US" err="1"/>
              <a:t>erfaring</a:t>
            </a:r>
            <a:r>
              <a:rPr lang="en-US" altLang="en-US"/>
              <a:t> med det agil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1" err="1"/>
              <a:t>Spørgsmål</a:t>
            </a:r>
            <a:r>
              <a:rPr lang="en-US" altLang="en-US" b="1"/>
              <a:t>: </a:t>
            </a:r>
            <a:r>
              <a:rPr lang="en-US" altLang="en-US" b="0" err="1"/>
              <a:t>N</a:t>
            </a:r>
            <a:r>
              <a:rPr lang="en-US" altLang="en-US" err="1"/>
              <a:t>ogen</a:t>
            </a:r>
            <a:r>
              <a:rPr lang="en-US" altLang="en-US"/>
              <a:t> med </a:t>
            </a:r>
            <a:r>
              <a:rPr lang="en-US" altLang="en-US" err="1"/>
              <a:t>agil</a:t>
            </a:r>
            <a:r>
              <a:rPr lang="en-US" altLang="en-US"/>
              <a:t> </a:t>
            </a:r>
            <a:r>
              <a:rPr lang="en-US" altLang="en-US" err="1"/>
              <a:t>erfaring</a:t>
            </a:r>
            <a:r>
              <a:rPr lang="en-US" altLang="en-US"/>
              <a:t> -  </a:t>
            </a:r>
            <a:r>
              <a:rPr lang="en-US" altLang="en-US" err="1"/>
              <a:t>sætte</a:t>
            </a:r>
            <a:r>
              <a:rPr lang="en-US" altLang="en-US"/>
              <a:t> et par </a:t>
            </a:r>
            <a:r>
              <a:rPr lang="en-US" altLang="en-US" err="1"/>
              <a:t>ord</a:t>
            </a:r>
            <a:r>
              <a:rPr lang="en-US" altLang="en-US"/>
              <a:t> </a:t>
            </a:r>
            <a:r>
              <a:rPr lang="en-US" altLang="en-US" err="1"/>
              <a:t>på</a:t>
            </a:r>
            <a:r>
              <a:rPr lang="en-US" altLang="en-US"/>
              <a:t> et </a:t>
            </a:r>
            <a:r>
              <a:rPr lang="en-US" altLang="en-US" err="1"/>
              <a:t>af</a:t>
            </a:r>
            <a:r>
              <a:rPr lang="en-US" altLang="en-US"/>
              <a:t> </a:t>
            </a:r>
            <a:r>
              <a:rPr lang="en-US" altLang="en-US" err="1"/>
              <a:t>disse</a:t>
            </a:r>
            <a:r>
              <a:rPr lang="en-US" altLang="en-US"/>
              <a:t> events,? (der </a:t>
            </a:r>
            <a:r>
              <a:rPr lang="en-US" altLang="en-US" err="1"/>
              <a:t>indgår</a:t>
            </a:r>
            <a:r>
              <a:rPr lang="en-US" altLang="en-US"/>
              <a:t> I et sprint).</a:t>
            </a:r>
            <a:endParaRPr lang="en-US" altLang="en-US" u="sng"/>
          </a:p>
          <a:p>
            <a:endParaRPr lang="en-US" altLang="en-US" u="sng"/>
          </a:p>
          <a:p>
            <a:r>
              <a:rPr lang="en-US" altLang="en-US" u="none"/>
              <a:t>Scrum team har man </a:t>
            </a:r>
            <a:r>
              <a:rPr lang="en-US" altLang="en-US" u="none" err="1"/>
              <a:t>typisk</a:t>
            </a:r>
            <a:r>
              <a:rPr lang="en-US" altLang="en-US" u="none"/>
              <a:t> sprint </a:t>
            </a:r>
            <a:r>
              <a:rPr lang="en-US" altLang="en-US" u="none" err="1"/>
              <a:t>af</a:t>
            </a:r>
            <a:r>
              <a:rPr lang="en-US" altLang="en-US" u="none"/>
              <a:t> 2-4 </a:t>
            </a:r>
            <a:r>
              <a:rPr lang="en-US" altLang="en-US" u="none" err="1"/>
              <a:t>ugers</a:t>
            </a:r>
            <a:r>
              <a:rPr lang="en-US" altLang="en-US" u="none"/>
              <a:t> </a:t>
            </a:r>
            <a:r>
              <a:rPr lang="en-US" altLang="en-US" u="none" err="1"/>
              <a:t>varighed</a:t>
            </a:r>
            <a:r>
              <a:rPr lang="en-US" altLang="en-US" u="none"/>
              <a:t>  </a:t>
            </a:r>
            <a:r>
              <a:rPr lang="en-US" altLang="en-US" b="1" u="none"/>
              <a:t>4 events </a:t>
            </a:r>
            <a:br>
              <a:rPr lang="en-US" altLang="en-US" u="none"/>
            </a:br>
            <a:r>
              <a:rPr lang="en-US" altLang="en-US" u="none"/>
              <a:t>- </a:t>
            </a:r>
            <a:r>
              <a:rPr lang="en-US" altLang="en-US" b="1"/>
              <a:t>Planning</a:t>
            </a:r>
            <a:r>
              <a:rPr lang="en-US" altLang="en-US"/>
              <a:t>: Hele </a:t>
            </a:r>
            <a:r>
              <a:rPr lang="en-US" altLang="en-US" err="1"/>
              <a:t>teamet</a:t>
            </a:r>
            <a:r>
              <a:rPr lang="en-US" altLang="en-US"/>
              <a:t> </a:t>
            </a:r>
            <a:r>
              <a:rPr lang="en-US" altLang="en-US" b="1" err="1"/>
              <a:t>planlægger</a:t>
            </a:r>
            <a:r>
              <a:rPr lang="en-US" altLang="en-US"/>
              <a:t> </a:t>
            </a:r>
            <a:r>
              <a:rPr lang="en-US" altLang="en-US" err="1"/>
              <a:t>hvad</a:t>
            </a:r>
            <a:r>
              <a:rPr lang="en-US" altLang="en-US"/>
              <a:t> vi </a:t>
            </a:r>
            <a:r>
              <a:rPr lang="en-US" altLang="en-US" err="1"/>
              <a:t>skal</a:t>
            </a:r>
            <a:r>
              <a:rPr lang="en-US" altLang="en-US"/>
              <a:t> lave de </a:t>
            </a:r>
            <a:r>
              <a:rPr lang="en-US" altLang="en-US" b="1" err="1"/>
              <a:t>næste</a:t>
            </a:r>
            <a:r>
              <a:rPr lang="en-US" altLang="en-US" b="1"/>
              <a:t> 2-10 </a:t>
            </a:r>
            <a:r>
              <a:rPr lang="en-US" altLang="en-US" b="1" err="1"/>
              <a:t>uger</a:t>
            </a:r>
            <a:r>
              <a:rPr lang="en-US" altLang="en-US" b="1"/>
              <a:t>  </a:t>
            </a:r>
            <a:r>
              <a:rPr lang="en-US" altLang="en-US"/>
              <a:t>- </a:t>
            </a:r>
            <a:r>
              <a:rPr lang="en-US" altLang="en-US" err="1"/>
              <a:t>afhængigt</a:t>
            </a:r>
            <a:r>
              <a:rPr lang="en-US" altLang="en-US"/>
              <a:t> om det er </a:t>
            </a:r>
            <a:r>
              <a:rPr lang="en-US" altLang="en-US" b="1"/>
              <a:t>Scrum </a:t>
            </a:r>
            <a:r>
              <a:rPr lang="en-US" altLang="en-US" b="1" err="1"/>
              <a:t>eller</a:t>
            </a:r>
            <a:r>
              <a:rPr lang="en-US" altLang="en-US" b="1"/>
              <a:t> SAFe </a:t>
            </a:r>
            <a:r>
              <a:rPr lang="en-US" altLang="en-US"/>
              <a:t>– hele </a:t>
            </a:r>
            <a:r>
              <a:rPr lang="en-US" altLang="en-US" err="1"/>
              <a:t>teamet</a:t>
            </a:r>
            <a:r>
              <a:rPr lang="en-US" altLang="en-US"/>
              <a:t>  </a:t>
            </a:r>
          </a:p>
          <a:p>
            <a:r>
              <a:rPr lang="en-US" altLang="en-US" b="1"/>
              <a:t>- Daily stand-up - </a:t>
            </a:r>
            <a:r>
              <a:rPr lang="en-US" altLang="en-US" b="0"/>
              <a:t>He</a:t>
            </a:r>
            <a:r>
              <a:rPr lang="en-US" altLang="en-US"/>
              <a:t>le </a:t>
            </a:r>
            <a:r>
              <a:rPr lang="en-US" altLang="en-US" err="1"/>
              <a:t>teamet</a:t>
            </a:r>
            <a:r>
              <a:rPr lang="en-US" altLang="en-US"/>
              <a:t> </a:t>
            </a:r>
            <a:r>
              <a:rPr lang="en-US" altLang="en-US" err="1"/>
              <a:t>mødes</a:t>
            </a:r>
            <a:r>
              <a:rPr lang="en-US" altLang="en-US"/>
              <a:t>  </a:t>
            </a:r>
            <a:r>
              <a:rPr lang="en-US" altLang="en-US" err="1"/>
              <a:t>dagligt</a:t>
            </a:r>
            <a:r>
              <a:rPr lang="en-US" altLang="en-US"/>
              <a:t>  15 min – </a:t>
            </a:r>
            <a:r>
              <a:rPr lang="en-US" altLang="en-US" err="1"/>
              <a:t>Hvad</a:t>
            </a:r>
            <a:r>
              <a:rPr lang="en-US" altLang="en-US"/>
              <a:t> </a:t>
            </a:r>
            <a:r>
              <a:rPr lang="en-US" altLang="en-US" err="1"/>
              <a:t>lavede</a:t>
            </a:r>
            <a:r>
              <a:rPr lang="en-US" altLang="en-US"/>
              <a:t> </a:t>
            </a:r>
            <a:r>
              <a:rPr lang="en-US" altLang="en-US" err="1"/>
              <a:t>jeg</a:t>
            </a:r>
            <a:r>
              <a:rPr lang="en-US" altLang="en-US"/>
              <a:t> </a:t>
            </a:r>
            <a:r>
              <a:rPr lang="en-US" altLang="en-US" err="1"/>
              <a:t>igår</a:t>
            </a:r>
            <a:r>
              <a:rPr lang="en-US" altLang="en-US"/>
              <a:t>, </a:t>
            </a:r>
            <a:r>
              <a:rPr lang="en-US" altLang="en-US" err="1"/>
              <a:t>hvad</a:t>
            </a:r>
            <a:r>
              <a:rPr lang="en-US" altLang="en-US"/>
              <a:t> </a:t>
            </a:r>
            <a:r>
              <a:rPr lang="en-US" altLang="en-US" err="1"/>
              <a:t>vil</a:t>
            </a:r>
            <a:r>
              <a:rPr lang="en-US" altLang="en-US"/>
              <a:t> </a:t>
            </a:r>
            <a:r>
              <a:rPr lang="en-US" altLang="en-US" err="1"/>
              <a:t>jeg</a:t>
            </a:r>
            <a:r>
              <a:rPr lang="en-US" altLang="en-US"/>
              <a:t> lave I </a:t>
            </a:r>
            <a:r>
              <a:rPr lang="en-US" altLang="en-US" err="1"/>
              <a:t>dag</a:t>
            </a:r>
            <a:r>
              <a:rPr lang="en-US" altLang="en-US"/>
              <a:t> </a:t>
            </a:r>
            <a:r>
              <a:rPr lang="en-US" altLang="en-US" err="1"/>
              <a:t>og</a:t>
            </a:r>
            <a:r>
              <a:rPr lang="en-US" altLang="en-US"/>
              <a:t> har </a:t>
            </a:r>
            <a:r>
              <a:rPr lang="en-US" altLang="en-US" err="1"/>
              <a:t>jeg</a:t>
            </a:r>
            <a:r>
              <a:rPr lang="en-US" altLang="en-US"/>
              <a:t> </a:t>
            </a:r>
            <a:r>
              <a:rPr lang="en-US" altLang="en-US" err="1"/>
              <a:t>nogle</a:t>
            </a:r>
            <a:r>
              <a:rPr lang="en-US" altLang="en-US"/>
              <a:t> </a:t>
            </a:r>
            <a:r>
              <a:rPr lang="en-US" altLang="en-US" err="1"/>
              <a:t>udfordringer</a:t>
            </a:r>
            <a:r>
              <a:rPr lang="en-US" altLang="en-US"/>
              <a:t>/</a:t>
            </a:r>
            <a:r>
              <a:rPr lang="en-US" altLang="en-US" err="1"/>
              <a:t>brug</a:t>
            </a:r>
            <a:r>
              <a:rPr lang="en-US" altLang="en-US"/>
              <a:t> for </a:t>
            </a:r>
            <a:r>
              <a:rPr lang="en-US" altLang="en-US" err="1"/>
              <a:t>hjælp</a:t>
            </a:r>
            <a:endParaRPr lang="en-US" altLang="en-US"/>
          </a:p>
          <a:p>
            <a:r>
              <a:rPr lang="en-US" altLang="en-US" b="1"/>
              <a:t>- Demo</a:t>
            </a:r>
            <a:r>
              <a:rPr lang="en-US" altLang="en-US"/>
              <a:t> – hele </a:t>
            </a:r>
            <a:r>
              <a:rPr lang="en-US" altLang="en-US" err="1"/>
              <a:t>teamet</a:t>
            </a:r>
            <a:r>
              <a:rPr lang="en-US" altLang="en-US"/>
              <a:t> </a:t>
            </a:r>
            <a:r>
              <a:rPr lang="en-US" altLang="en-US" err="1"/>
              <a:t>og</a:t>
            </a:r>
            <a:r>
              <a:rPr lang="en-US" altLang="en-US"/>
              <a:t> </a:t>
            </a:r>
            <a:r>
              <a:rPr lang="en-US" altLang="en-US" err="1"/>
              <a:t>interessenter</a:t>
            </a:r>
            <a:r>
              <a:rPr lang="en-US" altLang="en-US"/>
              <a:t> – </a:t>
            </a:r>
            <a:r>
              <a:rPr lang="en-US" altLang="en-US" err="1"/>
              <a:t>præsentation</a:t>
            </a:r>
            <a:r>
              <a:rPr lang="en-US" altLang="en-US"/>
              <a:t> </a:t>
            </a:r>
            <a:r>
              <a:rPr lang="en-US" altLang="en-US" err="1"/>
              <a:t>udviklet</a:t>
            </a:r>
            <a:r>
              <a:rPr lang="en-US" altLang="en-US"/>
              <a:t> product </a:t>
            </a:r>
            <a:r>
              <a:rPr lang="en-US" altLang="en-US" err="1"/>
              <a:t>til</a:t>
            </a:r>
            <a:r>
              <a:rPr lang="en-US" altLang="en-US"/>
              <a:t> – </a:t>
            </a:r>
            <a:r>
              <a:rPr lang="en-US" altLang="en-US" err="1"/>
              <a:t>typisk</a:t>
            </a:r>
            <a:r>
              <a:rPr lang="en-US" altLang="en-US"/>
              <a:t> </a:t>
            </a:r>
            <a:r>
              <a:rPr lang="en-US" altLang="en-US" err="1"/>
              <a:t>hver</a:t>
            </a:r>
            <a:r>
              <a:rPr lang="en-US" altLang="en-US"/>
              <a:t> 14 </a:t>
            </a:r>
            <a:r>
              <a:rPr lang="en-US" altLang="en-US" err="1"/>
              <a:t>dag</a:t>
            </a:r>
            <a:endParaRPr lang="en-US" altLang="en-US"/>
          </a:p>
          <a:p>
            <a:r>
              <a:rPr lang="en-US" altLang="en-US" b="1"/>
              <a:t>- Retro</a:t>
            </a:r>
            <a:r>
              <a:rPr lang="en-US" altLang="en-US"/>
              <a:t>: Hele </a:t>
            </a:r>
            <a:r>
              <a:rPr lang="en-US" altLang="en-US" err="1"/>
              <a:t>teamet</a:t>
            </a:r>
            <a:r>
              <a:rPr lang="en-US" altLang="en-US"/>
              <a:t> - </a:t>
            </a:r>
            <a:r>
              <a:rPr lang="en-US" altLang="en-US" err="1"/>
              <a:t>kigger</a:t>
            </a:r>
            <a:r>
              <a:rPr lang="en-US" altLang="en-US"/>
              <a:t> </a:t>
            </a:r>
            <a:r>
              <a:rPr lang="en-US" altLang="en-US" err="1"/>
              <a:t>tilbage</a:t>
            </a:r>
            <a:r>
              <a:rPr lang="en-US" altLang="en-US"/>
              <a:t> </a:t>
            </a:r>
            <a:r>
              <a:rPr lang="en-US" altLang="en-US" err="1"/>
              <a:t>på</a:t>
            </a:r>
            <a:r>
              <a:rPr lang="en-US" altLang="en-US"/>
              <a:t> sprint - </a:t>
            </a:r>
            <a:r>
              <a:rPr lang="en-US" altLang="en-US" err="1"/>
              <a:t>reflekterer</a:t>
            </a:r>
            <a:r>
              <a:rPr lang="en-US" altLang="en-US"/>
              <a:t> over </a:t>
            </a:r>
            <a:r>
              <a:rPr lang="en-US" altLang="en-US" err="1"/>
              <a:t>hvordan</a:t>
            </a:r>
            <a:r>
              <a:rPr lang="en-US" altLang="en-US"/>
              <a:t> det er </a:t>
            </a:r>
            <a:r>
              <a:rPr lang="en-US" altLang="en-US" err="1"/>
              <a:t>gået</a:t>
            </a:r>
            <a:r>
              <a:rPr lang="en-US" altLang="en-US"/>
              <a:t> – </a:t>
            </a:r>
            <a:r>
              <a:rPr lang="en-US" altLang="en-US" err="1"/>
              <a:t>hvad</a:t>
            </a:r>
            <a:r>
              <a:rPr lang="en-US" altLang="en-US"/>
              <a:t> har </a:t>
            </a:r>
            <a:r>
              <a:rPr lang="en-US" altLang="en-US" err="1"/>
              <a:t>fungeret</a:t>
            </a:r>
            <a:r>
              <a:rPr lang="en-US" altLang="en-US"/>
              <a:t> </a:t>
            </a:r>
            <a:r>
              <a:rPr lang="en-US" altLang="en-US" err="1"/>
              <a:t>godt</a:t>
            </a:r>
            <a:r>
              <a:rPr lang="en-US" altLang="en-US"/>
              <a:t>, </a:t>
            </a:r>
            <a:r>
              <a:rPr lang="en-US" altLang="en-US" err="1"/>
              <a:t>hvad</a:t>
            </a:r>
            <a:r>
              <a:rPr lang="en-US" altLang="en-US"/>
              <a:t> har vi </a:t>
            </a:r>
            <a:r>
              <a:rPr lang="en-US" altLang="en-US" err="1"/>
              <a:t>lært</a:t>
            </a:r>
            <a:r>
              <a:rPr lang="en-US" altLang="en-US"/>
              <a:t> </a:t>
            </a:r>
            <a:r>
              <a:rPr lang="en-US" altLang="en-US" err="1"/>
              <a:t>og</a:t>
            </a:r>
            <a:r>
              <a:rPr lang="en-US" altLang="en-US"/>
              <a:t> er der </a:t>
            </a:r>
            <a:r>
              <a:rPr lang="en-US" altLang="en-US" err="1"/>
              <a:t>noget</a:t>
            </a:r>
            <a:r>
              <a:rPr lang="en-US" altLang="en-US"/>
              <a:t> vi </a:t>
            </a:r>
            <a:r>
              <a:rPr lang="en-US" altLang="en-US" err="1"/>
              <a:t>skal</a:t>
            </a:r>
            <a:r>
              <a:rPr lang="en-US" altLang="en-US"/>
              <a:t> </a:t>
            </a:r>
            <a:r>
              <a:rPr lang="en-US" altLang="en-US" err="1"/>
              <a:t>være</a:t>
            </a:r>
            <a:r>
              <a:rPr lang="en-US" altLang="en-US"/>
              <a:t> </a:t>
            </a:r>
            <a:r>
              <a:rPr lang="en-US" altLang="en-US" err="1"/>
              <a:t>særligt</a:t>
            </a:r>
            <a:r>
              <a:rPr lang="en-US" altLang="en-US"/>
              <a:t> </a:t>
            </a:r>
            <a:r>
              <a:rPr lang="en-US" altLang="en-US" err="1"/>
              <a:t>opmærksomme</a:t>
            </a:r>
            <a:r>
              <a:rPr lang="en-US" altLang="en-US"/>
              <a:t> </a:t>
            </a:r>
            <a:r>
              <a:rPr lang="en-US" altLang="en-US" err="1"/>
              <a:t>på</a:t>
            </a:r>
            <a:r>
              <a:rPr lang="en-US" altLang="en-US"/>
              <a:t> I </a:t>
            </a:r>
            <a:r>
              <a:rPr lang="en-US" altLang="en-US" err="1"/>
              <a:t>næste</a:t>
            </a:r>
            <a:r>
              <a:rPr lang="en-US" altLang="en-US"/>
              <a:t> sprint – VIGTIGSTE event</a:t>
            </a:r>
          </a:p>
          <a:p>
            <a:endParaRPr lang="en-US" altLang="en-US"/>
          </a:p>
        </p:txBody>
      </p:sp>
    </p:spTree>
    <p:extLst>
      <p:ext uri="{BB962C8B-B14F-4D97-AF65-F5344CB8AC3E}">
        <p14:creationId xmlns:p14="http://schemas.microsoft.com/office/powerpoint/2010/main" val="1618859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Former minister </a:t>
            </a:r>
            <a:r>
              <a:rPr lang="da-DK" err="1"/>
              <a:t>faced</a:t>
            </a:r>
            <a:r>
              <a:rPr lang="da-DK"/>
              <a:t> the </a:t>
            </a:r>
            <a:r>
              <a:rPr lang="en-US"/>
              <a:t>burning platform. The IT department was failing in their way of working. It was inadequate to achieve a new solution in time. Major it-development projects failed and cost the Danish state millions of dollars. It was time to look elsewhere. Inspiration was found in the agile framework. In both private sector and public. </a:t>
            </a:r>
          </a:p>
          <a:p>
            <a:r>
              <a:rPr lang="en-US">
                <a:cs typeface="Arial"/>
              </a:rPr>
              <a:t>This was how they worked </a:t>
            </a:r>
          </a:p>
          <a:p>
            <a:r>
              <a:rPr lang="en-US">
                <a:cs typeface="Arial"/>
              </a:rPr>
              <a:t>Years of analysis</a:t>
            </a:r>
          </a:p>
          <a:p>
            <a:r>
              <a:rPr lang="en-US">
                <a:cs typeface="Arial"/>
              </a:rPr>
              <a:t>Extensive time of defining and breaking down requirements down to a absolute smallest entity</a:t>
            </a:r>
          </a:p>
          <a:p>
            <a:r>
              <a:rPr lang="en-US">
                <a:cs typeface="Arial"/>
              </a:rPr>
              <a:t>Organized like this in silos analysist analyzed and handed over to the developers </a:t>
            </a:r>
            <a:r>
              <a:rPr lang="en-US" err="1">
                <a:cs typeface="Arial"/>
              </a:rPr>
              <a:t>whwn</a:t>
            </a:r>
            <a:r>
              <a:rPr lang="en-US">
                <a:cs typeface="Arial"/>
              </a:rPr>
              <a:t> they handed over to the testers </a:t>
            </a:r>
            <a:r>
              <a:rPr lang="en-US" err="1">
                <a:cs typeface="Arial"/>
              </a:rPr>
              <a:t>th</a:t>
            </a:r>
          </a:p>
          <a:p>
            <a:endParaRPr lang="en-US">
              <a:cs typeface="Arial"/>
            </a:endParaRPr>
          </a:p>
        </p:txBody>
      </p:sp>
      <p:sp>
        <p:nvSpPr>
          <p:cNvPr id="4" name="Pladsholder til slidenummer 3"/>
          <p:cNvSpPr>
            <a:spLocks noGrp="1"/>
          </p:cNvSpPr>
          <p:nvPr>
            <p:ph type="sldNum" sz="quarter" idx="5"/>
          </p:nvPr>
        </p:nvSpPr>
        <p:spPr/>
        <p:txBody>
          <a:bodyPr/>
          <a:lstStyle/>
          <a:p>
            <a:fld id="{A16CFAD1-D197-4A88-B173-A6412E995EE5}" type="slidenum">
              <a:rPr lang="en-GB" smtClean="0"/>
              <a:pPr/>
              <a:t>8</a:t>
            </a:fld>
            <a:endParaRPr lang="en-GB"/>
          </a:p>
        </p:txBody>
      </p:sp>
    </p:spTree>
    <p:extLst>
      <p:ext uri="{BB962C8B-B14F-4D97-AF65-F5344CB8AC3E}">
        <p14:creationId xmlns:p14="http://schemas.microsoft.com/office/powerpoint/2010/main" val="2006793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normAutofit fontScale="92500" lnSpcReduction="20000"/>
          </a:bodyPr>
          <a:lstStyle/>
          <a:p>
            <a:r>
              <a:rPr lang="da-DK"/>
              <a:t>Evt. historie om ”det store vandfald og det lille vandfald” og laksen, der svømmer tilbage.</a:t>
            </a:r>
          </a:p>
          <a:p>
            <a:endParaRPr lang="da-DK"/>
          </a:p>
          <a:p>
            <a:r>
              <a:rPr lang="da-DK"/>
              <a:t>Hvad betyder det at arbejde agilt rent</a:t>
            </a:r>
            <a:r>
              <a:rPr lang="da-DK" baseline="0"/>
              <a:t> praktisk.</a:t>
            </a:r>
            <a:endParaRPr lang="da-DK" baseline="0">
              <a:cs typeface="Calibri"/>
            </a:endParaRPr>
          </a:p>
          <a:p>
            <a:r>
              <a:rPr lang="da-DK" baseline="0"/>
              <a:t>N</a:t>
            </a:r>
            <a:r>
              <a:rPr lang="da-DK"/>
              <a:t>år man taler om at arbejde agilt kan man sige at dette er en</a:t>
            </a:r>
            <a:r>
              <a:rPr lang="da-DK" baseline="0"/>
              <a:t> kontrast til Vandfald, som man også arbejder med i UFST.</a:t>
            </a:r>
            <a:endParaRPr lang="da-DK" baseline="0">
              <a:cs typeface="Calibri"/>
            </a:endParaRPr>
          </a:p>
          <a:p>
            <a:endParaRPr lang="da-DK" baseline="0"/>
          </a:p>
          <a:p>
            <a:r>
              <a:rPr lang="da-DK" baseline="0"/>
              <a:t>Kort fortalt kan man sige, at det er godt at arbejde agilt med komplekse projekter, hvorimod vandfald modellen er bedre til komplicerede projekter.</a:t>
            </a:r>
            <a:endParaRPr lang="da-DK" baseline="0">
              <a:cs typeface="Calibri"/>
            </a:endParaRPr>
          </a:p>
          <a:p>
            <a:endParaRPr lang="da-DK" baseline="0"/>
          </a:p>
          <a:p>
            <a:r>
              <a:rPr lang="da-DK" b="1" baseline="0"/>
              <a:t>Vandfald</a:t>
            </a:r>
            <a:endParaRPr lang="da-DK" b="1" baseline="0">
              <a:cs typeface="Calibri"/>
            </a:endParaRPr>
          </a:p>
          <a:p>
            <a:r>
              <a:rPr lang="da-DK" baseline="0"/>
              <a:t>Typisk en lang projektperiode. I denne model kan der være nogle risici qua det kan forårsage extra omkostninger, idet man risikerer at skulle rulle tilbage.</a:t>
            </a:r>
            <a:r>
              <a:rPr lang="da-DK"/>
              <a:t> </a:t>
            </a:r>
          </a:p>
          <a:p>
            <a:endParaRPr lang="da-DK">
              <a:cs typeface="Calibri" panose="020F0502020204030204"/>
            </a:endParaRPr>
          </a:p>
          <a:p>
            <a:r>
              <a:rPr lang="da-DK" b="1" baseline="0"/>
              <a:t>Agile</a:t>
            </a:r>
            <a:endParaRPr lang="da-DK" b="1" baseline="0">
              <a:cs typeface="Calibri"/>
            </a:endParaRPr>
          </a:p>
          <a:p>
            <a:r>
              <a:rPr lang="da-DK" baseline="0"/>
              <a:t>Vi gennemgår de samme faser, men i små iterationer, så vi løbende sikrer os at vi arbejder på det rigtige.</a:t>
            </a:r>
            <a:r>
              <a:rPr lang="da-DK"/>
              <a:t> </a:t>
            </a:r>
            <a:endParaRPr lang="da-DK" baseline="0">
              <a:cs typeface="Calibri"/>
            </a:endParaRPr>
          </a:p>
          <a:p>
            <a:r>
              <a:rPr lang="da-DK" baseline="0"/>
              <a:t>Vi kan hurtigere imødekomme forandringer og ændre på det, som vi egentlig havde planlagt.</a:t>
            </a:r>
            <a:endParaRPr lang="da-DK" baseline="0">
              <a:cs typeface="Calibri"/>
            </a:endParaRPr>
          </a:p>
          <a:p>
            <a:endParaRPr lang="da-DK" baseline="0"/>
          </a:p>
          <a:p>
            <a:r>
              <a:rPr lang="da-DK" baseline="0"/>
              <a:t>Gevinster:</a:t>
            </a:r>
            <a:r>
              <a:rPr lang="da-DK"/>
              <a:t> </a:t>
            </a:r>
            <a:endParaRPr lang="da-DK" baseline="0">
              <a:cs typeface="Calibri"/>
            </a:endParaRPr>
          </a:p>
          <a:p>
            <a:r>
              <a:rPr lang="da-DK" baseline="0"/>
              <a:t>Gode muligheder for at arbejde iterativt</a:t>
            </a:r>
            <a:endParaRPr lang="da-DK" baseline="0">
              <a:cs typeface="Calibri"/>
            </a:endParaRPr>
          </a:p>
          <a:p>
            <a:r>
              <a:rPr lang="da-DK" baseline="0"/>
              <a:t>Vi har de samme personer der arbejder på projektet gennem hele dets levetid, det medfører at det er billigere hvis vi skal tilbage og rette tidligere funktionalitet</a:t>
            </a:r>
            <a:endParaRPr lang="da-DK" baseline="0">
              <a:cs typeface="Calibri"/>
            </a:endParaRPr>
          </a:p>
          <a:p>
            <a:endParaRPr lang="da-DK" baseline="0"/>
          </a:p>
          <a:p>
            <a:r>
              <a:rPr lang="da-DK"/>
              <a:t> </a:t>
            </a:r>
            <a:endParaRPr lang="da-DK" baseline="0">
              <a:cs typeface="Calibri"/>
            </a:endParaRPr>
          </a:p>
          <a:p>
            <a:endParaRPr lang="da-DK"/>
          </a:p>
        </p:txBody>
      </p:sp>
      <p:sp>
        <p:nvSpPr>
          <p:cNvPr id="4" name="Pladsholder til diasnummer 3"/>
          <p:cNvSpPr>
            <a:spLocks noGrp="1"/>
          </p:cNvSpPr>
          <p:nvPr>
            <p:ph type="sldNum" sz="quarter" idx="10"/>
          </p:nvPr>
        </p:nvSpPr>
        <p:spPr/>
        <p:txBody>
          <a:bodyPr/>
          <a:lstStyle/>
          <a:p>
            <a:fld id="{A16CFAD1-D197-4A88-B173-A6412E995EE5}" type="slidenum">
              <a:rPr lang="en-GB" smtClean="0"/>
              <a:pPr/>
              <a:t>9</a:t>
            </a:fld>
            <a:endParaRPr lang="en-GB"/>
          </a:p>
        </p:txBody>
      </p:sp>
    </p:spTree>
    <p:extLst>
      <p:ext uri="{BB962C8B-B14F-4D97-AF65-F5344CB8AC3E}">
        <p14:creationId xmlns:p14="http://schemas.microsoft.com/office/powerpoint/2010/main" val="2565652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10"/>
          <p:cNvSpPr>
            <a:spLocks noGrp="1" noChangeArrowheads="1"/>
          </p:cNvSpPr>
          <p:nvPr>
            <p:ph type="sldNum"/>
          </p:nvPr>
        </p:nvSpPr>
        <p:spPr>
          <a:ln/>
        </p:spPr>
        <p:txBody>
          <a:bodyPr/>
          <a:lstStyle/>
          <a:p>
            <a:fld id="{77BD35B7-DAF1-5B4D-94FA-36B61FD74AC4}" type="slidenum">
              <a:rPr lang="en-US" altLang="x-none"/>
              <a:pPr/>
              <a:t>17</a:t>
            </a:fld>
            <a:endParaRPr lang="en-US" altLang="x-none"/>
          </a:p>
        </p:txBody>
      </p:sp>
      <p:sp>
        <p:nvSpPr>
          <p:cNvPr id="18433" name="Text Box 1"/>
          <p:cNvSpPr txBox="1">
            <a:spLocks noGrp="1" noRot="1" noChangeAspect="1" noChangeArrowheads="1"/>
          </p:cNvSpPr>
          <p:nvPr>
            <p:ph type="sldImg"/>
          </p:nvPr>
        </p:nvSpPr>
        <p:spPr bwMode="auto">
          <a:xfrm>
            <a:off x="425450" y="1243013"/>
            <a:ext cx="5953125" cy="3349625"/>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18434" name="Text Box 2"/>
          <p:cNvSpPr txBox="1">
            <a:spLocks noGrp="1" noChangeArrowheads="1"/>
          </p:cNvSpPr>
          <p:nvPr>
            <p:ph type="body" idx="1"/>
          </p:nvPr>
        </p:nvSpPr>
        <p:spPr bwMode="auto">
          <a:xfrm>
            <a:off x="680879" y="4784070"/>
            <a:ext cx="5442303" cy="39090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r>
              <a:rPr lang="da-DK" altLang="x-none"/>
              <a:t>Step 1 : </a:t>
            </a:r>
            <a:r>
              <a:rPr lang="en-US" altLang="x-none"/>
              <a:t>A burning platform  The company is failing to compete, and the existing way of working is inadequate to achieve a new solution in time.</a:t>
            </a:r>
          </a:p>
          <a:p>
            <a:r>
              <a:rPr lang="en-US" altLang="x-none"/>
              <a:t>2. Proactive leadership  In the absence of a burning platform, leadership must create a sense of urgency to proactively drive change by taking a stand for a better, future state.</a:t>
            </a:r>
          </a:p>
          <a:p>
            <a:endParaRPr lang="da-DK" altLang="x-none"/>
          </a:p>
          <a:p>
            <a:endParaRPr lang="da-DK" altLang="x-none"/>
          </a:p>
          <a:p>
            <a:pPr marL="0" marR="0" lvl="0" indent="0" algn="l" defTabSz="914400" rtl="0" eaLnBrk="1" fontAlgn="auto" latinLnBrk="0" hangingPunct="1">
              <a:lnSpc>
                <a:spcPct val="100000"/>
              </a:lnSpc>
              <a:spcBef>
                <a:spcPts val="0"/>
              </a:spcBef>
              <a:spcAft>
                <a:spcPts val="0"/>
              </a:spcAft>
              <a:buClrTx/>
              <a:buSzTx/>
              <a:buFontTx/>
              <a:buNone/>
              <a:tabLst/>
              <a:defRPr/>
            </a:pPr>
            <a:r>
              <a:rPr lang="da-DK" altLang="x-none"/>
              <a:t>Step 2: </a:t>
            </a:r>
            <a:r>
              <a:rPr lang="en-US" sz="1200" i="1" kern="0"/>
              <a:t>“A strong guiding coalition is always needed. One with the right composition, level of trust, and shared objective.”</a:t>
            </a:r>
          </a:p>
          <a:p>
            <a:endParaRPr lang="da-DK" altLang="x-none"/>
          </a:p>
          <a:p>
            <a:r>
              <a:rPr lang="da-DK" altLang="x-none"/>
              <a:t>Step 3: </a:t>
            </a:r>
            <a:r>
              <a:rPr lang="en-US"/>
              <a:t>Only management can change the system. </a:t>
            </a:r>
          </a:p>
          <a:p>
            <a:r>
              <a:rPr lang="en-US" altLang="x-none"/>
              <a:t>“It is not enough that management commit themselves to quality and productivity … They must know what it is they must do.</a:t>
            </a:r>
          </a:p>
          <a:p>
            <a:r>
              <a:rPr lang="en-US" altLang="x-none"/>
              <a:t>Such a responsibility cannot be delegated.”</a:t>
            </a:r>
          </a:p>
          <a:p>
            <a:r>
              <a:rPr lang="en-US" altLang="x-none"/>
              <a:t>—W. Edwards Deming</a:t>
            </a:r>
          </a:p>
          <a:p>
            <a:endParaRPr lang="en-US" altLang="x-none"/>
          </a:p>
          <a:p>
            <a:pPr>
              <a:spcBef>
                <a:spcPts val="1600"/>
              </a:spcBef>
              <a:spcAft>
                <a:spcPts val="1600"/>
              </a:spcAft>
            </a:pPr>
            <a:r>
              <a:rPr lang="en-US" altLang="x-none"/>
              <a:t>Step 4: </a:t>
            </a:r>
            <a:r>
              <a:rPr lang="en-US" sz="1200"/>
              <a:t>mindset, principles and practices. Effective leadership values for managing the new generation of knowledge workers. </a:t>
            </a:r>
          </a:p>
          <a:p>
            <a:pPr>
              <a:spcBef>
                <a:spcPts val="1600"/>
              </a:spcBef>
              <a:spcAft>
                <a:spcPts val="800"/>
              </a:spcAft>
            </a:pPr>
            <a:r>
              <a:rPr lang="en-US" sz="1200"/>
              <a:t>Leader’s ‘how to’ guide</a:t>
            </a:r>
          </a:p>
          <a:p>
            <a:pPr>
              <a:spcBef>
                <a:spcPts val="1600"/>
              </a:spcBef>
              <a:spcAft>
                <a:spcPts val="800"/>
              </a:spcAft>
            </a:pPr>
            <a:endParaRPr lang="en-US" sz="1200"/>
          </a:p>
          <a:p>
            <a:pPr>
              <a:spcBef>
                <a:spcPts val="1600"/>
              </a:spcBef>
              <a:spcAft>
                <a:spcPts val="800"/>
              </a:spcAft>
            </a:pPr>
            <a:r>
              <a:rPr lang="en-US" sz="1200"/>
              <a:t>Step5: A guiding coalition that operates as an effective team can process more information, more quickly. It can also speed the implementation of new approaches because powerful people are truly informed and committed to key decisions.” </a:t>
            </a:r>
          </a:p>
          <a:p>
            <a:pPr>
              <a:spcBef>
                <a:spcPts val="1600"/>
              </a:spcBef>
              <a:spcAft>
                <a:spcPts val="800"/>
              </a:spcAft>
            </a:pPr>
            <a:r>
              <a:rPr lang="en-US" sz="1200"/>
              <a:t>Step 6: </a:t>
            </a:r>
            <a:r>
              <a:rPr lang="en-US"/>
              <a:t>Organize around value</a:t>
            </a:r>
            <a:r>
              <a:rPr lang="en-US" sz="1200"/>
              <a:t>. “Break down barriers between departments”</a:t>
            </a:r>
          </a:p>
          <a:p>
            <a:pPr>
              <a:spcBef>
                <a:spcPts val="1600"/>
              </a:spcBef>
              <a:spcAft>
                <a:spcPts val="800"/>
              </a:spcAft>
            </a:pPr>
            <a:r>
              <a:rPr lang="en-US" sz="1200"/>
              <a:t>—W. Edwards Deming</a:t>
            </a:r>
          </a:p>
          <a:p>
            <a:pPr>
              <a:spcBef>
                <a:spcPts val="1600"/>
              </a:spcBef>
              <a:spcAft>
                <a:spcPts val="800"/>
              </a:spcAft>
            </a:pPr>
            <a:r>
              <a:rPr lang="en-US" sz="1200"/>
              <a:t>Step 7: imp. roadmap</a:t>
            </a:r>
          </a:p>
          <a:p>
            <a:pPr>
              <a:spcBef>
                <a:spcPts val="1600"/>
              </a:spcBef>
              <a:spcAft>
                <a:spcPts val="800"/>
              </a:spcAft>
            </a:pPr>
            <a:r>
              <a:rPr lang="en-US" sz="1200"/>
              <a:t>Step 8: Launch agile teams </a:t>
            </a:r>
          </a:p>
          <a:p>
            <a:pPr>
              <a:spcBef>
                <a:spcPts val="1600"/>
              </a:spcBef>
              <a:spcAft>
                <a:spcPts val="800"/>
              </a:spcAft>
            </a:pPr>
            <a:endParaRPr lang="en-US" sz="1200"/>
          </a:p>
          <a:p>
            <a:endParaRPr lang="x-none" altLang="x-none"/>
          </a:p>
        </p:txBody>
      </p:sp>
    </p:spTree>
    <p:extLst>
      <p:ext uri="{BB962C8B-B14F-4D97-AF65-F5344CB8AC3E}">
        <p14:creationId xmlns:p14="http://schemas.microsoft.com/office/powerpoint/2010/main" val="40183281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8"/>
          <p:cNvSpPr>
            <a:spLocks noGrp="1" noChangeArrowheads="1"/>
          </p:cNvSpPr>
          <p:nvPr>
            <p:ph type="sldNum"/>
          </p:nvPr>
        </p:nvSpPr>
        <p:spPr>
          <a:ln/>
        </p:spPr>
        <p:txBody>
          <a:bodyPr/>
          <a:lstStyle/>
          <a:p>
            <a:fld id="{5FDC0BE5-8237-434B-AB26-F93C2EF449B3}" type="slidenum">
              <a:rPr lang="en-US" altLang="x-none"/>
              <a:pPr/>
              <a:t>19</a:t>
            </a:fld>
            <a:endParaRPr lang="en-US" altLang="x-none"/>
          </a:p>
        </p:txBody>
      </p:sp>
      <p:sp>
        <p:nvSpPr>
          <p:cNvPr id="6145" name="Text Box 1"/>
          <p:cNvSpPr txBox="1">
            <a:spLocks noGrp="1" noRot="1" noChangeAspect="1" noChangeArrowheads="1"/>
          </p:cNvSpPr>
          <p:nvPr>
            <p:ph type="sldImg"/>
          </p:nvPr>
        </p:nvSpPr>
        <p:spPr bwMode="auto">
          <a:xfrm>
            <a:off x="423863" y="1243013"/>
            <a:ext cx="5959475" cy="33528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6146" name="Text Box 2"/>
          <p:cNvSpPr txBox="1">
            <a:spLocks noGrp="1" noChangeArrowheads="1"/>
          </p:cNvSpPr>
          <p:nvPr>
            <p:ph type="body" idx="1"/>
          </p:nvPr>
        </p:nvSpPr>
        <p:spPr bwMode="auto">
          <a:xfrm>
            <a:off x="680879" y="4784071"/>
            <a:ext cx="5445455" cy="391251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x-none" altLang="x-none"/>
          </a:p>
        </p:txBody>
      </p:sp>
    </p:spTree>
    <p:extLst>
      <p:ext uri="{BB962C8B-B14F-4D97-AF65-F5344CB8AC3E}">
        <p14:creationId xmlns:p14="http://schemas.microsoft.com/office/powerpoint/2010/main" val="388634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5" name="Rectangle 8"/>
          <p:cNvSpPr>
            <a:spLocks noGrp="1" noChangeArrowheads="1"/>
          </p:cNvSpPr>
          <p:nvPr>
            <p:ph type="sldNum"/>
          </p:nvPr>
        </p:nvSpPr>
        <p:spPr>
          <a:ln/>
        </p:spPr>
        <p:txBody>
          <a:bodyPr/>
          <a:lstStyle/>
          <a:p>
            <a:fld id="{5FDC0BE5-8237-434B-AB26-F93C2EF449B3}" type="slidenum">
              <a:rPr lang="en-US" altLang="x-none"/>
              <a:pPr/>
              <a:t>20</a:t>
            </a:fld>
            <a:endParaRPr lang="en-US" altLang="x-none"/>
          </a:p>
        </p:txBody>
      </p:sp>
      <p:sp>
        <p:nvSpPr>
          <p:cNvPr id="6145" name="Text Box 1"/>
          <p:cNvSpPr txBox="1">
            <a:spLocks noGrp="1" noRot="1" noChangeAspect="1" noChangeArrowheads="1"/>
          </p:cNvSpPr>
          <p:nvPr>
            <p:ph type="sldImg"/>
          </p:nvPr>
        </p:nvSpPr>
        <p:spPr bwMode="auto">
          <a:xfrm>
            <a:off x="423863" y="1243013"/>
            <a:ext cx="5959475" cy="33528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sp>
      <p:sp>
        <p:nvSpPr>
          <p:cNvPr id="6146" name="Text Box 2"/>
          <p:cNvSpPr txBox="1">
            <a:spLocks noGrp="1" noChangeArrowheads="1"/>
          </p:cNvSpPr>
          <p:nvPr>
            <p:ph type="body" idx="1"/>
          </p:nvPr>
        </p:nvSpPr>
        <p:spPr bwMode="auto">
          <a:xfrm>
            <a:off x="680879" y="4784071"/>
            <a:ext cx="5445455" cy="3912514"/>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x-none" altLang="x-none"/>
          </a:p>
        </p:txBody>
      </p:sp>
    </p:spTree>
    <p:extLst>
      <p:ext uri="{BB962C8B-B14F-4D97-AF65-F5344CB8AC3E}">
        <p14:creationId xmlns:p14="http://schemas.microsoft.com/office/powerpoint/2010/main" val="13629284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C4A07BFB-B7C8-43EB-ADFE-817CCD0F474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ctrTitle" hasCustomPrompt="1"/>
          </p:nvPr>
        </p:nvSpPr>
        <p:spPr>
          <a:xfrm>
            <a:off x="539750" y="2060707"/>
            <a:ext cx="7286626" cy="1399670"/>
          </a:xfrm>
        </p:spPr>
        <p:txBody>
          <a:bodyPr anchor="b"/>
          <a:lstStyle>
            <a:lvl1pPr algn="l">
              <a:defRPr sz="50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49" y="3701667"/>
            <a:ext cx="5373689" cy="792000"/>
          </a:xfrm>
        </p:spPr>
        <p:txBody>
          <a:bodyPr/>
          <a:lstStyle>
            <a:lvl1pPr marL="0" indent="0" algn="l">
              <a:lnSpc>
                <a:spcPct val="110000"/>
              </a:lnSpc>
              <a:spcBef>
                <a:spcPts val="0"/>
              </a:spcBef>
              <a:buFont typeface="Arial" panose="020B0604020202020204" pitchFamily="34" charset="0"/>
              <a:buChar char="​"/>
              <a:defRPr sz="1800" b="0">
                <a:latin typeface="+mn-lt"/>
              </a:defRPr>
            </a:lvl1pPr>
            <a:lvl2pPr marL="0" indent="0" algn="l">
              <a:lnSpc>
                <a:spcPct val="110000"/>
              </a:lnSpc>
              <a:buFont typeface="Arial" panose="020B0604020202020204" pitchFamily="34" charset="0"/>
              <a:buChar char="​"/>
              <a:defRPr sz="1800" b="0">
                <a:latin typeface="+mn-lt"/>
              </a:defRPr>
            </a:lvl2pPr>
            <a:lvl3pPr marL="0" indent="0" algn="l">
              <a:lnSpc>
                <a:spcPct val="110000"/>
              </a:lnSpc>
              <a:buFont typeface="Arial" panose="020B0604020202020204" pitchFamily="34" charset="0"/>
              <a:buChar char="​"/>
              <a:defRPr sz="1800" b="0">
                <a:latin typeface="+mn-lt"/>
              </a:defRPr>
            </a:lvl3pPr>
            <a:lvl4pPr marL="0" indent="0" algn="l">
              <a:lnSpc>
                <a:spcPct val="110000"/>
              </a:lnSpc>
              <a:buFont typeface="Arial" panose="020B0604020202020204" pitchFamily="34" charset="0"/>
              <a:buChar char="​"/>
              <a:defRPr sz="1800" b="0">
                <a:latin typeface="+mn-lt"/>
              </a:defRPr>
            </a:lvl4pPr>
            <a:lvl5pPr marL="0" indent="0" algn="l">
              <a:lnSpc>
                <a:spcPct val="110000"/>
              </a:lnSpc>
              <a:buFont typeface="Arial" panose="020B0604020202020204" pitchFamily="34" charset="0"/>
              <a:buChar char="​"/>
              <a:defRPr sz="1800" b="0">
                <a:latin typeface="+mn-lt"/>
              </a:defRPr>
            </a:lvl5pPr>
            <a:lvl6pPr marL="0" indent="0" algn="l">
              <a:lnSpc>
                <a:spcPct val="110000"/>
              </a:lnSpc>
              <a:spcAft>
                <a:spcPts val="0"/>
              </a:spcAft>
              <a:buFont typeface="Arial" panose="020B0604020202020204" pitchFamily="34" charset="0"/>
              <a:buChar char="​"/>
              <a:defRPr sz="1800" b="0">
                <a:latin typeface="+mn-lt"/>
              </a:defRPr>
            </a:lvl6pPr>
            <a:lvl7pPr marL="0" indent="0" algn="l">
              <a:lnSpc>
                <a:spcPct val="110000"/>
              </a:lnSpc>
              <a:spcAft>
                <a:spcPts val="0"/>
              </a:spcAft>
              <a:buFont typeface="Arial" panose="020B0604020202020204" pitchFamily="34" charset="0"/>
              <a:buChar char="​"/>
              <a:defRPr sz="1800" b="0">
                <a:latin typeface="+mn-lt"/>
              </a:defRPr>
            </a:lvl7pPr>
            <a:lvl8pPr marL="0" indent="0" algn="l">
              <a:lnSpc>
                <a:spcPct val="110000"/>
              </a:lnSpc>
              <a:buFont typeface="Arial" panose="020B0604020202020204" pitchFamily="34" charset="0"/>
              <a:buChar char="​"/>
              <a:defRPr sz="1800" b="0">
                <a:latin typeface="+mn-lt"/>
              </a:defRPr>
            </a:lvl8pPr>
            <a:lvl9pPr marL="0" indent="0" algn="l">
              <a:lnSpc>
                <a:spcPct val="110000"/>
              </a:lnSpc>
              <a:buFont typeface="Arial" panose="020B0604020202020204" pitchFamily="34" charset="0"/>
              <a:buChar char="​"/>
              <a:defRPr sz="1800" b="0">
                <a:latin typeface="+mn-lt"/>
              </a:defRPr>
            </a:lvl9pPr>
          </a:lstStyle>
          <a:p>
            <a:r>
              <a:rPr lang="da-DK"/>
              <a:t>Klik for at tilføje undertitel</a:t>
            </a:r>
          </a:p>
          <a:p>
            <a:pPr lvl="1"/>
            <a:endParaRPr lang="da-DK"/>
          </a:p>
        </p:txBody>
      </p:sp>
      <p:sp>
        <p:nvSpPr>
          <p:cNvPr id="17" name="Pladsholder til tekst 16">
            <a:extLst>
              <a:ext uri="{FF2B5EF4-FFF2-40B4-BE49-F238E27FC236}">
                <a16:creationId xmlns:a16="http://schemas.microsoft.com/office/drawing/2014/main" id="{868AF397-8B8F-4478-A2C4-7EAA862E1B03}"/>
              </a:ext>
            </a:extLst>
          </p:cNvPr>
          <p:cNvSpPr>
            <a:spLocks noGrp="1"/>
          </p:cNvSpPr>
          <p:nvPr>
            <p:ph type="body" sz="quarter" idx="13" hasCustomPrompt="1"/>
          </p:nvPr>
        </p:nvSpPr>
        <p:spPr>
          <a:xfrm>
            <a:off x="8185150" y="309600"/>
            <a:ext cx="1552574" cy="136113"/>
          </a:xfrm>
        </p:spPr>
        <p:txBody>
          <a:bodyPr/>
          <a:lstStyle>
            <a:lvl1pPr marL="0" indent="0">
              <a:lnSpc>
                <a:spcPct val="92000"/>
              </a:lnSpc>
              <a:buNone/>
              <a:defRPr sz="900" b="1"/>
            </a:lvl1pPr>
            <a:lvl2pPr>
              <a:lnSpc>
                <a:spcPct val="92000"/>
              </a:lnSpc>
              <a:buFont typeface="Arial" panose="020B0604020202020204" pitchFamily="34" charset="0"/>
              <a:buChar char="•"/>
              <a:defRPr sz="900"/>
            </a:lvl2pPr>
            <a:lvl3pPr>
              <a:lnSpc>
                <a:spcPct val="92000"/>
              </a:lnSpc>
              <a:defRPr sz="900"/>
            </a:lvl3pPr>
            <a:lvl4pPr>
              <a:lnSpc>
                <a:spcPct val="92000"/>
              </a:lnSpc>
              <a:defRPr sz="900"/>
            </a:lvl4pPr>
            <a:lvl5pPr>
              <a:lnSpc>
                <a:spcPct val="92000"/>
              </a:lnSpc>
              <a:defRPr sz="900"/>
            </a:lvl5pPr>
          </a:lstStyle>
          <a:p>
            <a:pPr lvl="0"/>
            <a:r>
              <a:rPr lang="da-DK"/>
              <a:t>Klik for at tilføje navn</a:t>
            </a:r>
          </a:p>
        </p:txBody>
      </p:sp>
      <p:sp>
        <p:nvSpPr>
          <p:cNvPr id="19" name="Pladsholder til tekst 18">
            <a:extLst>
              <a:ext uri="{FF2B5EF4-FFF2-40B4-BE49-F238E27FC236}">
                <a16:creationId xmlns:a16="http://schemas.microsoft.com/office/drawing/2014/main" id="{68AA7718-5006-4A2C-94A8-A8D985B00772}"/>
              </a:ext>
            </a:extLst>
          </p:cNvPr>
          <p:cNvSpPr>
            <a:spLocks noGrp="1"/>
          </p:cNvSpPr>
          <p:nvPr>
            <p:ph type="body" sz="quarter" idx="14" hasCustomPrompt="1"/>
          </p:nvPr>
        </p:nvSpPr>
        <p:spPr>
          <a:xfrm>
            <a:off x="8185150" y="434065"/>
            <a:ext cx="1550988" cy="213635"/>
          </a:xfrm>
        </p:spPr>
        <p:txBody>
          <a:bodyPr/>
          <a:lstStyle>
            <a:lvl1pPr marL="0" indent="0">
              <a:lnSpc>
                <a:spcPct val="92000"/>
              </a:lnSpc>
              <a:buNone/>
              <a:defRPr sz="900"/>
            </a:lvl1pPr>
            <a:lvl2pPr>
              <a:lnSpc>
                <a:spcPct val="92000"/>
              </a:lnSpc>
              <a:defRPr sz="900"/>
            </a:lvl2pPr>
            <a:lvl3pPr>
              <a:lnSpc>
                <a:spcPct val="92000"/>
              </a:lnSpc>
              <a:defRPr sz="900"/>
            </a:lvl3pPr>
            <a:lvl4pPr>
              <a:lnSpc>
                <a:spcPct val="92000"/>
              </a:lnSpc>
              <a:defRPr sz="900"/>
            </a:lvl4pPr>
            <a:lvl5pPr>
              <a:lnSpc>
                <a:spcPct val="92000"/>
              </a:lnSpc>
              <a:defRPr sz="900"/>
            </a:lvl5pPr>
          </a:lstStyle>
          <a:p>
            <a:pPr lvl="0"/>
            <a:r>
              <a:rPr lang="da-DK"/>
              <a:t>Klik for at tilføje titel</a:t>
            </a:r>
          </a:p>
        </p:txBody>
      </p:sp>
      <p:sp>
        <p:nvSpPr>
          <p:cNvPr id="13" name="Date Placeholder 12">
            <a:extLst>
              <a:ext uri="{FF2B5EF4-FFF2-40B4-BE49-F238E27FC236}">
                <a16:creationId xmlns:a16="http://schemas.microsoft.com/office/drawing/2014/main" id="{9A16CC22-C22E-4867-9FF4-78C37293FB07}"/>
              </a:ext>
            </a:extLst>
          </p:cNvPr>
          <p:cNvSpPr>
            <a:spLocks noGrp="1"/>
          </p:cNvSpPr>
          <p:nvPr>
            <p:ph type="dt" sz="half" idx="10"/>
          </p:nvPr>
        </p:nvSpPr>
        <p:spPr>
          <a:xfrm>
            <a:off x="10096500" y="310722"/>
            <a:ext cx="1552574" cy="336977"/>
          </a:xfrm>
        </p:spPr>
        <p:txBody>
          <a:bodyPr anchor="t" anchorCtr="0"/>
          <a:lstStyle>
            <a:lvl1pPr algn="r">
              <a:lnSpc>
                <a:spcPct val="92000"/>
              </a:lnSpc>
              <a:defRPr sz="900">
                <a:solidFill>
                  <a:schemeClr val="tx1"/>
                </a:solidFill>
              </a:defRPr>
            </a:lvl1pPr>
          </a:lstStyle>
          <a:p>
            <a:fld id="{1CB61267-50B4-4E13-BA1D-D363D134A044}" type="datetime2">
              <a:rPr lang="da-DK" smtClean="0"/>
              <a:t>18. januar 2022</a:t>
            </a:fld>
            <a:endParaRPr lang="da-DK"/>
          </a:p>
        </p:txBody>
      </p:sp>
      <p:sp>
        <p:nvSpPr>
          <p:cNvPr id="14" name="Footer Placeholder 13">
            <a:extLst>
              <a:ext uri="{FF2B5EF4-FFF2-40B4-BE49-F238E27FC236}">
                <a16:creationId xmlns:a16="http://schemas.microsoft.com/office/drawing/2014/main" id="{B8600ECE-4620-45C3-9063-43E125AD94A1}"/>
              </a:ext>
            </a:extLst>
          </p:cNvPr>
          <p:cNvSpPr>
            <a:spLocks noGrp="1"/>
          </p:cNvSpPr>
          <p:nvPr>
            <p:ph type="ftr" sz="quarter" idx="11"/>
          </p:nvPr>
        </p:nvSpPr>
        <p:spPr>
          <a:xfrm>
            <a:off x="0" y="6858000"/>
            <a:ext cx="0" cy="0"/>
          </a:xfrm>
        </p:spPr>
        <p:txBody>
          <a:bodyPr/>
          <a:lstStyle>
            <a:lvl1pPr>
              <a:defRPr sz="100">
                <a:noFill/>
              </a:defRPr>
            </a:lvl1pPr>
          </a:lstStyle>
          <a:p>
            <a:endParaRPr lang="da-DK" sz="100"/>
          </a:p>
        </p:txBody>
      </p:sp>
      <p:sp>
        <p:nvSpPr>
          <p:cNvPr id="15" name="Slide Number Placeholder 14">
            <a:extLst>
              <a:ext uri="{FF2B5EF4-FFF2-40B4-BE49-F238E27FC236}">
                <a16:creationId xmlns:a16="http://schemas.microsoft.com/office/drawing/2014/main" id="{A55D2621-55A0-4EA5-882C-17143BFAB0E8}"/>
              </a:ext>
            </a:extLst>
          </p:cNvPr>
          <p:cNvSpPr>
            <a:spLocks noGrp="1"/>
          </p:cNvSpPr>
          <p:nvPr>
            <p:ph type="sldNum" sz="quarter" idx="12"/>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pic>
        <p:nvPicPr>
          <p:cNvPr id="7" name="Billede 6">
            <a:extLst>
              <a:ext uri="{FF2B5EF4-FFF2-40B4-BE49-F238E27FC236}">
                <a16:creationId xmlns:a16="http://schemas.microsoft.com/office/drawing/2014/main" id="{78AD5285-EA74-40B9-8641-7F46F897B9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9750" y="237709"/>
            <a:ext cx="1722684" cy="515195"/>
          </a:xfrm>
          <a:prstGeom prst="rect">
            <a:avLst/>
          </a:prstGeom>
        </p:spPr>
      </p:pic>
      <p:pic>
        <p:nvPicPr>
          <p:cNvPr id="21" name="Pil">
            <a:extLst>
              <a:ext uri="{FF2B5EF4-FFF2-40B4-BE49-F238E27FC236}">
                <a16:creationId xmlns:a16="http://schemas.microsoft.com/office/drawing/2014/main" id="{6AB39D10-36B8-46FB-948D-350B242058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85150" y="3403890"/>
            <a:ext cx="3462337" cy="2806014"/>
          </a:xfrm>
          <a:prstGeom prst="rect">
            <a:avLst/>
          </a:prstGeom>
        </p:spPr>
      </p:pic>
    </p:spTree>
    <p:extLst>
      <p:ext uri="{BB962C8B-B14F-4D97-AF65-F5344CB8AC3E}">
        <p14:creationId xmlns:p14="http://schemas.microsoft.com/office/powerpoint/2010/main" val="27069129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69688"/>
            <a:ext cx="4418014" cy="1152000"/>
          </a:xfrm>
        </p:spPr>
        <p:txBody>
          <a:bodyPr/>
          <a:lstStyle>
            <a:lvl1pPr>
              <a:defRPr/>
            </a:lvl1pPr>
          </a:lstStyle>
          <a:p>
            <a:r>
              <a:rPr lang="da-DK" noProof="0"/>
              <a:t>Klik for at tilføje titel maks. 2 linjer</a:t>
            </a:r>
          </a:p>
        </p:txBody>
      </p:sp>
      <p:sp>
        <p:nvSpPr>
          <p:cNvPr id="3" name="Content Placeholder 2"/>
          <p:cNvSpPr>
            <a:spLocks noGrp="1"/>
          </p:cNvSpPr>
          <p:nvPr>
            <p:ph idx="1" hasCustomPrompt="1"/>
          </p:nvPr>
        </p:nvSpPr>
        <p:spPr>
          <a:xfrm>
            <a:off x="539750" y="2112963"/>
            <a:ext cx="4418014" cy="3987800"/>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318125" y="647700"/>
            <a:ext cx="6330949" cy="545306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A6F4F450-1BAA-40DE-AAB5-F4B8228C8E14}"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3709268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 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49" y="569688"/>
            <a:ext cx="9196389"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185151" y="2112964"/>
            <a:ext cx="3462337" cy="3757612"/>
          </a:xfrm>
        </p:spPr>
        <p:txBody>
          <a:body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11BB47B8-F2AD-486E-B528-830A7D22B19E}"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1252179207"/>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 indhold B">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D67916D-B624-44EE-9CAE-72C8F9CD396A}"/>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185151" y="2112964"/>
            <a:ext cx="3462337" cy="3757612"/>
          </a:xfrm>
        </p:spPr>
        <p:txBody>
          <a:bodyPr/>
          <a:lstStyle>
            <a:lvl5pPr>
              <a:defRPr/>
            </a:lvl5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endParaRPr lang="da-DK"/>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576307BA-EFA4-4CF5-ADEF-391863F7515D}"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6" name="Krone">
            <a:extLst>
              <a:ext uri="{FF2B5EF4-FFF2-40B4-BE49-F238E27FC236}">
                <a16:creationId xmlns:a16="http://schemas.microsoft.com/office/drawing/2014/main" id="{143362B6-2C69-4357-B2E3-944CF9800B08}"/>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399196565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3698" userDrawn="1">
          <p15:clr>
            <a:srgbClr val="FFFF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re indhold C">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9861A134-0021-4759-9A66-F7C6B302511A}"/>
              </a:ext>
            </a:extLst>
          </p:cNvPr>
          <p:cNvSpPr/>
          <p:nvPr userDrawn="1"/>
        </p:nvSpPr>
        <p:spPr>
          <a:xfrm>
            <a:off x="8185150" y="0"/>
            <a:ext cx="400685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50" y="569688"/>
            <a:ext cx="7285040"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549641" y="2112964"/>
            <a:ext cx="3097848" cy="375761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E8266588-2056-403F-B418-474D1C705134}"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150540515"/>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re indhold og billede">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9861A134-0021-4759-9A66-F7C6B302511A}"/>
              </a:ext>
            </a:extLst>
          </p:cNvPr>
          <p:cNvSpPr/>
          <p:nvPr userDrawn="1"/>
        </p:nvSpPr>
        <p:spPr>
          <a:xfrm>
            <a:off x="8185150" y="0"/>
            <a:ext cx="4006850" cy="6861600"/>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50" y="569688"/>
            <a:ext cx="7285040" cy="1152000"/>
          </a:xfrm>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a:xfrm>
            <a:off x="539749" y="2112963"/>
            <a:ext cx="3462339"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62450" y="2112963"/>
            <a:ext cx="3462339" cy="3757614"/>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4" name="Text Placeholder 4">
            <a:extLst>
              <a:ext uri="{FF2B5EF4-FFF2-40B4-BE49-F238E27FC236}">
                <a16:creationId xmlns:a16="http://schemas.microsoft.com/office/drawing/2014/main" id="{15FFF22B-060E-4150-8A46-BDB48F70E892}"/>
              </a:ext>
            </a:extLst>
          </p:cNvPr>
          <p:cNvSpPr>
            <a:spLocks noGrp="1"/>
          </p:cNvSpPr>
          <p:nvPr>
            <p:ph type="body" sz="quarter" idx="3" hasCustomPrompt="1"/>
          </p:nvPr>
        </p:nvSpPr>
        <p:spPr>
          <a:xfrm>
            <a:off x="8545150" y="605392"/>
            <a:ext cx="3103924" cy="307879"/>
          </a:xfrm>
        </p:spPr>
        <p:txBody>
          <a:bodyPr anchor="t" anchorCtr="0"/>
          <a:lstStyle>
            <a:lvl1pPr marL="0" indent="0" algn="ctr">
              <a:spcBef>
                <a:spcPts val="0"/>
              </a:spcBef>
              <a:buNone/>
              <a:defRPr sz="15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tilføje tekst</a:t>
            </a:r>
          </a:p>
        </p:txBody>
      </p:sp>
      <p:sp>
        <p:nvSpPr>
          <p:cNvPr id="16" name="Pladsholder til billede 15">
            <a:extLst>
              <a:ext uri="{FF2B5EF4-FFF2-40B4-BE49-F238E27FC236}">
                <a16:creationId xmlns:a16="http://schemas.microsoft.com/office/drawing/2014/main" id="{F6036A7A-94FB-47F5-B629-F3149AD981CE}"/>
              </a:ext>
            </a:extLst>
          </p:cNvPr>
          <p:cNvSpPr>
            <a:spLocks noGrp="1"/>
          </p:cNvSpPr>
          <p:nvPr>
            <p:ph type="pic" sz="quarter" idx="14" hasCustomPrompt="1"/>
          </p:nvPr>
        </p:nvSpPr>
        <p:spPr>
          <a:xfrm>
            <a:off x="8545149" y="1063487"/>
            <a:ext cx="3102339" cy="2664000"/>
          </a:xfrm>
          <a:solidFill>
            <a:schemeClr val="bg1">
              <a:lumMod val="95000"/>
            </a:schemeClr>
          </a:solidFill>
        </p:spPr>
        <p:txBody>
          <a:bodyPr tIns="0" anchor="t" anchorCtr="0"/>
          <a:lstStyle>
            <a:lvl1pPr marL="0" indent="0" algn="ctr">
              <a:buNone/>
              <a:defRPr>
                <a:solidFill>
                  <a:schemeClr val="accent1"/>
                </a:solidFill>
              </a:defRPr>
            </a:lvl1pPr>
          </a:lstStyle>
          <a:p>
            <a:r>
              <a:rPr lang="da-DK"/>
              <a:t>Klik på ikonet for at indsætte billede</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905149" y="3897630"/>
            <a:ext cx="2382339" cy="19729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68EE7D84-7164-421E-B662-985E91609F7A}"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764937116"/>
      </p:ext>
    </p:extLst>
  </p:cSld>
  <p:clrMapOvr>
    <a:masterClrMapping/>
  </p:clrMapOvr>
  <p:extLst>
    <p:ext uri="{DCECCB84-F9BA-43D5-87BE-67443E8EF086}">
      <p15:sldGuideLst xmlns:p15="http://schemas.microsoft.com/office/powerpoint/2012/main">
        <p15:guide id="1" orient="horz" pos="3698" userDrawn="1">
          <p15:clr>
            <a:srgbClr val="000000"/>
          </p15:clr>
        </p15:guide>
        <p15:guide id="2" pos="5383" userDrawn="1">
          <p15:clr>
            <a:srgbClr val="000000"/>
          </p15:clr>
        </p15:guide>
        <p15:guide id="3" pos="5610" userDrawn="1">
          <p15:clr>
            <a:srgbClr val="00000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dhold og 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69688"/>
            <a:ext cx="4418013" cy="1152000"/>
          </a:xfrm>
        </p:spPr>
        <p:txBody>
          <a:bodyPr/>
          <a:lstStyle>
            <a:lvl1pPr>
              <a:defRPr/>
            </a:lvl1pPr>
          </a:lstStyle>
          <a:p>
            <a:r>
              <a:rPr lang="da-DK" noProof="0"/>
              <a:t>Klik for at tilføje titel maks. 2 linjer</a:t>
            </a:r>
          </a:p>
        </p:txBody>
      </p:sp>
      <p:sp>
        <p:nvSpPr>
          <p:cNvPr id="3" name="Content Placeholder 2"/>
          <p:cNvSpPr>
            <a:spLocks noGrp="1"/>
          </p:cNvSpPr>
          <p:nvPr>
            <p:ph idx="1" hasCustomPrompt="1"/>
          </p:nvPr>
        </p:nvSpPr>
        <p:spPr>
          <a:xfrm>
            <a:off x="539749" y="2112963"/>
            <a:ext cx="4418013" cy="3757613"/>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6" name="Pladsholder til billede 15">
            <a:extLst>
              <a:ext uri="{FF2B5EF4-FFF2-40B4-BE49-F238E27FC236}">
                <a16:creationId xmlns:a16="http://schemas.microsoft.com/office/drawing/2014/main" id="{F6036A7A-94FB-47F5-B629-F3149AD981CE}"/>
              </a:ext>
            </a:extLst>
          </p:cNvPr>
          <p:cNvSpPr>
            <a:spLocks noGrp="1"/>
          </p:cNvSpPr>
          <p:nvPr>
            <p:ph type="pic" sz="quarter" idx="14" hasCustomPrompt="1"/>
          </p:nvPr>
        </p:nvSpPr>
        <p:spPr>
          <a:xfrm>
            <a:off x="5318125" y="647700"/>
            <a:ext cx="6329363" cy="5222875"/>
          </a:xfrm>
          <a:solidFill>
            <a:schemeClr val="bg1">
              <a:lumMod val="95000"/>
            </a:schemeClr>
          </a:solidFill>
        </p:spPr>
        <p:txBody>
          <a:bodyPr tIns="36000" anchor="t" anchorCtr="0"/>
          <a:lstStyle>
            <a:lvl1pPr marL="0" indent="0" algn="ctr">
              <a:buNone/>
              <a:defRPr>
                <a:solidFill>
                  <a:schemeClr val="accent2"/>
                </a:solidFill>
              </a:defRPr>
            </a:lvl1pPr>
          </a:lstStyle>
          <a:p>
            <a:r>
              <a:rPr lang="da-DK"/>
              <a:t>Klik på ikonet for at indsætte billede</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38490312-991E-4448-887C-6CAE621EAD40}"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accent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800936560"/>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illede og to indhold A">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E69E9E8C-33DE-453F-82A8-8DC85A483228}"/>
              </a:ext>
            </a:extLst>
          </p:cNvPr>
          <p:cNvSpPr/>
          <p:nvPr userDrawn="1"/>
        </p:nvSpPr>
        <p:spPr>
          <a:xfrm>
            <a:off x="8185150" y="0"/>
            <a:ext cx="400685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6" name="Titel 5">
            <a:extLst>
              <a:ext uri="{FF2B5EF4-FFF2-40B4-BE49-F238E27FC236}">
                <a16:creationId xmlns:a16="http://schemas.microsoft.com/office/drawing/2014/main" id="{CDE3B72D-94B1-4434-AF53-F7A802696227}"/>
              </a:ext>
            </a:extLst>
          </p:cNvPr>
          <p:cNvSpPr>
            <a:spLocks noGrp="1"/>
          </p:cNvSpPr>
          <p:nvPr>
            <p:ph type="title" hasCustomPrompt="1"/>
          </p:nvPr>
        </p:nvSpPr>
        <p:spPr>
          <a:xfrm>
            <a:off x="539750" y="569688"/>
            <a:ext cx="7286624" cy="1152000"/>
          </a:xfrm>
        </p:spPr>
        <p:txBody>
          <a:bodyPr/>
          <a:lstStyle/>
          <a:p>
            <a:r>
              <a:rPr lang="da-DK" noProof="0"/>
              <a:t>Klik for at tilføje titel i maks. 2 linjer</a:t>
            </a:r>
            <a:endParaRPr lang="da-DK"/>
          </a:p>
        </p:txBody>
      </p:sp>
      <p:sp>
        <p:nvSpPr>
          <p:cNvPr id="3" name="Content Placeholder 2"/>
          <p:cNvSpPr>
            <a:spLocks noGrp="1"/>
          </p:cNvSpPr>
          <p:nvPr>
            <p:ph idx="1" hasCustomPrompt="1"/>
          </p:nvPr>
        </p:nvSpPr>
        <p:spPr>
          <a:xfrm>
            <a:off x="4364034" y="2112962"/>
            <a:ext cx="3462339" cy="3757615"/>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561070" y="2112962"/>
            <a:ext cx="3088004" cy="37576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5A2DBA24-8CF8-4AB9-9C9B-81A77A21D866}"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accent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2" name="Pladsholder til billede 11">
            <a:extLst>
              <a:ext uri="{FF2B5EF4-FFF2-40B4-BE49-F238E27FC236}">
                <a16:creationId xmlns:a16="http://schemas.microsoft.com/office/drawing/2014/main" id="{48B57227-2733-4B35-8490-EF864AD4ADCB}"/>
              </a:ext>
            </a:extLst>
          </p:cNvPr>
          <p:cNvSpPr>
            <a:spLocks noGrp="1"/>
          </p:cNvSpPr>
          <p:nvPr>
            <p:ph type="pic" sz="quarter" idx="13" hasCustomPrompt="1"/>
          </p:nvPr>
        </p:nvSpPr>
        <p:spPr>
          <a:xfrm>
            <a:off x="539750" y="2112963"/>
            <a:ext cx="3462339" cy="3757612"/>
          </a:xfrm>
          <a:solidFill>
            <a:schemeClr val="bg1"/>
          </a:solidFill>
        </p:spPr>
        <p:txBody>
          <a:bodyPr tIns="0" anchor="t" anchorCtr="0"/>
          <a:lstStyle>
            <a:lvl1pPr marL="0" indent="0" algn="ctr">
              <a:buNone/>
              <a:defRPr/>
            </a:lvl1pPr>
          </a:lstStyle>
          <a:p>
            <a:r>
              <a:rPr lang="da-DK"/>
              <a:t>Klik på ikonet for at indsætte billede</a:t>
            </a:r>
          </a:p>
        </p:txBody>
      </p:sp>
    </p:spTree>
    <p:extLst>
      <p:ext uri="{BB962C8B-B14F-4D97-AF65-F5344CB8AC3E}">
        <p14:creationId xmlns:p14="http://schemas.microsoft.com/office/powerpoint/2010/main" val="3131064802"/>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llede og to indhold B">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63629A3D-BEBD-44A3-B7F0-99B5F6DC39FA}"/>
              </a:ext>
            </a:extLst>
          </p:cNvPr>
          <p:cNvSpPr/>
          <p:nvPr userDrawn="1"/>
        </p:nvSpPr>
        <p:spPr>
          <a:xfrm>
            <a:off x="0" y="0"/>
            <a:ext cx="3046413"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3" name="Content Placeholder 2"/>
          <p:cNvSpPr>
            <a:spLocks noGrp="1"/>
          </p:cNvSpPr>
          <p:nvPr>
            <p:ph idx="1" hasCustomPrompt="1"/>
          </p:nvPr>
        </p:nvSpPr>
        <p:spPr>
          <a:xfrm>
            <a:off x="4364034" y="647700"/>
            <a:ext cx="3462339" cy="5222878"/>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186735" y="647700"/>
            <a:ext cx="3462339" cy="5222878"/>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FD7DE6B4-C07A-47DC-A7C8-8BCE369BE05B}"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
        <p:nvSpPr>
          <p:cNvPr id="12" name="Pladsholder til billede 11">
            <a:extLst>
              <a:ext uri="{FF2B5EF4-FFF2-40B4-BE49-F238E27FC236}">
                <a16:creationId xmlns:a16="http://schemas.microsoft.com/office/drawing/2014/main" id="{48B57227-2733-4B35-8490-EF864AD4ADCB}"/>
              </a:ext>
            </a:extLst>
          </p:cNvPr>
          <p:cNvSpPr>
            <a:spLocks noGrp="1"/>
          </p:cNvSpPr>
          <p:nvPr>
            <p:ph type="pic" sz="quarter" idx="13" hasCustomPrompt="1"/>
          </p:nvPr>
        </p:nvSpPr>
        <p:spPr>
          <a:xfrm>
            <a:off x="539750" y="647700"/>
            <a:ext cx="3462339" cy="5453063"/>
          </a:xfrm>
          <a:solidFill>
            <a:schemeClr val="bg1"/>
          </a:solidFill>
        </p:spPr>
        <p:txBody>
          <a:bodyPr tIns="0" anchor="t" anchorCtr="0"/>
          <a:lstStyle>
            <a:lvl1pPr marL="0" indent="0" algn="ctr">
              <a:buNone/>
              <a:defRPr/>
            </a:lvl1pPr>
          </a:lstStyle>
          <a:p>
            <a:r>
              <a:rPr lang="da-DK"/>
              <a:t>Klik på ikonet for at indsætte billede</a:t>
            </a:r>
          </a:p>
        </p:txBody>
      </p:sp>
      <p:sp>
        <p:nvSpPr>
          <p:cNvPr id="16" name="Krone hvid">
            <a:extLst>
              <a:ext uri="{FF2B5EF4-FFF2-40B4-BE49-F238E27FC236}">
                <a16:creationId xmlns:a16="http://schemas.microsoft.com/office/drawing/2014/main" id="{E7B116D7-53C3-4528-B76A-BA1CAC06B8F5}"/>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4204234319"/>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lsidet billede, to tekstboks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a:solidFill>
            <a:schemeClr val="bg1">
              <a:lumMod val="95000"/>
            </a:schemeClr>
          </a:solidFill>
        </p:spPr>
        <p:txBody>
          <a:bodyPr tIns="0" bIns="648000" anchor="ctr" anchorCtr="0"/>
          <a:lstStyle>
            <a:lvl1pPr marL="0" indent="0" algn="ctr">
              <a:buNone/>
              <a:defRPr sz="1600"/>
            </a:lvl1pPr>
          </a:lstStyle>
          <a:p>
            <a:r>
              <a:rPr lang="da-DK"/>
              <a:t>Klik på ikonet for at indsætte billede</a:t>
            </a:r>
          </a:p>
        </p:txBody>
      </p:sp>
      <p:sp>
        <p:nvSpPr>
          <p:cNvPr id="2" name="Title 1"/>
          <p:cNvSpPr>
            <a:spLocks noGrp="1"/>
          </p:cNvSpPr>
          <p:nvPr>
            <p:ph type="title" hasCustomPrompt="1"/>
          </p:nvPr>
        </p:nvSpPr>
        <p:spPr>
          <a:xfrm>
            <a:off x="539749" y="569688"/>
            <a:ext cx="9196389" cy="1152000"/>
          </a:xfrm>
        </p:spPr>
        <p:txBody>
          <a:bodyPr/>
          <a:lstStyle>
            <a:lvl1pPr>
              <a:defRPr>
                <a:solidFill>
                  <a:schemeClr val="bg1"/>
                </a:solidFill>
              </a:defRPr>
            </a:lvl1pPr>
          </a:lstStyle>
          <a:p>
            <a:r>
              <a:rPr lang="da-DK" noProof="0"/>
              <a:t>Klik for at tilføje titel i maks. 2 linjer</a:t>
            </a:r>
          </a:p>
        </p:txBody>
      </p:sp>
      <p:sp>
        <p:nvSpPr>
          <p:cNvPr id="11" name="Content Placeholder 2">
            <a:extLst>
              <a:ext uri="{FF2B5EF4-FFF2-40B4-BE49-F238E27FC236}">
                <a16:creationId xmlns:a16="http://schemas.microsoft.com/office/drawing/2014/main" id="{C782BAC4-4366-40DB-ACFD-BA42CFC21F0C}"/>
              </a:ext>
            </a:extLst>
          </p:cNvPr>
          <p:cNvSpPr>
            <a:spLocks noGrp="1"/>
          </p:cNvSpPr>
          <p:nvPr>
            <p:ph idx="1" hasCustomPrompt="1"/>
          </p:nvPr>
        </p:nvSpPr>
        <p:spPr>
          <a:xfrm>
            <a:off x="539751" y="3826565"/>
            <a:ext cx="5373688" cy="2274197"/>
          </a:xfrm>
          <a:solidFill>
            <a:schemeClr val="bg1"/>
          </a:solidFill>
        </p:spPr>
        <p:txBody>
          <a:bodyPr lIns="540000" tIns="216000" rIns="540000" bIns="216000" anchor="b" anchorCtr="0"/>
          <a:lstStyle>
            <a:lvl1pPr indent="-288000">
              <a:defRPr sz="1800"/>
            </a:lvl1pPr>
            <a:lvl2pPr marL="576000" indent="-288000">
              <a:defRPr sz="1800"/>
            </a:lvl2pPr>
            <a:lvl3pPr marL="864000" indent="-288000">
              <a:defRPr sz="1800"/>
            </a:lvl3pPr>
            <a:lvl4pPr>
              <a:defRPr sz="1800"/>
            </a:lvl4pPr>
            <a:lvl5pPr marL="288000" indent="-288000">
              <a:defRPr sz="1800"/>
            </a:lvl5pPr>
            <a:lvl6pPr marL="216000" indent="-216000">
              <a:spcAft>
                <a:spcPts val="0"/>
              </a:spcAft>
              <a:defRPr sz="1500"/>
            </a:lvl6pPr>
            <a:lvl7pPr marL="216000" indent="-216000">
              <a:spcAft>
                <a:spcPts val="0"/>
              </a:spcAft>
              <a:defRPr sz="1500"/>
            </a:lvl7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12" name="Content Placeholder 3">
            <a:extLst>
              <a:ext uri="{FF2B5EF4-FFF2-40B4-BE49-F238E27FC236}">
                <a16:creationId xmlns:a16="http://schemas.microsoft.com/office/drawing/2014/main" id="{BA1B7E39-641D-451C-9B3D-93C5988D36CC}"/>
              </a:ext>
            </a:extLst>
          </p:cNvPr>
          <p:cNvSpPr>
            <a:spLocks noGrp="1"/>
          </p:cNvSpPr>
          <p:nvPr>
            <p:ph sz="half" idx="2" hasCustomPrompt="1"/>
          </p:nvPr>
        </p:nvSpPr>
        <p:spPr>
          <a:xfrm>
            <a:off x="6275387" y="3826565"/>
            <a:ext cx="5373687" cy="2274197"/>
          </a:xfrm>
          <a:solidFill>
            <a:schemeClr val="bg1"/>
          </a:solidFill>
        </p:spPr>
        <p:txBody>
          <a:bodyPr lIns="540000" tIns="216000" rIns="540000" bIns="216000" anchor="b" anchorCtr="0"/>
          <a:lstStyle>
            <a:lvl1pPr marL="288000" indent="-288000">
              <a:defRPr sz="1800"/>
            </a:lvl1pPr>
            <a:lvl2pPr marL="576000" indent="-288000">
              <a:defRPr sz="1800"/>
            </a:lvl2pPr>
            <a:lvl3pPr marL="864000" indent="-288000">
              <a:defRPr sz="1800"/>
            </a:lvl3pPr>
            <a:lvl4pPr>
              <a:defRPr sz="1800"/>
            </a:lvl4pPr>
            <a:lvl5pPr marL="288000" indent="-288000">
              <a:defRPr sz="1800"/>
            </a:lvl5pPr>
            <a:lvl6pPr marL="216000" indent="-216000">
              <a:spcAft>
                <a:spcPts val="0"/>
              </a:spcAft>
              <a:defRPr sz="1500" i="0"/>
            </a:lvl6pPr>
            <a:lvl7pPr marL="216000" indent="-216000">
              <a:spcAft>
                <a:spcPts val="0"/>
              </a:spcAft>
              <a:defRPr sz="1500" i="0"/>
            </a:lvl7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6" name="Krone special">
            <a:extLst>
              <a:ext uri="{FF2B5EF4-FFF2-40B4-BE49-F238E27FC236}">
                <a16:creationId xmlns:a16="http://schemas.microsoft.com/office/drawing/2014/main" id="{D6EF1F38-FD9E-4C4D-8A3E-A7C6354F030E}"/>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
        <p:nvSpPr>
          <p:cNvPr id="6" name="Date Placeholder 5">
            <a:extLst>
              <a:ext uri="{FF2B5EF4-FFF2-40B4-BE49-F238E27FC236}">
                <a16:creationId xmlns:a16="http://schemas.microsoft.com/office/drawing/2014/main" id="{CA763AB7-66AC-4B5E-AA9F-6987C9D843C0}"/>
              </a:ext>
            </a:extLst>
          </p:cNvPr>
          <p:cNvSpPr>
            <a:spLocks noGrp="1"/>
          </p:cNvSpPr>
          <p:nvPr>
            <p:ph type="dt" sz="half" idx="15"/>
          </p:nvPr>
        </p:nvSpPr>
        <p:spPr/>
        <p:txBody>
          <a:bodyPr/>
          <a:lstStyle/>
          <a:p>
            <a:fld id="{0A1F084B-DAEB-4EA0-A0DB-1F330D2E5F17}" type="datetime2">
              <a:rPr lang="da-DK" smtClean="0"/>
              <a:t>18. januar 2022</a:t>
            </a:fld>
            <a:endParaRPr lang="da-DK"/>
          </a:p>
        </p:txBody>
      </p:sp>
      <p:sp>
        <p:nvSpPr>
          <p:cNvPr id="9" name="Footer Placeholder 8">
            <a:extLst>
              <a:ext uri="{FF2B5EF4-FFF2-40B4-BE49-F238E27FC236}">
                <a16:creationId xmlns:a16="http://schemas.microsoft.com/office/drawing/2014/main" id="{B7DADAD9-F93B-40D2-AC56-4870777E2D07}"/>
              </a:ext>
            </a:extLst>
          </p:cNvPr>
          <p:cNvSpPr>
            <a:spLocks noGrp="1"/>
          </p:cNvSpPr>
          <p:nvPr>
            <p:ph type="ftr" sz="quarter" idx="16"/>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907ECE09-1CBE-4D8F-82C9-09DAF858B3B5}"/>
              </a:ext>
            </a:extLst>
          </p:cNvPr>
          <p:cNvSpPr>
            <a:spLocks noGrp="1"/>
          </p:cNvSpPr>
          <p:nvPr>
            <p:ph type="sldNum" sz="quarter" idx="17"/>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4738480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ummeret indhold A">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17F9107C-C0DE-42D0-AC68-1D7AF1BC5BE7}"/>
              </a:ext>
            </a:extLst>
          </p:cNvPr>
          <p:cNvSpPr/>
          <p:nvPr userDrawn="1"/>
        </p:nvSpPr>
        <p:spPr>
          <a:xfrm>
            <a:off x="5318125" y="0"/>
            <a:ext cx="687387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50" y="569688"/>
            <a:ext cx="4418014" cy="1152000"/>
          </a:xfrm>
        </p:spPr>
        <p:txBody>
          <a:bodyPr/>
          <a:lstStyle>
            <a:lvl1pPr>
              <a:defRPr/>
            </a:lvl1pPr>
          </a:lstStyle>
          <a:p>
            <a:r>
              <a:rPr lang="da-DK" noProof="0"/>
              <a:t>Klik for at tilføje titel maks. 2 linjer</a:t>
            </a:r>
          </a:p>
        </p:txBody>
      </p:sp>
      <p:sp>
        <p:nvSpPr>
          <p:cNvPr id="3" name="Content Placeholder 2"/>
          <p:cNvSpPr>
            <a:spLocks noGrp="1"/>
          </p:cNvSpPr>
          <p:nvPr>
            <p:ph idx="1" hasCustomPrompt="1"/>
          </p:nvPr>
        </p:nvSpPr>
        <p:spPr>
          <a:xfrm>
            <a:off x="539749" y="2112964"/>
            <a:ext cx="4418014" cy="3556000"/>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3801" y="650509"/>
            <a:ext cx="5373687" cy="2268000"/>
          </a:xfrm>
          <a:solidFill>
            <a:schemeClr val="bg1"/>
          </a:solidFill>
        </p:spPr>
        <p:txBody>
          <a:bodyPr lIns="540000" tIns="432000" rIns="540000" bIns="432000"/>
          <a:lstStyle>
            <a:lvl1pPr>
              <a:defRPr/>
            </a:lvl1pPr>
            <a:lvl4pPr>
              <a:defRPr/>
            </a:lvl4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6273800" y="3399692"/>
            <a:ext cx="5373687" cy="2268000"/>
          </a:xfrm>
          <a:solidFill>
            <a:schemeClr val="bg1"/>
          </a:solidFill>
        </p:spPr>
        <p:txBody>
          <a:bodyPr lIns="540000" tIns="432000" rIns="540000" bIns="432000"/>
          <a:lstStyle>
            <a:lvl1pPr>
              <a:defRPr/>
            </a:lvl1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12">
            <a:extLst>
              <a:ext uri="{FF2B5EF4-FFF2-40B4-BE49-F238E27FC236}">
                <a16:creationId xmlns:a16="http://schemas.microsoft.com/office/drawing/2014/main" id="{5EA8232A-2FED-4B7B-A286-C85FD1AC0367}"/>
              </a:ext>
            </a:extLst>
          </p:cNvPr>
          <p:cNvSpPr>
            <a:spLocks noGrp="1" noChangeAspect="1"/>
          </p:cNvSpPr>
          <p:nvPr>
            <p:ph type="body" sz="quarter" idx="14" hasCustomPrompt="1"/>
          </p:nvPr>
        </p:nvSpPr>
        <p:spPr>
          <a:xfrm>
            <a:off x="5954456" y="469200"/>
            <a:ext cx="648000" cy="648000"/>
          </a:xfrm>
          <a:prstGeom prst="ellipse">
            <a:avLst/>
          </a:prstGeom>
          <a:solidFill>
            <a:srgbClr val="1C69B9"/>
          </a:solidFill>
        </p:spPr>
        <p:txBody>
          <a:bodyPr anchor="ctr" anchorCtr="0"/>
          <a:lstStyle>
            <a:lvl1pPr marL="0" indent="0" algn="ctr">
              <a:lnSpc>
                <a:spcPct val="83000"/>
              </a:lnSpc>
              <a:buNone/>
              <a:defRPr sz="3000">
                <a:solidFill>
                  <a:schemeClr val="bg1"/>
                </a:solidFill>
                <a:latin typeface="+mj-lt"/>
              </a:defRPr>
            </a:lvl1pPr>
          </a:lstStyle>
          <a:p>
            <a:pPr lvl="0"/>
            <a:r>
              <a:rPr lang="da-DK"/>
              <a:t>1</a:t>
            </a:r>
          </a:p>
        </p:txBody>
      </p:sp>
      <p:sp>
        <p:nvSpPr>
          <p:cNvPr id="14" name="Pladsholder til tekst 14">
            <a:extLst>
              <a:ext uri="{FF2B5EF4-FFF2-40B4-BE49-F238E27FC236}">
                <a16:creationId xmlns:a16="http://schemas.microsoft.com/office/drawing/2014/main" id="{CCA7611E-17E2-450D-B04B-52F243AF3F45}"/>
              </a:ext>
            </a:extLst>
          </p:cNvPr>
          <p:cNvSpPr>
            <a:spLocks noGrp="1" noChangeAspect="1"/>
          </p:cNvSpPr>
          <p:nvPr>
            <p:ph type="body" sz="quarter" idx="15" hasCustomPrompt="1"/>
          </p:nvPr>
        </p:nvSpPr>
        <p:spPr>
          <a:xfrm>
            <a:off x="5949800" y="3227205"/>
            <a:ext cx="648000" cy="648000"/>
          </a:xfrm>
          <a:prstGeom prst="ellipse">
            <a:avLst/>
          </a:prstGeom>
          <a:solidFill>
            <a:srgbClr val="1C69B9"/>
          </a:solidFill>
        </p:spPr>
        <p:txBody>
          <a:bodyPr anchor="ctr" anchorCtr="0"/>
          <a:lstStyle>
            <a:lvl1pPr marL="0" indent="0" algn="ctr">
              <a:lnSpc>
                <a:spcPct val="83000"/>
              </a:lnSpc>
              <a:buNone/>
              <a:defRPr sz="3000">
                <a:solidFill>
                  <a:schemeClr val="bg1"/>
                </a:solidFill>
                <a:latin typeface="+mj-lt"/>
              </a:defRPr>
            </a:lvl1pPr>
          </a:lstStyle>
          <a:p>
            <a:pPr lvl="0"/>
            <a:r>
              <a:rPr lang="da-DK"/>
              <a:t>2</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7FB69CEB-3630-4DC2-8750-5F150F486CE1}"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3823476499"/>
      </p:ext>
    </p:extLst>
  </p:cSld>
  <p:clrMapOvr>
    <a:masterClrMapping/>
  </p:clrMapOvr>
  <p:extLst>
    <p:ext uri="{DCECCB84-F9BA-43D5-87BE-67443E8EF086}">
      <p15:sldGuideLst xmlns:p15="http://schemas.microsoft.com/office/powerpoint/2012/main">
        <p15:guide id="1" orient="horz" pos="3571" userDrawn="1">
          <p15:clr>
            <a:srgbClr val="FDE53C"/>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fld id="{96D8DDAB-2EE4-4DAB-BC89-E2BB2B06AADF}"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endParaRPr lang="da-DK"/>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14857131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ummeret indhold B">
    <p:spTree>
      <p:nvGrpSpPr>
        <p:cNvPr id="1" name=""/>
        <p:cNvGrpSpPr/>
        <p:nvPr/>
      </p:nvGrpSpPr>
      <p:grpSpPr>
        <a:xfrm>
          <a:off x="0" y="0"/>
          <a:ext cx="0" cy="0"/>
          <a:chOff x="0" y="0"/>
          <a:chExt cx="0" cy="0"/>
        </a:xfrm>
      </p:grpSpPr>
      <p:sp>
        <p:nvSpPr>
          <p:cNvPr id="12" name="Background">
            <a:extLst>
              <a:ext uri="{FF2B5EF4-FFF2-40B4-BE49-F238E27FC236}">
                <a16:creationId xmlns:a16="http://schemas.microsoft.com/office/drawing/2014/main" id="{17F9107C-C0DE-42D0-AC68-1D7AF1BC5BE7}"/>
              </a:ext>
            </a:extLst>
          </p:cNvPr>
          <p:cNvSpPr/>
          <p:nvPr userDrawn="1"/>
        </p:nvSpPr>
        <p:spPr>
          <a:xfrm>
            <a:off x="1" y="0"/>
            <a:ext cx="121920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50" y="569688"/>
            <a:ext cx="4418014" cy="1152000"/>
          </a:xfrm>
        </p:spPr>
        <p:txBody>
          <a:bodyPr/>
          <a:lstStyle>
            <a:lvl1pPr>
              <a:defRPr>
                <a:solidFill>
                  <a:schemeClr val="bg1"/>
                </a:solidFill>
              </a:defRPr>
            </a:lvl1pPr>
          </a:lstStyle>
          <a:p>
            <a:r>
              <a:rPr lang="da-DK" noProof="0"/>
              <a:t>Klik for at tilføje titel maks. 2 linjer</a:t>
            </a:r>
          </a:p>
        </p:txBody>
      </p:sp>
      <p:sp>
        <p:nvSpPr>
          <p:cNvPr id="3" name="Content Placeholder 2"/>
          <p:cNvSpPr>
            <a:spLocks noGrp="1"/>
          </p:cNvSpPr>
          <p:nvPr>
            <p:ph idx="1" hasCustomPrompt="1"/>
          </p:nvPr>
        </p:nvSpPr>
        <p:spPr>
          <a:xfrm>
            <a:off x="539749" y="2112964"/>
            <a:ext cx="4418014" cy="3556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3801" y="650509"/>
            <a:ext cx="5373687" cy="2268000"/>
          </a:xfrm>
          <a:solidFill>
            <a:schemeClr val="bg1"/>
          </a:solidFill>
        </p:spPr>
        <p:txBody>
          <a:bodyPr lIns="540000" tIns="432000" rIns="540000" bIns="432000"/>
          <a:lstStyle>
            <a:lvl1pPr>
              <a:defRPr/>
            </a:lvl1pPr>
            <a:lvl4pPr>
              <a:defRPr/>
            </a:lvl4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6273800" y="3399692"/>
            <a:ext cx="5373687" cy="2268000"/>
          </a:xfrm>
          <a:solidFill>
            <a:schemeClr val="bg1"/>
          </a:solidFill>
        </p:spPr>
        <p:txBody>
          <a:bodyPr lIns="540000" tIns="432000" rIns="540000" bIns="432000"/>
          <a:lstStyle>
            <a:lvl1pPr>
              <a:defRPr/>
            </a:lvl1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12">
            <a:extLst>
              <a:ext uri="{FF2B5EF4-FFF2-40B4-BE49-F238E27FC236}">
                <a16:creationId xmlns:a16="http://schemas.microsoft.com/office/drawing/2014/main" id="{5EA8232A-2FED-4B7B-A286-C85FD1AC0367}"/>
              </a:ext>
            </a:extLst>
          </p:cNvPr>
          <p:cNvSpPr>
            <a:spLocks noGrp="1" noChangeAspect="1"/>
          </p:cNvSpPr>
          <p:nvPr>
            <p:ph type="body" sz="quarter" idx="14" hasCustomPrompt="1"/>
          </p:nvPr>
        </p:nvSpPr>
        <p:spPr>
          <a:xfrm>
            <a:off x="5954456" y="469200"/>
            <a:ext cx="648000" cy="648000"/>
          </a:xfrm>
          <a:prstGeom prst="ellipse">
            <a:avLst/>
          </a:prstGeom>
          <a:solidFill>
            <a:srgbClr val="1C69B9"/>
          </a:solidFill>
        </p:spPr>
        <p:txBody>
          <a:bodyPr anchor="ctr" anchorCtr="0"/>
          <a:lstStyle>
            <a:lvl1pPr marL="0" indent="0" algn="ctr">
              <a:lnSpc>
                <a:spcPct val="83000"/>
              </a:lnSpc>
              <a:buNone/>
              <a:defRPr sz="3000">
                <a:solidFill>
                  <a:schemeClr val="bg1"/>
                </a:solidFill>
                <a:latin typeface="+mj-lt"/>
              </a:defRPr>
            </a:lvl1pPr>
          </a:lstStyle>
          <a:p>
            <a:pPr lvl="0"/>
            <a:r>
              <a:rPr lang="da-DK"/>
              <a:t>1</a:t>
            </a:r>
          </a:p>
        </p:txBody>
      </p:sp>
      <p:sp>
        <p:nvSpPr>
          <p:cNvPr id="14" name="Pladsholder til tekst 14">
            <a:extLst>
              <a:ext uri="{FF2B5EF4-FFF2-40B4-BE49-F238E27FC236}">
                <a16:creationId xmlns:a16="http://schemas.microsoft.com/office/drawing/2014/main" id="{CCA7611E-17E2-450D-B04B-52F243AF3F45}"/>
              </a:ext>
            </a:extLst>
          </p:cNvPr>
          <p:cNvSpPr>
            <a:spLocks noGrp="1" noChangeAspect="1"/>
          </p:cNvSpPr>
          <p:nvPr>
            <p:ph type="body" sz="quarter" idx="15" hasCustomPrompt="1"/>
          </p:nvPr>
        </p:nvSpPr>
        <p:spPr>
          <a:xfrm>
            <a:off x="5949800" y="3227205"/>
            <a:ext cx="648000" cy="648000"/>
          </a:xfrm>
          <a:prstGeom prst="ellipse">
            <a:avLst/>
          </a:prstGeom>
          <a:solidFill>
            <a:srgbClr val="1C69B9"/>
          </a:solidFill>
        </p:spPr>
        <p:txBody>
          <a:bodyPr anchor="ctr" anchorCtr="0"/>
          <a:lstStyle>
            <a:lvl1pPr marL="0" indent="0" algn="ctr">
              <a:lnSpc>
                <a:spcPct val="83000"/>
              </a:lnSpc>
              <a:buNone/>
              <a:defRPr sz="3000">
                <a:solidFill>
                  <a:schemeClr val="bg1"/>
                </a:solidFill>
                <a:latin typeface="+mj-lt"/>
              </a:defRPr>
            </a:lvl1pPr>
          </a:lstStyle>
          <a:p>
            <a:pPr lvl="0"/>
            <a:r>
              <a:rPr lang="da-DK"/>
              <a:t>2</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7AF0BDD2-88F6-499A-91C6-7808FE298FEC}"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4" name="Krone">
            <a:extLst>
              <a:ext uri="{FF2B5EF4-FFF2-40B4-BE49-F238E27FC236}">
                <a16:creationId xmlns:a16="http://schemas.microsoft.com/office/drawing/2014/main" id="{49A14D37-9A2C-4C48-A08F-8C5767540FDD}"/>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147055622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3571" userDrawn="1">
          <p15:clr>
            <a:srgbClr val="FFFF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ummeret indhold C">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D67916D-B624-44EE-9CAE-72C8F9CD396A}"/>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6" name="Titel 15">
            <a:extLst>
              <a:ext uri="{FF2B5EF4-FFF2-40B4-BE49-F238E27FC236}">
                <a16:creationId xmlns:a16="http://schemas.microsoft.com/office/drawing/2014/main" id="{33B26454-8042-44DE-AB6F-53D0C70F1857}"/>
              </a:ext>
            </a:extLst>
          </p:cNvPr>
          <p:cNvSpPr>
            <a:spLocks noGrp="1"/>
          </p:cNvSpPr>
          <p:nvPr>
            <p:ph type="title" hasCustomPrompt="1"/>
          </p:nvPr>
        </p:nvSpPr>
        <p:spPr>
          <a:xfrm>
            <a:off x="898524" y="2112963"/>
            <a:ext cx="2741615" cy="792000"/>
          </a:xfrm>
        </p:spPr>
        <p:txBody>
          <a:bodyPr/>
          <a:lstStyle>
            <a:lvl1pPr>
              <a:lnSpc>
                <a:spcPct val="89000"/>
              </a:lnSpc>
              <a:defRPr sz="2800" b="0">
                <a:solidFill>
                  <a:schemeClr val="tx1"/>
                </a:solidFill>
                <a:latin typeface="+mj-lt"/>
              </a:defRPr>
            </a:lvl1pPr>
          </a:lstStyle>
          <a:p>
            <a:r>
              <a:rPr lang="da-DK"/>
              <a:t>Overskrift i maks. 2 linjer</a:t>
            </a:r>
          </a:p>
        </p:txBody>
      </p:sp>
      <p:sp>
        <p:nvSpPr>
          <p:cNvPr id="3" name="Content Placeholder 2"/>
          <p:cNvSpPr>
            <a:spLocks noGrp="1"/>
          </p:cNvSpPr>
          <p:nvPr>
            <p:ph idx="1" hasCustomPrompt="1"/>
          </p:nvPr>
        </p:nvSpPr>
        <p:spPr>
          <a:xfrm>
            <a:off x="898525" y="3121955"/>
            <a:ext cx="2743200" cy="2547008"/>
          </a:xfrm>
        </p:spPr>
        <p:txBody>
          <a:bodyPr/>
          <a:lstStyle>
            <a:lvl1pPr>
              <a:defRPr/>
            </a:lvl1pPr>
            <a:lvl4pPr>
              <a:defRPr/>
            </a:lvl4pPr>
            <a:lvl5pPr>
              <a:defRPr/>
            </a:lvl5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722813" y="3118757"/>
            <a:ext cx="2744447" cy="2550207"/>
          </a:xfrm>
        </p:spPr>
        <p:txBody>
          <a:bodyPr/>
          <a:lstStyle>
            <a:lvl1pPr>
              <a:defRPr/>
            </a:lvl1pPr>
            <a:lvl4pPr>
              <a:defRPr/>
            </a:lvl4pPr>
            <a:lvl5pPr>
              <a:defRPr/>
            </a:lvl5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8549595" y="3118758"/>
            <a:ext cx="2743200" cy="2550205"/>
          </a:xfrm>
        </p:spPr>
        <p:txBody>
          <a:bodyPr/>
          <a:lstStyle>
            <a:lvl1pPr>
              <a:defRPr/>
            </a:lvl1pPr>
            <a:lvl5pPr>
              <a:defRPr/>
            </a:lvl5pPr>
            <a:lvl6pPr>
              <a:defRPr/>
            </a:lvl6pPr>
          </a:lstStyle>
          <a:p>
            <a:pPr lvl="0"/>
            <a:r>
              <a:rPr lang="da-DK"/>
              <a:t>Klik for at tilføje tekst i maks. 6 linjer</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12">
            <a:extLst>
              <a:ext uri="{FF2B5EF4-FFF2-40B4-BE49-F238E27FC236}">
                <a16:creationId xmlns:a16="http://schemas.microsoft.com/office/drawing/2014/main" id="{4FB518A3-C1D3-4D8C-B70E-8ABA1EA243EF}"/>
              </a:ext>
            </a:extLst>
          </p:cNvPr>
          <p:cNvSpPr>
            <a:spLocks noGrp="1" noChangeAspect="1"/>
          </p:cNvSpPr>
          <p:nvPr>
            <p:ph type="body" sz="quarter" idx="14" hasCustomPrompt="1"/>
          </p:nvPr>
        </p:nvSpPr>
        <p:spPr>
          <a:xfrm>
            <a:off x="898524" y="1224000"/>
            <a:ext cx="648000" cy="648000"/>
          </a:xfrm>
          <a:prstGeom prst="ellipse">
            <a:avLst/>
          </a:prstGeom>
          <a:solidFill>
            <a:srgbClr val="1C69B9"/>
          </a:solidFill>
        </p:spPr>
        <p:txBody>
          <a:bodyPr anchor="ctr" anchorCtr="0"/>
          <a:lstStyle>
            <a:lvl1pPr marL="0" indent="0" algn="ctr">
              <a:lnSpc>
                <a:spcPct val="83000"/>
              </a:lnSpc>
              <a:buNone/>
              <a:defRPr sz="3000">
                <a:solidFill>
                  <a:schemeClr val="tx1"/>
                </a:solidFill>
                <a:latin typeface="+mj-lt"/>
              </a:defRPr>
            </a:lvl1pPr>
          </a:lstStyle>
          <a:p>
            <a:pPr lvl="0"/>
            <a:r>
              <a:rPr lang="da-DK"/>
              <a:t>1</a:t>
            </a:r>
          </a:p>
        </p:txBody>
      </p:sp>
      <p:sp>
        <p:nvSpPr>
          <p:cNvPr id="14" name="Pladsholder til tekst 14">
            <a:extLst>
              <a:ext uri="{FF2B5EF4-FFF2-40B4-BE49-F238E27FC236}">
                <a16:creationId xmlns:a16="http://schemas.microsoft.com/office/drawing/2014/main" id="{F40012BC-F9D8-4B5E-B49F-9FA5268A73FA}"/>
              </a:ext>
            </a:extLst>
          </p:cNvPr>
          <p:cNvSpPr>
            <a:spLocks noGrp="1" noChangeAspect="1"/>
          </p:cNvSpPr>
          <p:nvPr>
            <p:ph type="body" sz="quarter" idx="15" hasCustomPrompt="1"/>
          </p:nvPr>
        </p:nvSpPr>
        <p:spPr>
          <a:xfrm>
            <a:off x="4722813" y="1224000"/>
            <a:ext cx="648000" cy="648000"/>
          </a:xfrm>
          <a:prstGeom prst="ellipse">
            <a:avLst/>
          </a:prstGeom>
          <a:solidFill>
            <a:srgbClr val="1C69B9"/>
          </a:solidFill>
        </p:spPr>
        <p:txBody>
          <a:bodyPr anchor="ctr" anchorCtr="0"/>
          <a:lstStyle>
            <a:lvl1pPr marL="0" indent="0" algn="ctr">
              <a:lnSpc>
                <a:spcPct val="83000"/>
              </a:lnSpc>
              <a:buNone/>
              <a:defRPr sz="3000">
                <a:solidFill>
                  <a:schemeClr val="tx1"/>
                </a:solidFill>
                <a:latin typeface="+mj-lt"/>
              </a:defRPr>
            </a:lvl1pPr>
          </a:lstStyle>
          <a:p>
            <a:pPr lvl="0"/>
            <a:r>
              <a:rPr lang="da-DK"/>
              <a:t>2</a:t>
            </a:r>
          </a:p>
        </p:txBody>
      </p:sp>
      <p:sp>
        <p:nvSpPr>
          <p:cNvPr id="15" name="Pladsholder til tekst 16">
            <a:extLst>
              <a:ext uri="{FF2B5EF4-FFF2-40B4-BE49-F238E27FC236}">
                <a16:creationId xmlns:a16="http://schemas.microsoft.com/office/drawing/2014/main" id="{15920C2A-1E00-46BE-83D1-5A3990716CAC}"/>
              </a:ext>
            </a:extLst>
          </p:cNvPr>
          <p:cNvSpPr>
            <a:spLocks noGrp="1" noChangeAspect="1"/>
          </p:cNvSpPr>
          <p:nvPr>
            <p:ph type="body" sz="quarter" idx="16" hasCustomPrompt="1"/>
          </p:nvPr>
        </p:nvSpPr>
        <p:spPr>
          <a:xfrm>
            <a:off x="8548688" y="1224000"/>
            <a:ext cx="648000" cy="648000"/>
          </a:xfrm>
          <a:prstGeom prst="ellipse">
            <a:avLst/>
          </a:prstGeom>
          <a:solidFill>
            <a:srgbClr val="1C69B9"/>
          </a:solidFill>
        </p:spPr>
        <p:txBody>
          <a:bodyPr anchor="ctr" anchorCtr="0"/>
          <a:lstStyle>
            <a:lvl1pPr marL="0" indent="0" algn="ctr">
              <a:lnSpc>
                <a:spcPct val="83000"/>
              </a:lnSpc>
              <a:buNone/>
              <a:defRPr sz="3000">
                <a:latin typeface="+mj-lt"/>
              </a:defRPr>
            </a:lvl1pPr>
          </a:lstStyle>
          <a:p>
            <a:pPr lvl="0"/>
            <a:r>
              <a:rPr lang="da-DK"/>
              <a:t>3</a:t>
            </a:r>
          </a:p>
        </p:txBody>
      </p:sp>
      <p:sp>
        <p:nvSpPr>
          <p:cNvPr id="19" name="Pladsholder til tekst 20">
            <a:extLst>
              <a:ext uri="{FF2B5EF4-FFF2-40B4-BE49-F238E27FC236}">
                <a16:creationId xmlns:a16="http://schemas.microsoft.com/office/drawing/2014/main" id="{C6D0269D-9DCF-487F-AF1D-5D7D20FC9563}"/>
              </a:ext>
            </a:extLst>
          </p:cNvPr>
          <p:cNvSpPr>
            <a:spLocks noGrp="1"/>
          </p:cNvSpPr>
          <p:nvPr>
            <p:ph type="body" sz="quarter" idx="20" hasCustomPrompt="1"/>
          </p:nvPr>
        </p:nvSpPr>
        <p:spPr>
          <a:xfrm>
            <a:off x="4724060" y="2112961"/>
            <a:ext cx="2743200" cy="792000"/>
          </a:xfrm>
        </p:spPr>
        <p:txBody>
          <a:bodyPr/>
          <a:lstStyle>
            <a:lvl1pPr marL="0" indent="0">
              <a:lnSpc>
                <a:spcPct val="89000"/>
              </a:lnSpc>
              <a:buNone/>
              <a:defRPr sz="2800">
                <a:latin typeface="+mj-lt"/>
              </a:defRPr>
            </a:lvl1pPr>
          </a:lstStyle>
          <a:p>
            <a:pPr lvl="0"/>
            <a:r>
              <a:rPr lang="da-DK"/>
              <a:t>Overskrift i maks. 2 linjer</a:t>
            </a:r>
          </a:p>
        </p:txBody>
      </p:sp>
      <p:sp>
        <p:nvSpPr>
          <p:cNvPr id="20" name="Pladsholder til tekst 22">
            <a:extLst>
              <a:ext uri="{FF2B5EF4-FFF2-40B4-BE49-F238E27FC236}">
                <a16:creationId xmlns:a16="http://schemas.microsoft.com/office/drawing/2014/main" id="{704D1AAE-43E5-42AA-9CFD-68CF9CC41D7B}"/>
              </a:ext>
            </a:extLst>
          </p:cNvPr>
          <p:cNvSpPr>
            <a:spLocks noGrp="1"/>
          </p:cNvSpPr>
          <p:nvPr>
            <p:ph type="body" sz="quarter" idx="21" hasCustomPrompt="1"/>
          </p:nvPr>
        </p:nvSpPr>
        <p:spPr>
          <a:xfrm>
            <a:off x="8549595" y="2112963"/>
            <a:ext cx="2743200" cy="791998"/>
          </a:xfrm>
        </p:spPr>
        <p:txBody>
          <a:bodyPr/>
          <a:lstStyle>
            <a:lvl1pPr marL="0" indent="0">
              <a:lnSpc>
                <a:spcPct val="89000"/>
              </a:lnSpc>
              <a:buNone/>
              <a:defRPr sz="2800">
                <a:latin typeface="+mj-lt"/>
              </a:defRPr>
            </a:lvl1pPr>
          </a:lstStyle>
          <a:p>
            <a:pPr lvl="0"/>
            <a:r>
              <a:rPr lang="da-DK"/>
              <a:t>Overskrift i maks. 2 linjer</a:t>
            </a:r>
          </a:p>
        </p:txBody>
      </p:sp>
      <p:sp>
        <p:nvSpPr>
          <p:cNvPr id="6" name="Krone">
            <a:extLst>
              <a:ext uri="{FF2B5EF4-FFF2-40B4-BE49-F238E27FC236}">
                <a16:creationId xmlns:a16="http://schemas.microsoft.com/office/drawing/2014/main" id="{143362B6-2C69-4357-B2E3-944CF9800B08}"/>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5207FE63-08D3-450C-9AC0-643E1851B8A0}"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1371767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pos="566" userDrawn="1">
          <p15:clr>
            <a:srgbClr val="FFFFFF"/>
          </p15:clr>
        </p15:guide>
        <p15:guide id="3" pos="2975" userDrawn="1">
          <p15:clr>
            <a:srgbClr val="FFFFFF"/>
          </p15:clr>
        </p15:guide>
        <p15:guide id="4" pos="5385" userDrawn="1">
          <p15:clr>
            <a:srgbClr val="FFFFFF"/>
          </p15:clr>
        </p15:guide>
        <p15:guide id="5" orient="horz" pos="3571" userDrawn="1">
          <p15:clr>
            <a:srgbClr val="FFFFFF"/>
          </p15:clr>
        </p15:guide>
        <p15:guide id="6" orient="horz" pos="1966" userDrawn="1">
          <p15:clr>
            <a:srgbClr val="FFFF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D67916D-B624-44EE-9CAE-72C8F9CD396A}"/>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noProof="0"/>
              <a:t>Klik for at tilføje titel i maks. 2 linjer</a:t>
            </a:r>
          </a:p>
        </p:txBody>
      </p:sp>
      <p:sp>
        <p:nvSpPr>
          <p:cNvPr id="3" name="Content Placeholder 2"/>
          <p:cNvSpPr>
            <a:spLocks noGrp="1"/>
          </p:cNvSpPr>
          <p:nvPr>
            <p:ph idx="1" hasCustomPrompt="1"/>
          </p:nvPr>
        </p:nvSpPr>
        <p:spPr>
          <a:xfrm>
            <a:off x="539750" y="3121025"/>
            <a:ext cx="2506664" cy="2547937"/>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406776" y="3121025"/>
            <a:ext cx="2506662" cy="2547938"/>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5" name="Pladsholder til indhold 4">
            <a:extLst>
              <a:ext uri="{FF2B5EF4-FFF2-40B4-BE49-F238E27FC236}">
                <a16:creationId xmlns:a16="http://schemas.microsoft.com/office/drawing/2014/main" id="{0A7EE4D0-93B7-4EB6-85A4-A65367AF8D6C}"/>
              </a:ext>
            </a:extLst>
          </p:cNvPr>
          <p:cNvSpPr>
            <a:spLocks noGrp="1"/>
          </p:cNvSpPr>
          <p:nvPr>
            <p:ph sz="quarter" idx="13" hasCustomPrompt="1"/>
          </p:nvPr>
        </p:nvSpPr>
        <p:spPr>
          <a:xfrm>
            <a:off x="6273801" y="3121024"/>
            <a:ext cx="2506662" cy="2547937"/>
          </a:xfrm>
        </p:spPr>
        <p:txBody>
          <a:body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6" name="Krone">
            <a:extLst>
              <a:ext uri="{FF2B5EF4-FFF2-40B4-BE49-F238E27FC236}">
                <a16:creationId xmlns:a16="http://schemas.microsoft.com/office/drawing/2014/main" id="{143362B6-2C69-4357-B2E3-944CF9800B08}"/>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1" name="Pladsholder til indhold 11">
            <a:extLst>
              <a:ext uri="{FF2B5EF4-FFF2-40B4-BE49-F238E27FC236}">
                <a16:creationId xmlns:a16="http://schemas.microsoft.com/office/drawing/2014/main" id="{243B68EF-7120-4D73-9961-2F7D6948197E}"/>
              </a:ext>
            </a:extLst>
          </p:cNvPr>
          <p:cNvSpPr>
            <a:spLocks noGrp="1"/>
          </p:cNvSpPr>
          <p:nvPr>
            <p:ph sz="quarter" idx="14" hasCustomPrompt="1"/>
          </p:nvPr>
        </p:nvSpPr>
        <p:spPr>
          <a:xfrm>
            <a:off x="9140824" y="3121025"/>
            <a:ext cx="2506663" cy="2547938"/>
          </a:xfrm>
        </p:spPr>
        <p:txBody>
          <a:body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3" name="Picture Placeholder 12">
            <a:extLst>
              <a:ext uri="{FF2B5EF4-FFF2-40B4-BE49-F238E27FC236}">
                <a16:creationId xmlns:a16="http://schemas.microsoft.com/office/drawing/2014/main" id="{A4364A98-85CB-46A6-A7C7-9C5A36370D0B}"/>
              </a:ext>
            </a:extLst>
          </p:cNvPr>
          <p:cNvSpPr>
            <a:spLocks noGrp="1"/>
          </p:cNvSpPr>
          <p:nvPr>
            <p:ph type="pic" sz="quarter" idx="19" hasCustomPrompt="1"/>
          </p:nvPr>
        </p:nvSpPr>
        <p:spPr>
          <a:xfrm>
            <a:off x="539750" y="2159000"/>
            <a:ext cx="720726" cy="720725"/>
          </a:xfrm>
          <a:prstGeom prst="ellipse">
            <a:avLst/>
          </a:prstGeom>
          <a:solidFill>
            <a:schemeClr val="tx1">
              <a:lumMod val="95000"/>
            </a:schemeClr>
          </a:solidFill>
        </p:spPr>
        <p:txBody>
          <a:bodyPr wrap="none" lIns="792000"/>
          <a:lstStyle>
            <a:lvl1pPr marL="0" indent="0">
              <a:buNone/>
              <a:defRPr sz="9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19" name="Picture Placeholder 12">
            <a:extLst>
              <a:ext uri="{FF2B5EF4-FFF2-40B4-BE49-F238E27FC236}">
                <a16:creationId xmlns:a16="http://schemas.microsoft.com/office/drawing/2014/main" id="{C89A47CC-52A2-4B66-A204-6043FEA8F3E0}"/>
              </a:ext>
            </a:extLst>
          </p:cNvPr>
          <p:cNvSpPr>
            <a:spLocks noGrp="1"/>
          </p:cNvSpPr>
          <p:nvPr>
            <p:ph type="pic" sz="quarter" idx="20" hasCustomPrompt="1"/>
          </p:nvPr>
        </p:nvSpPr>
        <p:spPr>
          <a:xfrm>
            <a:off x="3406049" y="2159000"/>
            <a:ext cx="720726" cy="720725"/>
          </a:xfrm>
          <a:prstGeom prst="ellipse">
            <a:avLst/>
          </a:prstGeom>
          <a:solidFill>
            <a:schemeClr val="tx1">
              <a:lumMod val="95000"/>
            </a:schemeClr>
          </a:solidFill>
        </p:spPr>
        <p:txBody>
          <a:bodyPr wrap="none" lIns="792000"/>
          <a:lstStyle>
            <a:lvl1pPr marL="0" indent="0">
              <a:buNone/>
              <a:defRPr sz="9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21" name="Picture Placeholder 12">
            <a:extLst>
              <a:ext uri="{FF2B5EF4-FFF2-40B4-BE49-F238E27FC236}">
                <a16:creationId xmlns:a16="http://schemas.microsoft.com/office/drawing/2014/main" id="{407A12B9-C1FC-445E-AABB-75E700FD6568}"/>
              </a:ext>
            </a:extLst>
          </p:cNvPr>
          <p:cNvSpPr>
            <a:spLocks noGrp="1"/>
          </p:cNvSpPr>
          <p:nvPr>
            <p:ph type="pic" sz="quarter" idx="21" hasCustomPrompt="1"/>
          </p:nvPr>
        </p:nvSpPr>
        <p:spPr>
          <a:xfrm>
            <a:off x="6272348" y="2162251"/>
            <a:ext cx="720726" cy="720725"/>
          </a:xfrm>
          <a:prstGeom prst="ellipse">
            <a:avLst/>
          </a:prstGeom>
          <a:solidFill>
            <a:schemeClr val="tx1">
              <a:lumMod val="95000"/>
            </a:schemeClr>
          </a:solidFill>
        </p:spPr>
        <p:txBody>
          <a:bodyPr wrap="none" lIns="792000"/>
          <a:lstStyle>
            <a:lvl1pPr marL="0" indent="0">
              <a:buNone/>
              <a:defRPr sz="9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22" name="Picture Placeholder 12">
            <a:extLst>
              <a:ext uri="{FF2B5EF4-FFF2-40B4-BE49-F238E27FC236}">
                <a16:creationId xmlns:a16="http://schemas.microsoft.com/office/drawing/2014/main" id="{7EE8122F-F9AD-4BC0-AA6B-CF18B9FB76AF}"/>
              </a:ext>
            </a:extLst>
          </p:cNvPr>
          <p:cNvSpPr>
            <a:spLocks noGrp="1"/>
          </p:cNvSpPr>
          <p:nvPr>
            <p:ph type="pic" sz="quarter" idx="22" hasCustomPrompt="1"/>
          </p:nvPr>
        </p:nvSpPr>
        <p:spPr>
          <a:xfrm>
            <a:off x="9138647" y="2162251"/>
            <a:ext cx="720726" cy="720725"/>
          </a:xfrm>
          <a:prstGeom prst="ellipse">
            <a:avLst/>
          </a:prstGeom>
          <a:solidFill>
            <a:schemeClr val="tx1">
              <a:lumMod val="95000"/>
            </a:schemeClr>
          </a:solidFill>
        </p:spPr>
        <p:txBody>
          <a:bodyPr wrap="none" lIns="792000"/>
          <a:lstStyle>
            <a:lvl1pPr marL="0" indent="0">
              <a:buNone/>
              <a:defRPr sz="9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418A9AB4-0C7F-4AE1-96C4-A7CA34702DFD}"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89581225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2" orient="horz" pos="1360" userDrawn="1">
          <p15:clr>
            <a:srgbClr val="FFFFFF"/>
          </p15:clr>
        </p15:guide>
        <p15:guide id="3" orient="horz" pos="1966" userDrawn="1">
          <p15:clr>
            <a:srgbClr val="FFFFFF"/>
          </p15:clr>
        </p15:guide>
        <p15:guide id="4" orient="horz" pos="3571" userDrawn="1">
          <p15:clr>
            <a:srgbClr val="FFFF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re indhold D">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AD67916D-B624-44EE-9CAE-72C8F9CD396A}"/>
              </a:ext>
            </a:extLst>
          </p:cNvPr>
          <p:cNvSpPr/>
          <p:nvPr userDrawn="1"/>
        </p:nvSpPr>
        <p:spPr>
          <a:xfrm>
            <a:off x="0" y="0"/>
            <a:ext cx="12193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6" name="Rektangel 15">
            <a:extLst>
              <a:ext uri="{FF2B5EF4-FFF2-40B4-BE49-F238E27FC236}">
                <a16:creationId xmlns:a16="http://schemas.microsoft.com/office/drawing/2014/main" id="{AB4943F2-0D46-4451-9D28-92A536319AB7}"/>
              </a:ext>
            </a:extLst>
          </p:cNvPr>
          <p:cNvSpPr/>
          <p:nvPr userDrawn="1"/>
        </p:nvSpPr>
        <p:spPr>
          <a:xfrm>
            <a:off x="539750" y="2158999"/>
            <a:ext cx="3462338" cy="38505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8" name="Rektangel 17">
            <a:extLst>
              <a:ext uri="{FF2B5EF4-FFF2-40B4-BE49-F238E27FC236}">
                <a16:creationId xmlns:a16="http://schemas.microsoft.com/office/drawing/2014/main" id="{EB9C34EF-435D-4065-89B3-BCA044FCB9F6}"/>
              </a:ext>
            </a:extLst>
          </p:cNvPr>
          <p:cNvSpPr/>
          <p:nvPr userDrawn="1"/>
        </p:nvSpPr>
        <p:spPr>
          <a:xfrm>
            <a:off x="4360863" y="2159000"/>
            <a:ext cx="3462338" cy="38528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0" name="Rektangel 19">
            <a:extLst>
              <a:ext uri="{FF2B5EF4-FFF2-40B4-BE49-F238E27FC236}">
                <a16:creationId xmlns:a16="http://schemas.microsoft.com/office/drawing/2014/main" id="{8FB9B949-96C4-4489-91F6-85F45CC1AF25}"/>
              </a:ext>
            </a:extLst>
          </p:cNvPr>
          <p:cNvSpPr/>
          <p:nvPr userDrawn="1"/>
        </p:nvSpPr>
        <p:spPr>
          <a:xfrm>
            <a:off x="8190026" y="2159000"/>
            <a:ext cx="3462338" cy="3852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 name="Title 1"/>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noProof="0"/>
              <a:t>Klik for at tilføje titel i maks. 2 linjer</a:t>
            </a:r>
          </a:p>
        </p:txBody>
      </p:sp>
      <p:sp>
        <p:nvSpPr>
          <p:cNvPr id="6" name="Krone">
            <a:extLst>
              <a:ext uri="{FF2B5EF4-FFF2-40B4-BE49-F238E27FC236}">
                <a16:creationId xmlns:a16="http://schemas.microsoft.com/office/drawing/2014/main" id="{143362B6-2C69-4357-B2E3-944CF9800B08}"/>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13" name="Content Placeholder 2">
            <a:extLst>
              <a:ext uri="{FF2B5EF4-FFF2-40B4-BE49-F238E27FC236}">
                <a16:creationId xmlns:a16="http://schemas.microsoft.com/office/drawing/2014/main" id="{A9A380B2-D647-40EF-8331-1F25A5E040A5}"/>
              </a:ext>
            </a:extLst>
          </p:cNvPr>
          <p:cNvSpPr>
            <a:spLocks noGrp="1"/>
          </p:cNvSpPr>
          <p:nvPr>
            <p:ph idx="1" hasCustomPrompt="1"/>
          </p:nvPr>
        </p:nvSpPr>
        <p:spPr>
          <a:xfrm>
            <a:off x="898525" y="3428999"/>
            <a:ext cx="2743200" cy="2239963"/>
          </a:xfrm>
        </p:spPr>
        <p:txBody>
          <a:bodyPr/>
          <a:lstStyle>
            <a:lvl1pPr>
              <a:defRPr/>
            </a:lvl1pPr>
            <a:lvl4pPr>
              <a:defRPr/>
            </a:lvl4pPr>
            <a:lvl5pPr>
              <a:defRPr/>
            </a:lvl5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4" name="Content Placeholder 3">
            <a:extLst>
              <a:ext uri="{FF2B5EF4-FFF2-40B4-BE49-F238E27FC236}">
                <a16:creationId xmlns:a16="http://schemas.microsoft.com/office/drawing/2014/main" id="{2DDF4A5A-5B84-4AEC-BD64-62279002BB29}"/>
              </a:ext>
            </a:extLst>
          </p:cNvPr>
          <p:cNvSpPr>
            <a:spLocks noGrp="1"/>
          </p:cNvSpPr>
          <p:nvPr>
            <p:ph sz="half" idx="2" hasCustomPrompt="1"/>
          </p:nvPr>
        </p:nvSpPr>
        <p:spPr>
          <a:xfrm>
            <a:off x="4722813" y="3426188"/>
            <a:ext cx="2744447" cy="2242776"/>
          </a:xfrm>
        </p:spPr>
        <p:txBody>
          <a:bodyPr/>
          <a:lstStyle>
            <a:lvl1pPr>
              <a:defRPr/>
            </a:lvl1pPr>
            <a:lvl4pPr>
              <a:defRPr/>
            </a:lvl4pPr>
            <a:lvl5pPr>
              <a:defRPr/>
            </a:lvl5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15" name="Pladsholder til indhold 4">
            <a:extLst>
              <a:ext uri="{FF2B5EF4-FFF2-40B4-BE49-F238E27FC236}">
                <a16:creationId xmlns:a16="http://schemas.microsoft.com/office/drawing/2014/main" id="{25D44ED4-7C0E-4B6F-8AF4-D786A472BC84}"/>
              </a:ext>
            </a:extLst>
          </p:cNvPr>
          <p:cNvSpPr>
            <a:spLocks noGrp="1"/>
          </p:cNvSpPr>
          <p:nvPr>
            <p:ph sz="quarter" idx="13" hasCustomPrompt="1"/>
          </p:nvPr>
        </p:nvSpPr>
        <p:spPr>
          <a:xfrm>
            <a:off x="8549595" y="3426188"/>
            <a:ext cx="2743200" cy="22427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7" name="Picture Placeholder 12">
            <a:extLst>
              <a:ext uri="{FF2B5EF4-FFF2-40B4-BE49-F238E27FC236}">
                <a16:creationId xmlns:a16="http://schemas.microsoft.com/office/drawing/2014/main" id="{C8F15699-FF91-455F-8A6A-B6938167BF1D}"/>
              </a:ext>
            </a:extLst>
          </p:cNvPr>
          <p:cNvSpPr>
            <a:spLocks noGrp="1"/>
          </p:cNvSpPr>
          <p:nvPr>
            <p:ph type="pic" sz="quarter" idx="19" hasCustomPrompt="1"/>
          </p:nvPr>
        </p:nvSpPr>
        <p:spPr>
          <a:xfrm>
            <a:off x="897799" y="2447644"/>
            <a:ext cx="720726" cy="720725"/>
          </a:xfrm>
          <a:prstGeom prst="ellipse">
            <a:avLst/>
          </a:prstGeom>
          <a:solidFill>
            <a:schemeClr val="tx1">
              <a:lumMod val="95000"/>
            </a:schemeClr>
          </a:solidFill>
        </p:spPr>
        <p:txBody>
          <a:bodyPr wrap="none" lIns="792000"/>
          <a:lstStyle>
            <a:lvl1pPr marL="0" indent="0">
              <a:buNone/>
              <a:defRPr sz="10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24" name="Picture Placeholder 12">
            <a:extLst>
              <a:ext uri="{FF2B5EF4-FFF2-40B4-BE49-F238E27FC236}">
                <a16:creationId xmlns:a16="http://schemas.microsoft.com/office/drawing/2014/main" id="{97D93B98-BCD1-45B7-A701-2F1D4354C39F}"/>
              </a:ext>
            </a:extLst>
          </p:cNvPr>
          <p:cNvSpPr>
            <a:spLocks noGrp="1"/>
          </p:cNvSpPr>
          <p:nvPr>
            <p:ph type="pic" sz="quarter" idx="20" hasCustomPrompt="1"/>
          </p:nvPr>
        </p:nvSpPr>
        <p:spPr>
          <a:xfrm>
            <a:off x="4722813" y="2447547"/>
            <a:ext cx="720726" cy="720725"/>
          </a:xfrm>
          <a:prstGeom prst="ellipse">
            <a:avLst/>
          </a:prstGeom>
          <a:solidFill>
            <a:schemeClr val="tx1">
              <a:lumMod val="95000"/>
            </a:schemeClr>
          </a:solidFill>
        </p:spPr>
        <p:txBody>
          <a:bodyPr wrap="none" lIns="792000"/>
          <a:lstStyle>
            <a:lvl1pPr marL="0" indent="0">
              <a:buNone/>
              <a:defRPr sz="1000"/>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25" name="Picture Placeholder 12">
            <a:extLst>
              <a:ext uri="{FF2B5EF4-FFF2-40B4-BE49-F238E27FC236}">
                <a16:creationId xmlns:a16="http://schemas.microsoft.com/office/drawing/2014/main" id="{DFAE72F7-36C5-4614-A06D-EDF80948E5CA}"/>
              </a:ext>
            </a:extLst>
          </p:cNvPr>
          <p:cNvSpPr>
            <a:spLocks noGrp="1"/>
          </p:cNvSpPr>
          <p:nvPr>
            <p:ph type="pic" sz="quarter" idx="21" hasCustomPrompt="1"/>
          </p:nvPr>
        </p:nvSpPr>
        <p:spPr>
          <a:xfrm>
            <a:off x="8548869" y="2447547"/>
            <a:ext cx="720726" cy="720725"/>
          </a:xfrm>
          <a:prstGeom prst="ellipse">
            <a:avLst/>
          </a:prstGeom>
          <a:solidFill>
            <a:schemeClr val="bg1"/>
          </a:solidFill>
        </p:spPr>
        <p:txBody>
          <a:bodyPr wrap="none" lIns="792000"/>
          <a:lstStyle>
            <a:lvl1pPr marL="0" indent="0">
              <a:buNone/>
              <a:defRPr sz="1000">
                <a:solidFill>
                  <a:schemeClr val="bg1"/>
                </a:solidFill>
              </a:defRPr>
            </a:lvl1pPr>
          </a:lstStyle>
          <a:p>
            <a:r>
              <a:rPr lang="da-DK"/>
              <a:t>Indsæt ikon. Er ikonet beskåret? </a:t>
            </a:r>
            <a:br>
              <a:rPr lang="da-DK"/>
            </a:br>
            <a:r>
              <a:rPr lang="da-DK"/>
              <a:t>Vælg Grafikformat/ Beskær/Tilpas. </a:t>
            </a:r>
            <a:br>
              <a:rPr lang="da-DK"/>
            </a:br>
            <a:r>
              <a:rPr lang="da-DK"/>
              <a:t>Hold Shift + </a:t>
            </a:r>
            <a:r>
              <a:rPr lang="da-DK" err="1"/>
              <a:t>Ctrl</a:t>
            </a:r>
            <a:r>
              <a:rPr lang="da-DK"/>
              <a:t>, </a:t>
            </a:r>
            <a:br>
              <a:rPr lang="da-DK"/>
            </a:br>
            <a:r>
              <a:rPr lang="da-DK"/>
              <a:t>træk i hvidt rundt hjørne</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C154687C-70A9-4A85-B3C3-854BA59512A7}"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7729636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orient="horz" pos="1360" userDrawn="1">
          <p15:clr>
            <a:srgbClr val="000000"/>
          </p15:clr>
        </p15:guide>
        <p15:guide id="3" orient="horz" pos="3787" userDrawn="1">
          <p15:clr>
            <a:srgbClr val="00000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V">
    <p:spTree>
      <p:nvGrpSpPr>
        <p:cNvPr id="1" name=""/>
        <p:cNvGrpSpPr/>
        <p:nvPr/>
      </p:nvGrpSpPr>
      <p:grpSpPr>
        <a:xfrm>
          <a:off x="0" y="0"/>
          <a:ext cx="0" cy="0"/>
          <a:chOff x="0" y="0"/>
          <a:chExt cx="0" cy="0"/>
        </a:xfrm>
      </p:grpSpPr>
      <p:sp>
        <p:nvSpPr>
          <p:cNvPr id="14" name="Background">
            <a:extLst>
              <a:ext uri="{FF2B5EF4-FFF2-40B4-BE49-F238E27FC236}">
                <a16:creationId xmlns:a16="http://schemas.microsoft.com/office/drawing/2014/main" id="{63629A3D-BEBD-44A3-B7F0-99B5F6DC39FA}"/>
              </a:ext>
            </a:extLst>
          </p:cNvPr>
          <p:cNvSpPr/>
          <p:nvPr userDrawn="1"/>
        </p:nvSpPr>
        <p:spPr>
          <a:xfrm>
            <a:off x="7826374" y="0"/>
            <a:ext cx="43656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4" name="Titel 3">
            <a:extLst>
              <a:ext uri="{FF2B5EF4-FFF2-40B4-BE49-F238E27FC236}">
                <a16:creationId xmlns:a16="http://schemas.microsoft.com/office/drawing/2014/main" id="{45EA2BF9-3B60-4168-B648-CFBC81FD4973}"/>
              </a:ext>
            </a:extLst>
          </p:cNvPr>
          <p:cNvSpPr>
            <a:spLocks noGrp="1"/>
          </p:cNvSpPr>
          <p:nvPr>
            <p:ph type="title" hasCustomPrompt="1"/>
          </p:nvPr>
        </p:nvSpPr>
        <p:spPr>
          <a:xfrm>
            <a:off x="539749" y="569688"/>
            <a:ext cx="5373689" cy="1152000"/>
          </a:xfrm>
        </p:spPr>
        <p:txBody>
          <a:bodyPr/>
          <a:lstStyle/>
          <a:p>
            <a:r>
              <a:rPr lang="da-DK"/>
              <a:t>Klik for at tilføje titel i maks. 2 linjer</a:t>
            </a:r>
          </a:p>
        </p:txBody>
      </p:sp>
      <p:sp>
        <p:nvSpPr>
          <p:cNvPr id="3" name="Content Placeholder 2"/>
          <p:cNvSpPr>
            <a:spLocks noGrp="1"/>
          </p:cNvSpPr>
          <p:nvPr>
            <p:ph idx="1" hasCustomPrompt="1"/>
          </p:nvPr>
        </p:nvSpPr>
        <p:spPr>
          <a:xfrm>
            <a:off x="540001" y="2112962"/>
            <a:ext cx="5373438" cy="3757615"/>
          </a:xfrm>
        </p:spPr>
        <p:txBody>
          <a:bodyPr/>
          <a:lstStyle>
            <a:lvl1pPr marL="288000" indent="-288000">
              <a:spcAft>
                <a:spcPts val="850"/>
              </a:spcAft>
              <a:buFont typeface="Academy Sans Office" panose="020B0503030000000000" pitchFamily="34" charset="0"/>
              <a:buChar char="→"/>
              <a:defRPr sz="1800" b="1">
                <a:solidFill>
                  <a:srgbClr val="1C69B9"/>
                </a:solidFill>
              </a:defRPr>
            </a:lvl1pPr>
            <a:lvl2pPr marL="288000" indent="-288000">
              <a:spcAft>
                <a:spcPts val="850"/>
              </a:spcAft>
              <a:buFont typeface="Academy Sans Office" panose="020B0503030000000000" pitchFamily="34" charset="0"/>
              <a:buChar char="•"/>
              <a:defRPr sz="1800" b="0">
                <a:solidFill>
                  <a:srgbClr val="1C69B9"/>
                </a:solidFill>
              </a:defRPr>
            </a:lvl2pPr>
            <a:lvl3pPr marL="0" indent="0">
              <a:spcAft>
                <a:spcPts val="0"/>
              </a:spcAft>
              <a:buFont typeface="Arial" panose="020B0604020202020204" pitchFamily="34" charset="0"/>
              <a:buChar char="​"/>
              <a:defRPr sz="1800" b="1">
                <a:solidFill>
                  <a:srgbClr val="1C69B9"/>
                </a:solidFill>
              </a:defRPr>
            </a:lvl3pPr>
            <a:lvl4pPr marL="216000" indent="-216000">
              <a:spcAft>
                <a:spcPts val="850"/>
              </a:spcAft>
              <a:buFont typeface="Academy Sans Office" panose="020B0503030000000000" pitchFamily="34" charset="0"/>
              <a:buChar char="→"/>
              <a:defRPr sz="1500" b="1">
                <a:solidFill>
                  <a:srgbClr val="1C69B9"/>
                </a:solidFill>
              </a:defRPr>
            </a:lvl4pPr>
            <a:lvl5pPr marL="216000" indent="-216000">
              <a:spcAft>
                <a:spcPts val="0"/>
              </a:spcAft>
              <a:buFont typeface="Academy Sans Office" panose="020B0503030000000000" pitchFamily="34" charset="0"/>
              <a:buChar char="•"/>
              <a:defRPr sz="1500" b="0">
                <a:solidFill>
                  <a:srgbClr val="1C69B9"/>
                </a:solidFill>
              </a:defRPr>
            </a:lvl5pPr>
            <a:lvl6pPr marL="432000" indent="-216000">
              <a:spcAft>
                <a:spcPts val="0"/>
              </a:spcAft>
              <a:buFont typeface="Academy Sans Office" panose="020B0503030000000000" pitchFamily="34" charset="0"/>
              <a:buChar char="•"/>
              <a:defRPr sz="1500">
                <a:solidFill>
                  <a:srgbClr val="1C69B9"/>
                </a:solidFill>
              </a:defRPr>
            </a:lvl6pPr>
            <a:lvl7pPr marL="648000" indent="-216000">
              <a:spcAft>
                <a:spcPts val="0"/>
              </a:spcAft>
              <a:buFont typeface="Academy Sans Office" panose="020B0503030000000000" pitchFamily="34" charset="0"/>
              <a:buChar char="•"/>
              <a:defRPr sz="1500" b="0">
                <a:solidFill>
                  <a:srgbClr val="1C69B9"/>
                </a:solidFill>
              </a:defRPr>
            </a:lvl7pPr>
            <a:lvl8pPr>
              <a:defRPr>
                <a:solidFill>
                  <a:srgbClr val="1C69B9"/>
                </a:solidFill>
              </a:defRPr>
            </a:lvl8pPr>
            <a:lvl9pPr>
              <a:defRPr>
                <a:solidFill>
                  <a:srgbClr val="1C69B9"/>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12" name="Pladsholder til billede 11">
            <a:extLst>
              <a:ext uri="{FF2B5EF4-FFF2-40B4-BE49-F238E27FC236}">
                <a16:creationId xmlns:a16="http://schemas.microsoft.com/office/drawing/2014/main" id="{48B57227-2733-4B35-8490-EF864AD4ADCB}"/>
              </a:ext>
            </a:extLst>
          </p:cNvPr>
          <p:cNvSpPr>
            <a:spLocks noGrp="1"/>
          </p:cNvSpPr>
          <p:nvPr>
            <p:ph type="pic" sz="quarter" idx="13" hasCustomPrompt="1"/>
          </p:nvPr>
        </p:nvSpPr>
        <p:spPr>
          <a:xfrm>
            <a:off x="6869114" y="647700"/>
            <a:ext cx="4183062" cy="5453063"/>
          </a:xfrm>
          <a:solidFill>
            <a:schemeClr val="bg1">
              <a:lumMod val="95000"/>
            </a:schemeClr>
          </a:solidFill>
        </p:spPr>
        <p:txBody>
          <a:bodyPr tIns="0" anchor="t" anchorCtr="0"/>
          <a:lstStyle>
            <a:lvl1pPr marL="0" indent="0" algn="ctr">
              <a:buNone/>
              <a:defRPr/>
            </a:lvl1pPr>
          </a:lstStyle>
          <a:p>
            <a:r>
              <a:rPr lang="da-DK"/>
              <a:t>Klik på ikonet for at indsætte billede</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4E38DAF0-B4E2-4575-84CD-84D96CABCDE3}"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accent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1941249776"/>
      </p:ext>
    </p:extLst>
  </p:cSld>
  <p:clrMapOvr>
    <a:masterClrMapping/>
  </p:clrMapOvr>
  <p:extLst>
    <p:ext uri="{DCECCB84-F9BA-43D5-87BE-67443E8EF086}">
      <p15:sldGuideLst xmlns:p15="http://schemas.microsoft.com/office/powerpoint/2012/main">
        <p15:guide id="1" orient="horz" pos="3698" userDrawn="1">
          <p15:clr>
            <a:srgbClr val="00000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 indhold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07CBAC31-697F-4706-899C-D1BF169D56E9}"/>
              </a:ext>
            </a:extLst>
          </p:cNvPr>
          <p:cNvSpPr/>
          <p:nvPr userDrawn="1"/>
        </p:nvSpPr>
        <p:spPr>
          <a:xfrm>
            <a:off x="8185150" y="0"/>
            <a:ext cx="4006849"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49" y="569688"/>
            <a:ext cx="7286625"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539749" y="2112962"/>
            <a:ext cx="7286625" cy="3754437"/>
          </a:xfrm>
        </p:spPr>
        <p:txBody>
          <a:bodyPr/>
          <a:lstStyle>
            <a:lvl1pPr>
              <a:defRPr/>
            </a:lvl1pPr>
            <a:lvl4pPr>
              <a:defRPr/>
            </a:lvl4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546400" y="2112963"/>
            <a:ext cx="3102674" cy="375443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882839B0-1566-4EEE-B97D-699ED3468A92}"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693418361"/>
      </p:ext>
    </p:extLst>
  </p:cSld>
  <p:clrMapOvr>
    <a:masterClrMapping/>
  </p:clrMapOvr>
  <p:extLst>
    <p:ext uri="{DCECCB84-F9BA-43D5-87BE-67443E8EF086}">
      <p15:sldGuideLst xmlns:p15="http://schemas.microsoft.com/office/powerpoint/2012/main">
        <p15:guide id="2" orient="horz" pos="3696" userDrawn="1">
          <p15:clr>
            <a:srgbClr val="00000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indhold C">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07CBAC31-697F-4706-899C-D1BF169D56E9}"/>
              </a:ext>
            </a:extLst>
          </p:cNvPr>
          <p:cNvSpPr/>
          <p:nvPr userDrawn="1"/>
        </p:nvSpPr>
        <p:spPr>
          <a:xfrm>
            <a:off x="8185150" y="0"/>
            <a:ext cx="4006849"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a:xfrm>
            <a:off x="539749" y="569688"/>
            <a:ext cx="7286625" cy="1152000"/>
          </a:xfrm>
        </p:spPr>
        <p:txBody>
          <a:bodyPr/>
          <a:lstStyle/>
          <a:p>
            <a:r>
              <a:rPr lang="da-DK" noProof="0"/>
              <a:t>Klik for at tilføje titel i maks. 2 linjer</a:t>
            </a:r>
          </a:p>
        </p:txBody>
      </p:sp>
      <p:sp>
        <p:nvSpPr>
          <p:cNvPr id="3" name="Content Placeholder 2"/>
          <p:cNvSpPr>
            <a:spLocks noGrp="1"/>
          </p:cNvSpPr>
          <p:nvPr>
            <p:ph idx="1" hasCustomPrompt="1"/>
          </p:nvPr>
        </p:nvSpPr>
        <p:spPr>
          <a:xfrm>
            <a:off x="1135063" y="3131819"/>
            <a:ext cx="5138737" cy="2537144"/>
          </a:xfrm>
        </p:spPr>
        <p:txBody>
          <a:bodyPr/>
          <a:lstStyle>
            <a:lvl1pPr marL="288000" indent="-288000">
              <a:lnSpc>
                <a:spcPct val="94000"/>
              </a:lnSpc>
              <a:defRPr sz="2200">
                <a:solidFill>
                  <a:srgbClr val="1C69B9"/>
                </a:solidFill>
              </a:defRPr>
            </a:lvl1pPr>
            <a:lvl2pPr marL="576000" indent="-288000">
              <a:lnSpc>
                <a:spcPct val="94000"/>
              </a:lnSpc>
              <a:defRPr sz="2200">
                <a:solidFill>
                  <a:srgbClr val="1C69B9"/>
                </a:solidFill>
              </a:defRPr>
            </a:lvl2pPr>
            <a:lvl3pPr marL="864000" indent="-288000">
              <a:lnSpc>
                <a:spcPct val="94000"/>
              </a:lnSpc>
              <a:defRPr sz="2200">
                <a:solidFill>
                  <a:srgbClr val="1C69B9"/>
                </a:solidFill>
              </a:defRPr>
            </a:lvl3pPr>
            <a:lvl4pPr>
              <a:lnSpc>
                <a:spcPct val="94000"/>
              </a:lnSpc>
              <a:defRPr sz="2200">
                <a:solidFill>
                  <a:srgbClr val="1C69B9"/>
                </a:solidFill>
              </a:defRPr>
            </a:lvl4pPr>
            <a:lvl5pPr marL="288000" indent="-288000">
              <a:lnSpc>
                <a:spcPct val="94000"/>
              </a:lnSpc>
              <a:defRPr sz="2200">
                <a:solidFill>
                  <a:srgbClr val="1C69B9"/>
                </a:solidFill>
              </a:defRPr>
            </a:lvl5pPr>
            <a:lvl6pPr>
              <a:defRPr>
                <a:solidFill>
                  <a:srgbClr val="1C69B9"/>
                </a:solidFill>
              </a:defRPr>
            </a:lvl6pPr>
            <a:lvl7pPr>
              <a:defRPr>
                <a:solidFill>
                  <a:srgbClr val="1C69B9"/>
                </a:solidFill>
              </a:defRPr>
            </a:lvl7pPr>
            <a:lvl8pPr>
              <a:defRPr>
                <a:solidFill>
                  <a:srgbClr val="1C69B9"/>
                </a:solidFill>
              </a:defRPr>
            </a:lvl8pPr>
            <a:lvl9pPr>
              <a:defRPr>
                <a:solidFill>
                  <a:srgbClr val="1C69B9"/>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546400" y="2112963"/>
            <a:ext cx="3102674" cy="3556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99C4F274-228F-4321-8328-22D42A4BA68A}"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Pladsholder til billede 14">
            <a:extLst>
              <a:ext uri="{FF2B5EF4-FFF2-40B4-BE49-F238E27FC236}">
                <a16:creationId xmlns:a16="http://schemas.microsoft.com/office/drawing/2014/main" id="{CF37EA12-D51B-4EB6-8147-4020459FAECA}"/>
              </a:ext>
            </a:extLst>
          </p:cNvPr>
          <p:cNvSpPr>
            <a:spLocks noGrp="1" noChangeAspect="1"/>
          </p:cNvSpPr>
          <p:nvPr>
            <p:ph type="pic" sz="quarter" idx="15" hasCustomPrompt="1"/>
          </p:nvPr>
        </p:nvSpPr>
        <p:spPr>
          <a:xfrm>
            <a:off x="1135063" y="2160000"/>
            <a:ext cx="720000" cy="720000"/>
          </a:xfrm>
          <a:prstGeom prst="ellipse">
            <a:avLst/>
          </a:prstGeom>
          <a:solidFill>
            <a:schemeClr val="tx1">
              <a:lumMod val="95000"/>
            </a:schemeClr>
          </a:solidFill>
        </p:spPr>
        <p:txBody>
          <a:bodyPr wrap="none" lIns="864000" rIns="0" anchor="ctr" anchorCtr="0"/>
          <a:lstStyle>
            <a:lvl1pPr marL="0" indent="0">
              <a:buNone/>
              <a:defRPr sz="1000">
                <a:solidFill>
                  <a:schemeClr val="tx1"/>
                </a:solidFill>
              </a:defRPr>
            </a:lvl1pPr>
          </a:lstStyle>
          <a:p>
            <a:r>
              <a:rPr lang="da-DK" noProof="1"/>
              <a:t>Indsæt ikon. Er ikonet beskåret? </a:t>
            </a:r>
            <a:br>
              <a:rPr lang="da-DK" noProof="1"/>
            </a:br>
            <a:r>
              <a:rPr lang="da-DK" noProof="1"/>
              <a:t>Vælg Grafikformat/ Beskær/Tilpas. </a:t>
            </a:r>
            <a:br>
              <a:rPr lang="da-DK" noProof="1"/>
            </a:br>
            <a:r>
              <a:rPr lang="da-DK" noProof="1"/>
              <a:t>Hold Shift + Ctrl, træk i hvidt rundt hjørne</a:t>
            </a:r>
          </a:p>
        </p:txBody>
      </p:sp>
    </p:spTree>
    <p:extLst>
      <p:ext uri="{BB962C8B-B14F-4D97-AF65-F5344CB8AC3E}">
        <p14:creationId xmlns:p14="http://schemas.microsoft.com/office/powerpoint/2010/main" val="2732160218"/>
      </p:ext>
    </p:extLst>
  </p:cSld>
  <p:clrMapOvr>
    <a:masterClrMapping/>
  </p:clrMapOvr>
  <p:extLst>
    <p:ext uri="{DCECCB84-F9BA-43D5-87BE-67443E8EF086}">
      <p15:sldGuideLst xmlns:p15="http://schemas.microsoft.com/office/powerpoint/2012/main">
        <p15:guide id="1" orient="horz" pos="3571" userDrawn="1">
          <p15:clr>
            <a:srgbClr val="00000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akta boks A">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07CBAC31-697F-4706-899C-D1BF169D56E9}"/>
              </a:ext>
            </a:extLst>
          </p:cNvPr>
          <p:cNvSpPr/>
          <p:nvPr userDrawn="1"/>
        </p:nvSpPr>
        <p:spPr>
          <a:xfrm>
            <a:off x="-4760" y="0"/>
            <a:ext cx="3051174"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2" name="Rektangel 11">
            <a:extLst>
              <a:ext uri="{FF2B5EF4-FFF2-40B4-BE49-F238E27FC236}">
                <a16:creationId xmlns:a16="http://schemas.microsoft.com/office/drawing/2014/main" id="{EEA9632E-CD01-4501-B4CE-2DBD682AD18F}"/>
              </a:ext>
            </a:extLst>
          </p:cNvPr>
          <p:cNvSpPr/>
          <p:nvPr userDrawn="1"/>
        </p:nvSpPr>
        <p:spPr>
          <a:xfrm>
            <a:off x="539750" y="990000"/>
            <a:ext cx="2867025" cy="4678963"/>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 name="Title 1"/>
          <p:cNvSpPr>
            <a:spLocks noGrp="1"/>
          </p:cNvSpPr>
          <p:nvPr>
            <p:ph type="title" hasCustomPrompt="1"/>
          </p:nvPr>
        </p:nvSpPr>
        <p:spPr>
          <a:xfrm>
            <a:off x="3946773" y="3311524"/>
            <a:ext cx="7700715" cy="1152000"/>
          </a:xfrm>
        </p:spPr>
        <p:txBody>
          <a:bodyPr anchor="b" anchorCtr="0"/>
          <a:lstStyle>
            <a:lvl1pPr algn="ctr">
              <a:lnSpc>
                <a:spcPct val="83000"/>
              </a:lnSpc>
              <a:defRPr sz="8200">
                <a:solidFill>
                  <a:srgbClr val="1C69B9"/>
                </a:solidFill>
              </a:defRPr>
            </a:lvl1pPr>
          </a:lstStyle>
          <a:p>
            <a:r>
              <a:rPr lang="da-DK" noProof="0"/>
              <a:t>Tilføj kort tekst</a:t>
            </a:r>
          </a:p>
        </p:txBody>
      </p:sp>
      <p:sp>
        <p:nvSpPr>
          <p:cNvPr id="3" name="Content Placeholder 2"/>
          <p:cNvSpPr>
            <a:spLocks noGrp="1"/>
          </p:cNvSpPr>
          <p:nvPr>
            <p:ph idx="1" hasCustomPrompt="1"/>
          </p:nvPr>
        </p:nvSpPr>
        <p:spPr>
          <a:xfrm>
            <a:off x="900001" y="1334814"/>
            <a:ext cx="2146414" cy="39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946772" y="4562393"/>
            <a:ext cx="7700715" cy="1106570"/>
          </a:xfrm>
        </p:spPr>
        <p:txBody>
          <a:bodyPr/>
          <a:lstStyle>
            <a:lvl1pPr algn="ctr">
              <a:defRPr>
                <a:solidFill>
                  <a:srgbClr val="1C69B9"/>
                </a:solidFill>
              </a:defRPr>
            </a:lvl1pPr>
            <a:lvl2pPr algn="ctr">
              <a:defRPr>
                <a:solidFill>
                  <a:srgbClr val="1C69B9"/>
                </a:solidFill>
              </a:defRPr>
            </a:lvl2pPr>
            <a:lvl3pPr algn="ctr">
              <a:defRPr>
                <a:solidFill>
                  <a:srgbClr val="1C69B9"/>
                </a:solidFill>
              </a:defRPr>
            </a:lvl3pPr>
            <a:lvl4pPr algn="ctr">
              <a:defRPr>
                <a:solidFill>
                  <a:srgbClr val="1C69B9"/>
                </a:solidFill>
              </a:defRPr>
            </a:lvl4pPr>
            <a:lvl5pPr algn="ctr">
              <a:defRPr>
                <a:solidFill>
                  <a:srgbClr val="1C69B9"/>
                </a:solidFill>
              </a:defRPr>
            </a:lvl5pPr>
            <a:lvl6pPr algn="ctr">
              <a:defRPr>
                <a:solidFill>
                  <a:srgbClr val="1C69B9"/>
                </a:solidFill>
              </a:defRPr>
            </a:lvl6pPr>
            <a:lvl7pPr algn="ctr">
              <a:defRPr>
                <a:solidFill>
                  <a:srgbClr val="1C69B9"/>
                </a:solidFill>
              </a:defRPr>
            </a:lvl7pPr>
            <a:lvl8pPr algn="ctr">
              <a:defRPr>
                <a:solidFill>
                  <a:srgbClr val="1C69B9"/>
                </a:solidFill>
              </a:defRPr>
            </a:lvl8pPr>
            <a:lvl9pPr algn="ctr">
              <a:defRPr>
                <a:solidFill>
                  <a:srgbClr val="1C69B9"/>
                </a:solidFill>
              </a:defRPr>
            </a:lvl9pPr>
          </a:lstStyle>
          <a:p>
            <a:pPr lvl="0"/>
            <a:r>
              <a:rPr lang="da-DK" noProof="0"/>
              <a:t>Klik for at tilføje tekst i maks. 4 linjer</a:t>
            </a:r>
            <a:endParaRPr lang="da-DK"/>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Pladsholder til indhold 4">
            <a:extLst>
              <a:ext uri="{FF2B5EF4-FFF2-40B4-BE49-F238E27FC236}">
                <a16:creationId xmlns:a16="http://schemas.microsoft.com/office/drawing/2014/main" id="{446EBB60-0DAB-4D66-8010-C0490E1D9158}"/>
              </a:ext>
            </a:extLst>
          </p:cNvPr>
          <p:cNvSpPr>
            <a:spLocks noGrp="1"/>
          </p:cNvSpPr>
          <p:nvPr>
            <p:ph sz="quarter" idx="13" hasCustomPrompt="1"/>
          </p:nvPr>
        </p:nvSpPr>
        <p:spPr>
          <a:xfrm>
            <a:off x="3946525" y="1651495"/>
            <a:ext cx="7700963" cy="1656000"/>
          </a:xfrm>
        </p:spPr>
        <p:txBody>
          <a:bodyPr/>
          <a:lstStyle>
            <a:lvl1pPr algn="ctr">
              <a:buNone/>
              <a:defRPr/>
            </a:lvl1pPr>
            <a:lvl2pPr algn="ctr">
              <a:buNone/>
              <a:defRPr/>
            </a:lvl2pPr>
            <a:lvl3pPr algn="ctr">
              <a:buNone/>
              <a:defRPr/>
            </a:lvl3pPr>
            <a:lvl4pPr algn="ctr">
              <a:buNone/>
              <a:defRPr/>
            </a:lvl4pPr>
            <a:lvl5pPr algn="ctr">
              <a:buNone/>
              <a:defRPr/>
            </a:lvl5pPr>
          </a:lstStyle>
          <a:p>
            <a:pPr lvl="0"/>
            <a:r>
              <a:rPr lang="da-DK"/>
              <a:t>Indsæt ikon, centrer ikonet over teksten</a:t>
            </a:r>
          </a:p>
          <a:p>
            <a:pPr lvl="1"/>
            <a:endParaRPr lang="da-DK"/>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E09B8E4F-F4CB-4D33-B553-0AFF7FFC7305}"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
        <p:nvSpPr>
          <p:cNvPr id="16" name="Krone">
            <a:extLst>
              <a:ext uri="{FF2B5EF4-FFF2-40B4-BE49-F238E27FC236}">
                <a16:creationId xmlns:a16="http://schemas.microsoft.com/office/drawing/2014/main" id="{FF89D769-5408-40A8-8981-DA60F77CAEA9}"/>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1166703975"/>
      </p:ext>
    </p:extLst>
  </p:cSld>
  <p:clrMapOvr>
    <a:masterClrMapping/>
  </p:clrMapOvr>
  <p:extLst>
    <p:ext uri="{DCECCB84-F9BA-43D5-87BE-67443E8EF086}">
      <p15:sldGuideLst xmlns:p15="http://schemas.microsoft.com/office/powerpoint/2012/main">
        <p15:guide id="1" orient="horz" pos="3571" userDrawn="1">
          <p15:clr>
            <a:srgbClr val="00000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akta boks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07CBAC31-697F-4706-899C-D1BF169D56E9}"/>
              </a:ext>
            </a:extLst>
          </p:cNvPr>
          <p:cNvSpPr/>
          <p:nvPr userDrawn="1"/>
        </p:nvSpPr>
        <p:spPr>
          <a:xfrm>
            <a:off x="-4760" y="0"/>
            <a:ext cx="3051174"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2" name="Rektangel 11">
            <a:extLst>
              <a:ext uri="{FF2B5EF4-FFF2-40B4-BE49-F238E27FC236}">
                <a16:creationId xmlns:a16="http://schemas.microsoft.com/office/drawing/2014/main" id="{EEA9632E-CD01-4501-B4CE-2DBD682AD18F}"/>
              </a:ext>
            </a:extLst>
          </p:cNvPr>
          <p:cNvSpPr/>
          <p:nvPr userDrawn="1"/>
        </p:nvSpPr>
        <p:spPr>
          <a:xfrm>
            <a:off x="539750" y="990000"/>
            <a:ext cx="2867025" cy="4678963"/>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 name="Content Placeholder 2"/>
          <p:cNvSpPr>
            <a:spLocks noGrp="1"/>
          </p:cNvSpPr>
          <p:nvPr>
            <p:ph idx="1" hasCustomPrompt="1"/>
          </p:nvPr>
        </p:nvSpPr>
        <p:spPr>
          <a:xfrm>
            <a:off x="900001" y="1334814"/>
            <a:ext cx="2146414" cy="396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a:t>
            </a:r>
          </a:p>
          <a:p>
            <a:pPr lvl="1"/>
            <a:r>
              <a:rPr lang="da-DK"/>
              <a:t>Andet niveau</a:t>
            </a:r>
          </a:p>
          <a:p>
            <a:pPr lvl="2"/>
            <a:r>
              <a:rPr lang="da-DK"/>
              <a:t>Tredje niveau</a:t>
            </a:r>
          </a:p>
          <a:p>
            <a:pPr lvl="3"/>
            <a:r>
              <a:rPr lang="da-DK"/>
              <a:t>Fjerde niveau</a:t>
            </a:r>
          </a:p>
          <a:p>
            <a:pPr lvl="4"/>
            <a:r>
              <a:rPr lang="da-DK"/>
              <a:t>Femte niveau</a:t>
            </a:r>
          </a:p>
          <a:p>
            <a:pPr lvl="5"/>
            <a:r>
              <a:rPr lang="da-DK" noProof="0"/>
              <a:t>6</a:t>
            </a:r>
          </a:p>
          <a:p>
            <a:pPr lvl="6"/>
            <a:r>
              <a:rPr lang="da-DK" noProof="0"/>
              <a:t>7</a:t>
            </a:r>
          </a:p>
          <a:p>
            <a:pPr lvl="7"/>
            <a:r>
              <a:rPr lang="da-DK" noProof="0"/>
              <a:t>8</a:t>
            </a:r>
          </a:p>
          <a:p>
            <a:pPr lvl="8"/>
            <a:r>
              <a:rPr lang="da-DK" noProof="0"/>
              <a:t>9</a:t>
            </a:r>
          </a:p>
        </p:txBody>
      </p:sp>
      <p:sp>
        <p:nvSpPr>
          <p:cNvPr id="8" name="Date Placeholder 7">
            <a:extLst>
              <a:ext uri="{FF2B5EF4-FFF2-40B4-BE49-F238E27FC236}">
                <a16:creationId xmlns:a16="http://schemas.microsoft.com/office/drawing/2014/main" id="{13221374-0C34-4A57-955A-4ED274510034}"/>
              </a:ext>
            </a:extLst>
          </p:cNvPr>
          <p:cNvSpPr>
            <a:spLocks noGrp="1"/>
          </p:cNvSpPr>
          <p:nvPr>
            <p:ph type="dt" sz="half" idx="10"/>
          </p:nvPr>
        </p:nvSpPr>
        <p:spPr/>
        <p:txBody>
          <a:bodyPr/>
          <a:lstStyle/>
          <a:p>
            <a:fld id="{6C4B655C-21CB-4688-AFBD-B8BFCD634FDE}" type="datetime2">
              <a:rPr lang="da-DK" smtClean="0"/>
              <a:t>18. januar 2022</a:t>
            </a:fld>
            <a:endParaRPr lang="da-DK"/>
          </a:p>
        </p:txBody>
      </p:sp>
      <p:sp>
        <p:nvSpPr>
          <p:cNvPr id="9" name="Footer Placeholder 8">
            <a:extLst>
              <a:ext uri="{FF2B5EF4-FFF2-40B4-BE49-F238E27FC236}">
                <a16:creationId xmlns:a16="http://schemas.microsoft.com/office/drawing/2014/main" id="{FB08F187-8F12-40F7-BF6C-97747D607DEE}"/>
              </a:ext>
            </a:extLst>
          </p:cNvPr>
          <p:cNvSpPr>
            <a:spLocks noGrp="1"/>
          </p:cNvSpPr>
          <p:nvPr>
            <p:ph type="ftr" sz="quarter" idx="11"/>
          </p:nvPr>
        </p:nvSpPr>
        <p:spPr/>
        <p:txBody>
          <a:bodyPr/>
          <a:lstStyle>
            <a:lvl1pPr>
              <a:defRPr>
                <a:solidFill>
                  <a:schemeClr val="bg1"/>
                </a:solidFill>
              </a:defRPr>
            </a:lvl1pPr>
          </a:lstStyle>
          <a:p>
            <a:endParaRPr lang="da-DK"/>
          </a:p>
        </p:txBody>
      </p:sp>
      <p:sp>
        <p:nvSpPr>
          <p:cNvPr id="10" name="Slide Number Placeholder 9">
            <a:extLst>
              <a:ext uri="{FF2B5EF4-FFF2-40B4-BE49-F238E27FC236}">
                <a16:creationId xmlns:a16="http://schemas.microsoft.com/office/drawing/2014/main" id="{EF2BFB58-C09F-4656-B9F7-C2B94CEFC5E1}"/>
              </a:ext>
            </a:extLst>
          </p:cNvPr>
          <p:cNvSpPr>
            <a:spLocks noGrp="1"/>
          </p:cNvSpPr>
          <p:nvPr>
            <p:ph type="sldNum" sz="quarter" idx="12"/>
          </p:nvPr>
        </p:nvSpPr>
        <p:spPr/>
        <p:txBody>
          <a:bodyPr/>
          <a:lstStyle/>
          <a:p>
            <a:fld id="{24C8C45C-947F-4981-8B3F-4F32E973C901}" type="slidenum">
              <a:rPr lang="da-DK" smtClean="0"/>
              <a:pPr/>
              <a:t>‹nr.›</a:t>
            </a:fld>
            <a:endParaRPr lang="da-DK"/>
          </a:p>
        </p:txBody>
      </p:sp>
      <p:sp>
        <p:nvSpPr>
          <p:cNvPr id="13" name="Pladsholder til billede 12">
            <a:extLst>
              <a:ext uri="{FF2B5EF4-FFF2-40B4-BE49-F238E27FC236}">
                <a16:creationId xmlns:a16="http://schemas.microsoft.com/office/drawing/2014/main" id="{D5732B90-1476-404D-B98E-F70308300A88}"/>
              </a:ext>
            </a:extLst>
          </p:cNvPr>
          <p:cNvSpPr>
            <a:spLocks noGrp="1"/>
          </p:cNvSpPr>
          <p:nvPr>
            <p:ph type="pic" sz="quarter" idx="13" hasCustomPrompt="1"/>
          </p:nvPr>
        </p:nvSpPr>
        <p:spPr>
          <a:xfrm>
            <a:off x="4002088" y="990000"/>
            <a:ext cx="7645400" cy="4678963"/>
          </a:xfrm>
        </p:spPr>
        <p:txBody>
          <a:bodyPr tIns="0" anchor="t" anchorCtr="0"/>
          <a:lstStyle>
            <a:lvl1pPr marL="0" indent="0" algn="ctr">
              <a:buNone/>
              <a:defRPr/>
            </a:lvl1pPr>
          </a:lstStyle>
          <a:p>
            <a:r>
              <a:rPr lang="da-DK"/>
              <a:t>Klik på ikonet for at indsætte billede</a:t>
            </a:r>
          </a:p>
        </p:txBody>
      </p:sp>
      <p:sp>
        <p:nvSpPr>
          <p:cNvPr id="16" name="Krone">
            <a:extLst>
              <a:ext uri="{FF2B5EF4-FFF2-40B4-BE49-F238E27FC236}">
                <a16:creationId xmlns:a16="http://schemas.microsoft.com/office/drawing/2014/main" id="{CCE408CF-1EC2-46BA-9D67-8ACEAB21C1B1}"/>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737361010"/>
      </p:ext>
    </p:extLst>
  </p:cSld>
  <p:clrMapOvr>
    <a:masterClrMapping/>
  </p:clrMapOvr>
  <p:extLst>
    <p:ext uri="{DCECCB84-F9BA-43D5-87BE-67443E8EF086}">
      <p15:sldGuideLst xmlns:p15="http://schemas.microsoft.com/office/powerpoint/2012/main">
        <p15:guide id="1" orient="horz" pos="3571" userDrawn="1">
          <p15:clr>
            <a:srgbClr val="00000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mmeret indhold D">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EF55A7B-5D51-493C-B69C-7BF666BE9C67}"/>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el 1">
            <a:extLst>
              <a:ext uri="{FF2B5EF4-FFF2-40B4-BE49-F238E27FC236}">
                <a16:creationId xmlns:a16="http://schemas.microsoft.com/office/drawing/2014/main" id="{6C484425-A3AE-4311-9E64-CDE9354F2E61}"/>
              </a:ext>
            </a:extLst>
          </p:cNvPr>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a:t>Klik for at tilføje titel i maks. 2 linjer</a:t>
            </a:r>
          </a:p>
        </p:txBody>
      </p:sp>
      <p:sp>
        <p:nvSpPr>
          <p:cNvPr id="23" name="Pladsholder til tekst 22">
            <a:extLst>
              <a:ext uri="{FF2B5EF4-FFF2-40B4-BE49-F238E27FC236}">
                <a16:creationId xmlns:a16="http://schemas.microsoft.com/office/drawing/2014/main" id="{E287FA24-E040-4A9D-A4E6-62335D7D0765}"/>
              </a:ext>
            </a:extLst>
          </p:cNvPr>
          <p:cNvSpPr>
            <a:spLocks noGrp="1"/>
          </p:cNvSpPr>
          <p:nvPr>
            <p:ph type="body" sz="quarter" idx="13" hasCustomPrompt="1"/>
          </p:nvPr>
        </p:nvSpPr>
        <p:spPr>
          <a:xfrm>
            <a:off x="1258888" y="2957106"/>
            <a:ext cx="2743200" cy="1152000"/>
          </a:xfrm>
        </p:spPr>
        <p:txBody>
          <a:bodyPr anchor="b" anchorCtr="0"/>
          <a:lstStyle>
            <a:lvl1pPr marL="0" indent="0" algn="ctr">
              <a:buNone/>
              <a:defRPr sz="8200">
                <a:solidFill>
                  <a:srgbClr val="1C69B9"/>
                </a:solidFill>
                <a:latin typeface="+mj-lt"/>
              </a:defRPr>
            </a:lvl1pPr>
          </a:lstStyle>
          <a:p>
            <a:pPr lvl="0"/>
            <a:r>
              <a:rPr lang="da-DK"/>
              <a:t>1</a:t>
            </a:r>
          </a:p>
        </p:txBody>
      </p:sp>
      <p:sp>
        <p:nvSpPr>
          <p:cNvPr id="27" name="Pladsholder til tekst 26">
            <a:extLst>
              <a:ext uri="{FF2B5EF4-FFF2-40B4-BE49-F238E27FC236}">
                <a16:creationId xmlns:a16="http://schemas.microsoft.com/office/drawing/2014/main" id="{93031AC3-2EAE-46BD-A10C-B5015B08105D}"/>
              </a:ext>
            </a:extLst>
          </p:cNvPr>
          <p:cNvSpPr>
            <a:spLocks noGrp="1"/>
          </p:cNvSpPr>
          <p:nvPr>
            <p:ph type="body" sz="quarter" idx="14" hasCustomPrompt="1"/>
          </p:nvPr>
        </p:nvSpPr>
        <p:spPr>
          <a:xfrm>
            <a:off x="1258645" y="4192588"/>
            <a:ext cx="2743200" cy="1476691"/>
          </a:xfrm>
        </p:spPr>
        <p:txBody>
          <a:bodyPr/>
          <a:lstStyle>
            <a:lvl1pPr marL="0" indent="0" algn="ctr">
              <a:buNone/>
              <a:defRPr sz="1800"/>
            </a:lvl1pPr>
            <a:lvl2pPr marL="0" indent="0" algn="ctr">
              <a:buNone/>
              <a:defRPr sz="1800"/>
            </a:lvl2pPr>
            <a:lvl3pPr marL="0" indent="0" algn="ctr">
              <a:buNone/>
              <a:defRPr sz="1800"/>
            </a:lvl3pPr>
            <a:lvl4pPr marL="0" indent="0" algn="ctr">
              <a:buNone/>
              <a:defRPr sz="1800"/>
            </a:lvl4pPr>
            <a:lvl5pPr marL="0" indent="0" algn="ctr">
              <a:buNone/>
              <a:defRPr sz="1800"/>
            </a:lvl5pPr>
          </a:lstStyle>
          <a:p>
            <a:pPr lvl="0"/>
            <a:r>
              <a:rPr lang="da-DK"/>
              <a:t>Klik for at tilføje tekst i maks. 5 linjer</a:t>
            </a:r>
          </a:p>
          <a:p>
            <a:pPr lvl="1"/>
            <a:endParaRPr lang="da-DK"/>
          </a:p>
        </p:txBody>
      </p:sp>
      <p:sp>
        <p:nvSpPr>
          <p:cNvPr id="29" name="Pladsholder til tekst 28">
            <a:extLst>
              <a:ext uri="{FF2B5EF4-FFF2-40B4-BE49-F238E27FC236}">
                <a16:creationId xmlns:a16="http://schemas.microsoft.com/office/drawing/2014/main" id="{21813ED8-F718-4315-9FD2-BF3AACFE0FBB}"/>
              </a:ext>
            </a:extLst>
          </p:cNvPr>
          <p:cNvSpPr>
            <a:spLocks noGrp="1"/>
          </p:cNvSpPr>
          <p:nvPr>
            <p:ph type="body" sz="quarter" idx="15" hasCustomPrompt="1"/>
          </p:nvPr>
        </p:nvSpPr>
        <p:spPr>
          <a:xfrm>
            <a:off x="4722813" y="2957106"/>
            <a:ext cx="2742836" cy="1152000"/>
          </a:xfrm>
        </p:spPr>
        <p:txBody>
          <a:bodyPr anchor="b" anchorCtr="0"/>
          <a:lstStyle>
            <a:lvl1pPr marL="0" indent="0" algn="ctr">
              <a:buNone/>
              <a:defRPr sz="8200">
                <a:solidFill>
                  <a:srgbClr val="1C69B9"/>
                </a:solidFill>
                <a:latin typeface="+mj-lt"/>
              </a:defRPr>
            </a:lvl1pPr>
          </a:lstStyle>
          <a:p>
            <a:pPr lvl="0"/>
            <a:r>
              <a:rPr lang="da-DK"/>
              <a:t>2</a:t>
            </a:r>
          </a:p>
        </p:txBody>
      </p:sp>
      <p:sp>
        <p:nvSpPr>
          <p:cNvPr id="31" name="Pladsholder til tekst 30">
            <a:extLst>
              <a:ext uri="{FF2B5EF4-FFF2-40B4-BE49-F238E27FC236}">
                <a16:creationId xmlns:a16="http://schemas.microsoft.com/office/drawing/2014/main" id="{5D5E68CA-3158-46D7-8264-75AA9DDBF2A2}"/>
              </a:ext>
            </a:extLst>
          </p:cNvPr>
          <p:cNvSpPr>
            <a:spLocks noGrp="1"/>
          </p:cNvSpPr>
          <p:nvPr>
            <p:ph type="body" sz="quarter" idx="16" hasCustomPrompt="1"/>
          </p:nvPr>
        </p:nvSpPr>
        <p:spPr>
          <a:xfrm>
            <a:off x="4722449" y="4192588"/>
            <a:ext cx="2743200" cy="1476375"/>
          </a:xfrm>
        </p:spPr>
        <p:txBody>
          <a:bodyPr/>
          <a:lstStyle>
            <a:lvl1pPr marL="0" indent="0" algn="ctr">
              <a:buNone/>
              <a:defRPr sz="1800"/>
            </a:lvl1pPr>
            <a:lvl2pPr marL="0" indent="0" algn="ctr">
              <a:buNone/>
              <a:defRPr sz="1800"/>
            </a:lvl2pPr>
            <a:lvl3pPr marL="0" indent="0" algn="ctr">
              <a:buNone/>
              <a:defRPr sz="1800"/>
            </a:lvl3pPr>
            <a:lvl4pPr marL="0" indent="0" algn="ctr">
              <a:buNone/>
              <a:defRPr sz="1800"/>
            </a:lvl4pPr>
            <a:lvl5pPr marL="0" indent="0" algn="ctr">
              <a:buNone/>
              <a:defRPr sz="1800"/>
            </a:lvl5pPr>
          </a:lstStyle>
          <a:p>
            <a:pPr lvl="0"/>
            <a:r>
              <a:rPr lang="da-DK"/>
              <a:t>Klik for at tilføje tekst i maks. 5 linjer</a:t>
            </a:r>
          </a:p>
          <a:p>
            <a:pPr lvl="0"/>
            <a:endParaRPr lang="da-DK"/>
          </a:p>
        </p:txBody>
      </p:sp>
      <p:sp>
        <p:nvSpPr>
          <p:cNvPr id="33" name="Pladsholder til tekst 32">
            <a:extLst>
              <a:ext uri="{FF2B5EF4-FFF2-40B4-BE49-F238E27FC236}">
                <a16:creationId xmlns:a16="http://schemas.microsoft.com/office/drawing/2014/main" id="{B0CFBF4D-C953-4BBC-9F51-5D28B6C78B18}"/>
              </a:ext>
            </a:extLst>
          </p:cNvPr>
          <p:cNvSpPr>
            <a:spLocks noGrp="1"/>
          </p:cNvSpPr>
          <p:nvPr>
            <p:ph type="body" sz="quarter" idx="17" hasCustomPrompt="1"/>
          </p:nvPr>
        </p:nvSpPr>
        <p:spPr>
          <a:xfrm>
            <a:off x="8185149" y="2957106"/>
            <a:ext cx="2742835" cy="1152000"/>
          </a:xfrm>
        </p:spPr>
        <p:txBody>
          <a:bodyPr anchor="b" anchorCtr="0"/>
          <a:lstStyle>
            <a:lvl1pPr marL="0" indent="0" algn="ctr">
              <a:buNone/>
              <a:defRPr sz="8200">
                <a:solidFill>
                  <a:srgbClr val="1C69B9"/>
                </a:solidFill>
                <a:latin typeface="+mj-lt"/>
              </a:defRPr>
            </a:lvl1pPr>
          </a:lstStyle>
          <a:p>
            <a:pPr lvl="0"/>
            <a:r>
              <a:rPr lang="da-DK"/>
              <a:t>3</a:t>
            </a:r>
          </a:p>
        </p:txBody>
      </p:sp>
      <p:sp>
        <p:nvSpPr>
          <p:cNvPr id="35" name="Pladsholder til tekst 34">
            <a:extLst>
              <a:ext uri="{FF2B5EF4-FFF2-40B4-BE49-F238E27FC236}">
                <a16:creationId xmlns:a16="http://schemas.microsoft.com/office/drawing/2014/main" id="{24EB4C83-94E8-4B8E-8FEE-E9ACA3AD039E}"/>
              </a:ext>
            </a:extLst>
          </p:cNvPr>
          <p:cNvSpPr>
            <a:spLocks noGrp="1"/>
          </p:cNvSpPr>
          <p:nvPr>
            <p:ph type="body" sz="quarter" idx="18" hasCustomPrompt="1"/>
          </p:nvPr>
        </p:nvSpPr>
        <p:spPr>
          <a:xfrm>
            <a:off x="8185150" y="4192588"/>
            <a:ext cx="2743200" cy="1476691"/>
          </a:xfrm>
        </p:spPr>
        <p:txBody>
          <a:bodyPr/>
          <a:lstStyle>
            <a:lvl1pPr marL="0" indent="0" algn="ctr">
              <a:buFont typeface="Arial" panose="020B0604020202020204" pitchFamily="34" charset="0"/>
              <a:buNone/>
              <a:defRPr sz="1800"/>
            </a:lvl1pPr>
            <a:lvl2pPr marL="0" indent="0" algn="ctr">
              <a:buFont typeface="Arial" panose="020B0604020202020204" pitchFamily="34" charset="0"/>
              <a:buNone/>
              <a:defRPr sz="1800"/>
            </a:lvl2pPr>
            <a:lvl3pPr marL="0" indent="0" algn="ctr">
              <a:buFont typeface="Arial" panose="020B0604020202020204" pitchFamily="34" charset="0"/>
              <a:buNone/>
              <a:defRPr sz="1800"/>
            </a:lvl3pPr>
            <a:lvl4pPr marL="0" indent="0" algn="ctr">
              <a:buFont typeface="Arial" panose="020B0604020202020204" pitchFamily="34" charset="0"/>
              <a:buNone/>
              <a:defRPr sz="1800"/>
            </a:lvl4pPr>
            <a:lvl5pPr marL="0" indent="0" algn="ctr">
              <a:buFont typeface="Arial" panose="020B0604020202020204" pitchFamily="34" charset="0"/>
              <a:buNone/>
              <a:defRPr sz="1800"/>
            </a:lvl5pPr>
          </a:lstStyle>
          <a:p>
            <a:pPr lvl="0"/>
            <a:r>
              <a:rPr lang="da-DK"/>
              <a:t>Klik for at tilføje tekst i maks. 5 linjer</a:t>
            </a:r>
          </a:p>
          <a:p>
            <a:pPr lvl="0"/>
            <a:endParaRPr lang="da-DK"/>
          </a:p>
        </p:txBody>
      </p:sp>
      <p:sp>
        <p:nvSpPr>
          <p:cNvPr id="3" name="Pladsholder til slidenummer 2">
            <a:extLst>
              <a:ext uri="{FF2B5EF4-FFF2-40B4-BE49-F238E27FC236}">
                <a16:creationId xmlns:a16="http://schemas.microsoft.com/office/drawing/2014/main" id="{4A336267-82FF-43A2-9087-02D602EAC446}"/>
              </a:ext>
            </a:extLst>
          </p:cNvPr>
          <p:cNvSpPr>
            <a:spLocks noGrp="1"/>
          </p:cNvSpPr>
          <p:nvPr>
            <p:ph type="sldNum" sz="quarter" idx="10"/>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Pladsholder til dato 3">
            <a:extLst>
              <a:ext uri="{FF2B5EF4-FFF2-40B4-BE49-F238E27FC236}">
                <a16:creationId xmlns:a16="http://schemas.microsoft.com/office/drawing/2014/main" id="{701768FB-D346-436E-A1BE-C612F2D29C57}"/>
              </a:ext>
            </a:extLst>
          </p:cNvPr>
          <p:cNvSpPr>
            <a:spLocks noGrp="1"/>
          </p:cNvSpPr>
          <p:nvPr>
            <p:ph type="dt" sz="half" idx="11"/>
          </p:nvPr>
        </p:nvSpPr>
        <p:spPr/>
        <p:txBody>
          <a:bodyPr/>
          <a:lstStyle/>
          <a:p>
            <a:pPr>
              <a:lnSpc>
                <a:spcPct val="92000"/>
              </a:lnSpc>
            </a:pPr>
            <a:fld id="{67D403F8-0879-4DEE-B333-E35E067991CD}" type="datetime2">
              <a:rPr lang="da-DK" smtClean="0"/>
              <a:t>18. januar 2022</a:t>
            </a:fld>
            <a:endParaRPr lang="da-DK"/>
          </a:p>
        </p:txBody>
      </p:sp>
      <p:sp>
        <p:nvSpPr>
          <p:cNvPr id="5" name="Pladsholder til sidefod 4">
            <a:extLst>
              <a:ext uri="{FF2B5EF4-FFF2-40B4-BE49-F238E27FC236}">
                <a16:creationId xmlns:a16="http://schemas.microsoft.com/office/drawing/2014/main" id="{3D22549F-4CE2-4BCA-9C6A-0A9DE1807445}"/>
              </a:ext>
            </a:extLst>
          </p:cNvPr>
          <p:cNvSpPr>
            <a:spLocks noGrp="1"/>
          </p:cNvSpPr>
          <p:nvPr>
            <p:ph type="ftr" sz="quarter" idx="12"/>
          </p:nvPr>
        </p:nvSpPr>
        <p:spPr/>
        <p:txBody>
          <a:bodyPr/>
          <a:lstStyle>
            <a:lvl1pPr>
              <a:defRPr>
                <a:solidFill>
                  <a:schemeClr val="tx1"/>
                </a:solidFill>
              </a:defRPr>
            </a:lvl1pPr>
          </a:lstStyle>
          <a:p>
            <a:endParaRPr lang="da-DK"/>
          </a:p>
        </p:txBody>
      </p:sp>
      <p:sp>
        <p:nvSpPr>
          <p:cNvPr id="40" name="Krone">
            <a:extLst>
              <a:ext uri="{FF2B5EF4-FFF2-40B4-BE49-F238E27FC236}">
                <a16:creationId xmlns:a16="http://schemas.microsoft.com/office/drawing/2014/main" id="{5925B3B4-1F42-409E-A9F1-48A287005DAF}"/>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426416519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93" userDrawn="1">
          <p15:clr>
            <a:srgbClr val="FFFFFF"/>
          </p15:clr>
        </p15:guide>
        <p15:guide id="2" pos="2975" userDrawn="1">
          <p15:clr>
            <a:srgbClr val="FFFFFF"/>
          </p15:clr>
        </p15:guide>
        <p15:guide id="3" orient="horz" pos="3571" userDrawn="1">
          <p15:clr>
            <a:srgbClr val="FFFFFF"/>
          </p15:clr>
        </p15:guide>
        <p15:guide id="4" orient="horz" pos="2641" userDrawn="1">
          <p15:clr>
            <a:srgbClr val="FFFF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0"/>
            <a:ext cx="12192000" cy="6858000"/>
          </a:xfrm>
          <a:solidFill>
            <a:schemeClr val="tx2"/>
          </a:solidFill>
        </p:spPr>
        <p:txBody>
          <a:bodyPr lIns="6444000" tIns="0" anchor="ctr" anchorCtr="0"/>
          <a:lstStyle>
            <a:lvl1pPr marL="0" indent="0" algn="l">
              <a:buNone/>
              <a:defRPr sz="1500">
                <a:solidFill>
                  <a:schemeClr val="accent1"/>
                </a:solidFill>
              </a:defRPr>
            </a:lvl1pPr>
          </a:lstStyle>
          <a:p>
            <a:r>
              <a:rPr lang="da-DK" noProof="0"/>
              <a:t>Klik på ikonet for at indsætte billede</a:t>
            </a:r>
          </a:p>
        </p:txBody>
      </p:sp>
      <p:sp>
        <p:nvSpPr>
          <p:cNvPr id="13" name="Content Placeholder 6">
            <a:extLst>
              <a:ext uri="{FF2B5EF4-FFF2-40B4-BE49-F238E27FC236}">
                <a16:creationId xmlns:a16="http://schemas.microsoft.com/office/drawing/2014/main" id="{F7310B2B-3E72-48FC-9F00-8C7B6B5A6720}"/>
              </a:ext>
            </a:extLst>
          </p:cNvPr>
          <p:cNvSpPr>
            <a:spLocks noGrp="1"/>
          </p:cNvSpPr>
          <p:nvPr>
            <p:ph sz="quarter" idx="24"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fld id="{47EEE488-8E98-4681-92DA-F2B6CC2E1305}"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bg1"/>
                </a:solidFill>
              </a:defRPr>
            </a:lvl1pPr>
          </a:lstStyle>
          <a:p>
            <a:endParaRPr lang="da-DK"/>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1" name="Krone special">
            <a:extLst>
              <a:ext uri="{FF2B5EF4-FFF2-40B4-BE49-F238E27FC236}">
                <a16:creationId xmlns:a16="http://schemas.microsoft.com/office/drawing/2014/main" id="{1FA0A1A6-1AAE-4C60-BE1C-B1FF71DB61B1}"/>
              </a:ext>
            </a:extLst>
          </p:cNvPr>
          <p:cNvSpPr>
            <a:spLocks noGrp="1" noChangeAspect="1"/>
          </p:cNvSpPr>
          <p:nvPr>
            <p:ph type="body" sz="quarter" idx="14" hasCustomPrompt="1"/>
          </p:nvPr>
        </p:nvSpPr>
        <p:spPr>
          <a:xfrm>
            <a:off x="540000" y="6315942"/>
            <a:ext cx="252931" cy="235671"/>
          </a:xfrm>
          <a:custGeom>
            <a:avLst/>
            <a:gdLst>
              <a:gd name="connsiteX0" fmla="*/ 200917 w 1439082"/>
              <a:gd name="connsiteY0" fmla="*/ 1267112 h 1341228"/>
              <a:gd name="connsiteX1" fmla="*/ 1238538 w 1439082"/>
              <a:gd name="connsiteY1" fmla="*/ 1267112 h 1341228"/>
              <a:gd name="connsiteX2" fmla="*/ 1238538 w 1439082"/>
              <a:gd name="connsiteY2" fmla="*/ 1341228 h 1341228"/>
              <a:gd name="connsiteX3" fmla="*/ 200917 w 1439082"/>
              <a:gd name="connsiteY3" fmla="*/ 1341228 h 1341228"/>
              <a:gd name="connsiteX4" fmla="*/ 200917 w 1439082"/>
              <a:gd name="connsiteY4" fmla="*/ 1131382 h 1341228"/>
              <a:gd name="connsiteX5" fmla="*/ 1238538 w 1439082"/>
              <a:gd name="connsiteY5" fmla="*/ 1131382 h 1341228"/>
              <a:gd name="connsiteX6" fmla="*/ 1238538 w 1439082"/>
              <a:gd name="connsiteY6" fmla="*/ 1205498 h 1341228"/>
              <a:gd name="connsiteX7" fmla="*/ 200917 w 1439082"/>
              <a:gd name="connsiteY7" fmla="*/ 1205498 h 1341228"/>
              <a:gd name="connsiteX8" fmla="*/ 1265948 w 1439082"/>
              <a:gd name="connsiteY8" fmla="*/ 512560 h 1341228"/>
              <a:gd name="connsiteX9" fmla="*/ 1434949 w 1439082"/>
              <a:gd name="connsiteY9" fmla="*/ 644972 h 1341228"/>
              <a:gd name="connsiteX10" fmla="*/ 1439082 w 1439082"/>
              <a:gd name="connsiteY10" fmla="*/ 684726 h 1341228"/>
              <a:gd name="connsiteX11" fmla="*/ 1439082 w 1439082"/>
              <a:gd name="connsiteY11" fmla="*/ 690660 h 1341228"/>
              <a:gd name="connsiteX12" fmla="*/ 1430792 w 1439082"/>
              <a:gd name="connsiteY12" fmla="*/ 743158 h 1341228"/>
              <a:gd name="connsiteX13" fmla="*/ 1342121 w 1439082"/>
              <a:gd name="connsiteY13" fmla="*/ 864049 h 1341228"/>
              <a:gd name="connsiteX14" fmla="*/ 1238441 w 1439082"/>
              <a:gd name="connsiteY14" fmla="*/ 1071554 h 1341228"/>
              <a:gd name="connsiteX15" fmla="*/ 1162267 w 1439082"/>
              <a:gd name="connsiteY15" fmla="*/ 1071554 h 1341228"/>
              <a:gd name="connsiteX16" fmla="*/ 1168615 w 1439082"/>
              <a:gd name="connsiteY16" fmla="*/ 927571 h 1341228"/>
              <a:gd name="connsiteX17" fmla="*/ 1295571 w 1439082"/>
              <a:gd name="connsiteY17" fmla="*/ 796292 h 1341228"/>
              <a:gd name="connsiteX18" fmla="*/ 1361165 w 1439082"/>
              <a:gd name="connsiteY18" fmla="*/ 688304 h 1341228"/>
              <a:gd name="connsiteX19" fmla="*/ 1268064 w 1439082"/>
              <a:gd name="connsiteY19" fmla="*/ 590904 h 1341228"/>
              <a:gd name="connsiteX20" fmla="*/ 1227861 w 1439082"/>
              <a:gd name="connsiteY20" fmla="*/ 595139 h 1341228"/>
              <a:gd name="connsiteX21" fmla="*/ 1196122 w 1439082"/>
              <a:gd name="connsiteY21" fmla="*/ 525264 h 1341228"/>
              <a:gd name="connsiteX22" fmla="*/ 1265948 w 1439082"/>
              <a:gd name="connsiteY22" fmla="*/ 512560 h 1341228"/>
              <a:gd name="connsiteX23" fmla="*/ 173506 w 1439082"/>
              <a:gd name="connsiteY23" fmla="*/ 512560 h 1341228"/>
              <a:gd name="connsiteX24" fmla="*/ 245448 w 1439082"/>
              <a:gd name="connsiteY24" fmla="*/ 525264 h 1341228"/>
              <a:gd name="connsiteX25" fmla="*/ 211593 w 1439082"/>
              <a:gd name="connsiteY25" fmla="*/ 595139 h 1341228"/>
              <a:gd name="connsiteX26" fmla="*/ 173506 w 1439082"/>
              <a:gd name="connsiteY26" fmla="*/ 590904 h 1341228"/>
              <a:gd name="connsiteX27" fmla="*/ 78289 w 1439082"/>
              <a:gd name="connsiteY27" fmla="*/ 688304 h 1341228"/>
              <a:gd name="connsiteX28" fmla="*/ 143883 w 1439082"/>
              <a:gd name="connsiteY28" fmla="*/ 796292 h 1341228"/>
              <a:gd name="connsiteX29" fmla="*/ 270839 w 1439082"/>
              <a:gd name="connsiteY29" fmla="*/ 927571 h 1341228"/>
              <a:gd name="connsiteX30" fmla="*/ 277186 w 1439082"/>
              <a:gd name="connsiteY30" fmla="*/ 1071554 h 1341228"/>
              <a:gd name="connsiteX31" fmla="*/ 201013 w 1439082"/>
              <a:gd name="connsiteY31" fmla="*/ 1071554 h 1341228"/>
              <a:gd name="connsiteX32" fmla="*/ 99449 w 1439082"/>
              <a:gd name="connsiteY32" fmla="*/ 864049 h 1341228"/>
              <a:gd name="connsiteX33" fmla="*/ 0 w 1439082"/>
              <a:gd name="connsiteY33" fmla="*/ 688304 h 1341228"/>
              <a:gd name="connsiteX34" fmla="*/ 173506 w 1439082"/>
              <a:gd name="connsiteY34" fmla="*/ 512560 h 1341228"/>
              <a:gd name="connsiteX35" fmla="*/ 679116 w 1439082"/>
              <a:gd name="connsiteY35" fmla="*/ 478627 h 1341228"/>
              <a:gd name="connsiteX36" fmla="*/ 759996 w 1439082"/>
              <a:gd name="connsiteY36" fmla="*/ 478627 h 1341228"/>
              <a:gd name="connsiteX37" fmla="*/ 759996 w 1439082"/>
              <a:gd name="connsiteY37" fmla="*/ 701225 h 1341228"/>
              <a:gd name="connsiteX38" fmla="*/ 798308 w 1439082"/>
              <a:gd name="connsiteY38" fmla="*/ 923823 h 1341228"/>
              <a:gd name="connsiteX39" fmla="*/ 759996 w 1439082"/>
              <a:gd name="connsiteY39" fmla="*/ 1067982 h 1341228"/>
              <a:gd name="connsiteX40" fmla="*/ 679116 w 1439082"/>
              <a:gd name="connsiteY40" fmla="*/ 1067982 h 1341228"/>
              <a:gd name="connsiteX41" fmla="*/ 642933 w 1439082"/>
              <a:gd name="connsiteY41" fmla="*/ 923823 h 1341228"/>
              <a:gd name="connsiteX42" fmla="*/ 679116 w 1439082"/>
              <a:gd name="connsiteY42" fmla="*/ 701225 h 1341228"/>
              <a:gd name="connsiteX43" fmla="*/ 679116 w 1439082"/>
              <a:gd name="connsiteY43" fmla="*/ 478627 h 1341228"/>
              <a:gd name="connsiteX44" fmla="*/ 1001102 w 1439082"/>
              <a:gd name="connsiteY44" fmla="*/ 474163 h 1341228"/>
              <a:gd name="connsiteX45" fmla="*/ 1130079 w 1439082"/>
              <a:gd name="connsiteY45" fmla="*/ 527123 h 1341228"/>
              <a:gd name="connsiteX46" fmla="*/ 1178709 w 1439082"/>
              <a:gd name="connsiteY46" fmla="*/ 647873 h 1341228"/>
              <a:gd name="connsiteX47" fmla="*/ 1108935 w 1439082"/>
              <a:gd name="connsiteY47" fmla="*/ 806753 h 1341228"/>
              <a:gd name="connsiteX48" fmla="*/ 1020131 w 1439082"/>
              <a:gd name="connsiteY48" fmla="*/ 1071554 h 1341228"/>
              <a:gd name="connsiteX49" fmla="*/ 937671 w 1439082"/>
              <a:gd name="connsiteY49" fmla="*/ 1071554 h 1341228"/>
              <a:gd name="connsiteX50" fmla="*/ 922870 w 1439082"/>
              <a:gd name="connsiteY50" fmla="*/ 908437 h 1341228"/>
              <a:gd name="connsiteX51" fmla="*/ 1047618 w 1439082"/>
              <a:gd name="connsiteY51" fmla="*/ 758030 h 1341228"/>
              <a:gd name="connsiteX52" fmla="*/ 1100477 w 1439082"/>
              <a:gd name="connsiteY52" fmla="*/ 645754 h 1341228"/>
              <a:gd name="connsiteX53" fmla="*/ 1001102 w 1439082"/>
              <a:gd name="connsiteY53" fmla="*/ 550426 h 1341228"/>
              <a:gd name="connsiteX54" fmla="*/ 810809 w 1439082"/>
              <a:gd name="connsiteY54" fmla="*/ 613978 h 1341228"/>
              <a:gd name="connsiteX55" fmla="*/ 810809 w 1439082"/>
              <a:gd name="connsiteY55" fmla="*/ 537715 h 1341228"/>
              <a:gd name="connsiteX56" fmla="*/ 1001102 w 1439082"/>
              <a:gd name="connsiteY56" fmla="*/ 474163 h 1341228"/>
              <a:gd name="connsiteX57" fmla="*/ 440297 w 1439082"/>
              <a:gd name="connsiteY57" fmla="*/ 474163 h 1341228"/>
              <a:gd name="connsiteX58" fmla="*/ 628645 w 1439082"/>
              <a:gd name="connsiteY58" fmla="*/ 537715 h 1341228"/>
              <a:gd name="connsiteX59" fmla="*/ 628645 w 1439082"/>
              <a:gd name="connsiteY59" fmla="*/ 613978 h 1341228"/>
              <a:gd name="connsiteX60" fmla="*/ 440297 w 1439082"/>
              <a:gd name="connsiteY60" fmla="*/ 550426 h 1341228"/>
              <a:gd name="connsiteX61" fmla="*/ 340833 w 1439082"/>
              <a:gd name="connsiteY61" fmla="*/ 645754 h 1341228"/>
              <a:gd name="connsiteX62" fmla="*/ 393739 w 1439082"/>
              <a:gd name="connsiteY62" fmla="*/ 758030 h 1341228"/>
              <a:gd name="connsiteX63" fmla="*/ 518599 w 1439082"/>
              <a:gd name="connsiteY63" fmla="*/ 908437 h 1341228"/>
              <a:gd name="connsiteX64" fmla="*/ 501669 w 1439082"/>
              <a:gd name="connsiteY64" fmla="*/ 1071554 h 1341228"/>
              <a:gd name="connsiteX65" fmla="*/ 421251 w 1439082"/>
              <a:gd name="connsiteY65" fmla="*/ 1071554 h 1341228"/>
              <a:gd name="connsiteX66" fmla="*/ 330252 w 1439082"/>
              <a:gd name="connsiteY66" fmla="*/ 806753 h 1341228"/>
              <a:gd name="connsiteX67" fmla="*/ 262531 w 1439082"/>
              <a:gd name="connsiteY67" fmla="*/ 647873 h 1341228"/>
              <a:gd name="connsiteX68" fmla="*/ 311205 w 1439082"/>
              <a:gd name="connsiteY68" fmla="*/ 527123 h 1341228"/>
              <a:gd name="connsiteX69" fmla="*/ 440297 w 1439082"/>
              <a:gd name="connsiteY69" fmla="*/ 474163 h 1341228"/>
              <a:gd name="connsiteX70" fmla="*/ 719560 w 1439082"/>
              <a:gd name="connsiteY70" fmla="*/ 288279 h 1341228"/>
              <a:gd name="connsiteX71" fmla="*/ 679285 w 1439082"/>
              <a:gd name="connsiteY71" fmla="*/ 330673 h 1341228"/>
              <a:gd name="connsiteX72" fmla="*/ 719560 w 1439082"/>
              <a:gd name="connsiteY72" fmla="*/ 370947 h 1341228"/>
              <a:gd name="connsiteX73" fmla="*/ 761955 w 1439082"/>
              <a:gd name="connsiteY73" fmla="*/ 330673 h 1341228"/>
              <a:gd name="connsiteX74" fmla="*/ 719560 w 1439082"/>
              <a:gd name="connsiteY74" fmla="*/ 288279 h 1341228"/>
              <a:gd name="connsiteX75" fmla="*/ 685644 w 1439082"/>
              <a:gd name="connsiteY75" fmla="*/ 0 h 1341228"/>
              <a:gd name="connsiteX76" fmla="*/ 755596 w 1439082"/>
              <a:gd name="connsiteY76" fmla="*/ 0 h 1341228"/>
              <a:gd name="connsiteX77" fmla="*/ 755596 w 1439082"/>
              <a:gd name="connsiteY77" fmla="*/ 80549 h 1341228"/>
              <a:gd name="connsiteX78" fmla="*/ 834026 w 1439082"/>
              <a:gd name="connsiteY78" fmla="*/ 80549 h 1341228"/>
              <a:gd name="connsiteX79" fmla="*/ 834026 w 1439082"/>
              <a:gd name="connsiteY79" fmla="*/ 150499 h 1341228"/>
              <a:gd name="connsiteX80" fmla="*/ 755596 w 1439082"/>
              <a:gd name="connsiteY80" fmla="*/ 150499 h 1341228"/>
              <a:gd name="connsiteX81" fmla="*/ 755596 w 1439082"/>
              <a:gd name="connsiteY81" fmla="*/ 228928 h 1341228"/>
              <a:gd name="connsiteX82" fmla="*/ 827667 w 1439082"/>
              <a:gd name="connsiteY82" fmla="*/ 330673 h 1341228"/>
              <a:gd name="connsiteX83" fmla="*/ 719560 w 1439082"/>
              <a:gd name="connsiteY83" fmla="*/ 436658 h 1341228"/>
              <a:gd name="connsiteX84" fmla="*/ 613573 w 1439082"/>
              <a:gd name="connsiteY84" fmla="*/ 330673 h 1341228"/>
              <a:gd name="connsiteX85" fmla="*/ 685644 w 1439082"/>
              <a:gd name="connsiteY85" fmla="*/ 228928 h 1341228"/>
              <a:gd name="connsiteX86" fmla="*/ 685644 w 1439082"/>
              <a:gd name="connsiteY86" fmla="*/ 150499 h 1341228"/>
              <a:gd name="connsiteX87" fmla="*/ 607214 w 1439082"/>
              <a:gd name="connsiteY87" fmla="*/ 150499 h 1341228"/>
              <a:gd name="connsiteX88" fmla="*/ 607214 w 1439082"/>
              <a:gd name="connsiteY88" fmla="*/ 80549 h 1341228"/>
              <a:gd name="connsiteX89" fmla="*/ 685644 w 1439082"/>
              <a:gd name="connsiteY89" fmla="*/ 80549 h 1341228"/>
              <a:gd name="connsiteX90" fmla="*/ 685644 w 1439082"/>
              <a:gd name="connsiteY90"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1439082"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28896" y="514412"/>
                  <a:pt x="1414526" y="551931"/>
                  <a:pt x="1434949" y="644972"/>
                </a:cubicBezTo>
                <a:lnTo>
                  <a:pt x="1439082" y="684726"/>
                </a:lnTo>
                <a:lnTo>
                  <a:pt x="1439082" y="690660"/>
                </a:lnTo>
                <a:lnTo>
                  <a:pt x="1430792" y="743158"/>
                </a:lnTo>
                <a:cubicBezTo>
                  <a:pt x="1414327" y="792984"/>
                  <a:pt x="1377034" y="829112"/>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p:spPr>
        <p:txBody>
          <a:bodyPr wrap="square">
            <a:noAutofit/>
          </a:bodyPr>
          <a:lstStyle>
            <a:lvl1pPr marL="0" indent="0">
              <a:buNone/>
              <a:defRPr sz="100">
                <a:solidFill>
                  <a:schemeClr val="bg1"/>
                </a:solidFill>
              </a:defRPr>
            </a:lvl1pPr>
            <a:lvl2pPr>
              <a:defRPr sz="100"/>
            </a:lvl2pPr>
            <a:lvl3pPr>
              <a:defRPr sz="100"/>
            </a:lvl3pPr>
            <a:lvl4pPr>
              <a:defRPr sz="100"/>
            </a:lvl4pPr>
            <a:lvl5pPr>
              <a:defRPr sz="100"/>
            </a:lvl5pPr>
          </a:lstStyle>
          <a:p>
            <a:pPr lvl="0"/>
            <a:r>
              <a:rPr lang="da-DK" noProof="0"/>
              <a:t>.</a:t>
            </a:r>
          </a:p>
        </p:txBody>
      </p:sp>
    </p:spTree>
    <p:extLst>
      <p:ext uri="{BB962C8B-B14F-4D97-AF65-F5344CB8AC3E}">
        <p14:creationId xmlns:p14="http://schemas.microsoft.com/office/powerpoint/2010/main" val="36963540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re ikoner">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EF55A7B-5D51-493C-B69C-7BF666BE9C67}"/>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el 1">
            <a:extLst>
              <a:ext uri="{FF2B5EF4-FFF2-40B4-BE49-F238E27FC236}">
                <a16:creationId xmlns:a16="http://schemas.microsoft.com/office/drawing/2014/main" id="{6C484425-A3AE-4311-9E64-CDE9354F2E61}"/>
              </a:ext>
            </a:extLst>
          </p:cNvPr>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a:t>Klik for at tilføje titel i maks. 2 linjer</a:t>
            </a:r>
          </a:p>
        </p:txBody>
      </p:sp>
      <p:sp>
        <p:nvSpPr>
          <p:cNvPr id="8" name="Pladsholder til indhold 7">
            <a:extLst>
              <a:ext uri="{FF2B5EF4-FFF2-40B4-BE49-F238E27FC236}">
                <a16:creationId xmlns:a16="http://schemas.microsoft.com/office/drawing/2014/main" id="{2BECD475-746A-4615-A9BB-F92B265E20BF}"/>
              </a:ext>
            </a:extLst>
          </p:cNvPr>
          <p:cNvSpPr>
            <a:spLocks noGrp="1"/>
          </p:cNvSpPr>
          <p:nvPr>
            <p:ph sz="quarter" idx="13" hasCustomPrompt="1"/>
          </p:nvPr>
        </p:nvSpPr>
        <p:spPr>
          <a:xfrm>
            <a:off x="1798888" y="2448000"/>
            <a:ext cx="1663200" cy="1440000"/>
          </a:xfrm>
        </p:spPr>
        <p:txBody>
          <a:bodyPr wrap="none"/>
          <a:lstStyle>
            <a:lvl1pPr marL="0" indent="0" algn="ctr">
              <a:buNone/>
              <a:defRPr/>
            </a:lvl1pPr>
            <a:lvl2pPr>
              <a:buNone/>
              <a:defRPr/>
            </a:lvl2pPr>
            <a:lvl3pPr>
              <a:buNone/>
              <a:defRPr/>
            </a:lvl3pPr>
            <a:lvl4pPr>
              <a:buNone/>
              <a:defRPr/>
            </a:lvl4pPr>
            <a:lvl5pPr>
              <a:buNone/>
              <a:defRPr/>
            </a:lvl5pPr>
          </a:lstStyle>
          <a:p>
            <a:pPr lvl="0"/>
            <a:r>
              <a:rPr lang="da-DK"/>
              <a:t>Indsæt ikon, centrer over teksten </a:t>
            </a:r>
            <a:br>
              <a:rPr lang="da-DK"/>
            </a:br>
            <a:r>
              <a:rPr lang="da-DK"/>
              <a:t>bundstil med pladsholder til højre</a:t>
            </a:r>
          </a:p>
        </p:txBody>
      </p:sp>
      <p:sp>
        <p:nvSpPr>
          <p:cNvPr id="12" name="Pladsholder til tekst 11">
            <a:extLst>
              <a:ext uri="{FF2B5EF4-FFF2-40B4-BE49-F238E27FC236}">
                <a16:creationId xmlns:a16="http://schemas.microsoft.com/office/drawing/2014/main" id="{2AF14B43-3EBA-46A6-A00E-734939174969}"/>
              </a:ext>
            </a:extLst>
          </p:cNvPr>
          <p:cNvSpPr>
            <a:spLocks noGrp="1"/>
          </p:cNvSpPr>
          <p:nvPr>
            <p:ph type="body" sz="quarter" idx="14" hasCustomPrompt="1"/>
          </p:nvPr>
        </p:nvSpPr>
        <p:spPr>
          <a:xfrm>
            <a:off x="1258888" y="4192587"/>
            <a:ext cx="2743200" cy="1476376"/>
          </a:xfrm>
        </p:spPr>
        <p:txBody>
          <a:bodyPr/>
          <a:lstStyle>
            <a:lvl1pPr marL="0" indent="0" algn="ctr">
              <a:buNone/>
              <a:defRPr sz="1800"/>
            </a:lvl1pPr>
            <a:lvl2pPr>
              <a:defRPr sz="1800"/>
            </a:lvl2pPr>
            <a:lvl3pPr>
              <a:defRPr sz="1800"/>
            </a:lvl3pPr>
            <a:lvl4pPr>
              <a:defRPr sz="1800"/>
            </a:lvl4pPr>
            <a:lvl5pPr>
              <a:defRPr sz="1800"/>
            </a:lvl5pPr>
          </a:lstStyle>
          <a:p>
            <a:pPr lvl="0"/>
            <a:r>
              <a:rPr lang="da-DK"/>
              <a:t>Klik for at tilføje tekst i maks. 5 linjer</a:t>
            </a:r>
          </a:p>
          <a:p>
            <a:pPr lvl="0"/>
            <a:endParaRPr lang="da-DK"/>
          </a:p>
        </p:txBody>
      </p:sp>
      <p:sp>
        <p:nvSpPr>
          <p:cNvPr id="16" name="Pladsholder til indhold 15">
            <a:extLst>
              <a:ext uri="{FF2B5EF4-FFF2-40B4-BE49-F238E27FC236}">
                <a16:creationId xmlns:a16="http://schemas.microsoft.com/office/drawing/2014/main" id="{0023D3D1-32FD-40B8-A1D2-E7702A6479F8}"/>
              </a:ext>
            </a:extLst>
          </p:cNvPr>
          <p:cNvSpPr>
            <a:spLocks noGrp="1"/>
          </p:cNvSpPr>
          <p:nvPr>
            <p:ph sz="quarter" idx="15" hasCustomPrompt="1"/>
          </p:nvPr>
        </p:nvSpPr>
        <p:spPr>
          <a:xfrm>
            <a:off x="5262812" y="2448000"/>
            <a:ext cx="1663200" cy="1440000"/>
          </a:xfrm>
        </p:spPr>
        <p:txBody>
          <a:bodyPr wrap="none"/>
          <a:lstStyle>
            <a:lvl1pPr marL="0" indent="0" algn="ctr">
              <a:buNone/>
              <a:defRPr/>
            </a:lvl1pPr>
            <a:lvl2pPr>
              <a:buNone/>
              <a:defRPr/>
            </a:lvl2pPr>
            <a:lvl3pPr>
              <a:buNone/>
              <a:defRPr/>
            </a:lvl3pPr>
            <a:lvl4pPr>
              <a:buNone/>
              <a:defRPr/>
            </a:lvl4pPr>
            <a:lvl5pPr>
              <a:buNone/>
              <a:defRPr/>
            </a:lvl5pPr>
          </a:lstStyle>
          <a:p>
            <a:pPr lvl="0"/>
            <a:r>
              <a:rPr lang="da-DK"/>
              <a:t>Indsæt ikon, centrer over teksten </a:t>
            </a:r>
            <a:br>
              <a:rPr lang="da-DK"/>
            </a:br>
            <a:r>
              <a:rPr lang="da-DK"/>
              <a:t>bundstil med pladsholder til højre</a:t>
            </a:r>
          </a:p>
        </p:txBody>
      </p:sp>
      <p:sp>
        <p:nvSpPr>
          <p:cNvPr id="20" name="Pladsholder til tekst 19">
            <a:extLst>
              <a:ext uri="{FF2B5EF4-FFF2-40B4-BE49-F238E27FC236}">
                <a16:creationId xmlns:a16="http://schemas.microsoft.com/office/drawing/2014/main" id="{71E76549-9209-48C2-82BC-DC3387DF1008}"/>
              </a:ext>
            </a:extLst>
          </p:cNvPr>
          <p:cNvSpPr>
            <a:spLocks noGrp="1"/>
          </p:cNvSpPr>
          <p:nvPr>
            <p:ph type="body" sz="quarter" idx="16" hasCustomPrompt="1"/>
          </p:nvPr>
        </p:nvSpPr>
        <p:spPr>
          <a:xfrm>
            <a:off x="4722812" y="4192587"/>
            <a:ext cx="2743200" cy="1472132"/>
          </a:xfrm>
        </p:spPr>
        <p:txBody>
          <a:bodyPr/>
          <a:lstStyle>
            <a:lvl1pPr marL="0" indent="0" algn="ctr">
              <a:buNone/>
              <a:defRPr sz="1800"/>
            </a:lvl1pPr>
            <a:lvl2pPr>
              <a:buNone/>
              <a:defRPr sz="1800"/>
            </a:lvl2pPr>
            <a:lvl3pPr>
              <a:defRPr sz="1800"/>
            </a:lvl3pPr>
            <a:lvl4pPr>
              <a:defRPr sz="1800"/>
            </a:lvl4pPr>
            <a:lvl5pPr>
              <a:defRPr sz="1800"/>
            </a:lvl5pPr>
          </a:lstStyle>
          <a:p>
            <a:pPr lvl="0"/>
            <a:r>
              <a:rPr lang="da-DK"/>
              <a:t>Klik for at tilføje tekst i maks. 5 linjer</a:t>
            </a:r>
          </a:p>
        </p:txBody>
      </p:sp>
      <p:sp>
        <p:nvSpPr>
          <p:cNvPr id="23" name="Pladsholder til indhold 22">
            <a:extLst>
              <a:ext uri="{FF2B5EF4-FFF2-40B4-BE49-F238E27FC236}">
                <a16:creationId xmlns:a16="http://schemas.microsoft.com/office/drawing/2014/main" id="{A831BAD8-253D-41CD-8149-F6209FD8FF6F}"/>
              </a:ext>
            </a:extLst>
          </p:cNvPr>
          <p:cNvSpPr>
            <a:spLocks noGrp="1"/>
          </p:cNvSpPr>
          <p:nvPr>
            <p:ph sz="quarter" idx="17" hasCustomPrompt="1"/>
          </p:nvPr>
        </p:nvSpPr>
        <p:spPr>
          <a:xfrm>
            <a:off x="8726736" y="2448000"/>
            <a:ext cx="1663200" cy="1440000"/>
          </a:xfrm>
        </p:spPr>
        <p:txBody>
          <a:bodyPr wrap="none"/>
          <a:lstStyle>
            <a:lvl1pPr marL="0" indent="0" algn="ctr">
              <a:buNone/>
              <a:defRPr/>
            </a:lvl1pPr>
            <a:lvl2pPr>
              <a:buNone/>
              <a:defRPr/>
            </a:lvl2pPr>
            <a:lvl3pPr>
              <a:buNone/>
              <a:defRPr/>
            </a:lvl3pPr>
            <a:lvl4pPr>
              <a:buNone/>
              <a:defRPr/>
            </a:lvl4pPr>
            <a:lvl5pPr>
              <a:buNone/>
              <a:defRPr/>
            </a:lvl5pPr>
          </a:lstStyle>
          <a:p>
            <a:pPr lvl="0"/>
            <a:r>
              <a:rPr lang="da-DK"/>
              <a:t>Indsæt ikon, centrer over teksten </a:t>
            </a:r>
            <a:br>
              <a:rPr lang="da-DK"/>
            </a:br>
            <a:r>
              <a:rPr lang="da-DK"/>
              <a:t>bundstil med ikon til venstre</a:t>
            </a:r>
          </a:p>
        </p:txBody>
      </p:sp>
      <p:sp>
        <p:nvSpPr>
          <p:cNvPr id="25" name="Pladsholder til tekst 24">
            <a:extLst>
              <a:ext uri="{FF2B5EF4-FFF2-40B4-BE49-F238E27FC236}">
                <a16:creationId xmlns:a16="http://schemas.microsoft.com/office/drawing/2014/main" id="{A6BB5296-9735-43EE-80EA-84B81A7E5E6B}"/>
              </a:ext>
            </a:extLst>
          </p:cNvPr>
          <p:cNvSpPr>
            <a:spLocks noGrp="1"/>
          </p:cNvSpPr>
          <p:nvPr>
            <p:ph type="body" sz="quarter" idx="18" hasCustomPrompt="1"/>
          </p:nvPr>
        </p:nvSpPr>
        <p:spPr>
          <a:xfrm>
            <a:off x="8186736" y="4192587"/>
            <a:ext cx="2743200" cy="1476376"/>
          </a:xfrm>
        </p:spPr>
        <p:txBody>
          <a:bodyPr/>
          <a:lstStyle>
            <a:lvl1pPr marL="0" indent="0" algn="ctr">
              <a:buNone/>
              <a:defRPr sz="1800"/>
            </a:lvl1pPr>
            <a:lvl2pPr>
              <a:defRPr sz="1800"/>
            </a:lvl2pPr>
            <a:lvl3pPr>
              <a:defRPr sz="1800"/>
            </a:lvl3pPr>
            <a:lvl4pPr>
              <a:defRPr sz="1800"/>
            </a:lvl4pPr>
            <a:lvl5pPr>
              <a:defRPr sz="1800"/>
            </a:lvl5pPr>
          </a:lstStyle>
          <a:p>
            <a:pPr lvl="0"/>
            <a:r>
              <a:rPr lang="da-DK"/>
              <a:t>Klik for at tilføje tekst i maks. 5 linjer</a:t>
            </a:r>
          </a:p>
        </p:txBody>
      </p:sp>
      <p:sp>
        <p:nvSpPr>
          <p:cNvPr id="3" name="Pladsholder til slidenummer 2">
            <a:extLst>
              <a:ext uri="{FF2B5EF4-FFF2-40B4-BE49-F238E27FC236}">
                <a16:creationId xmlns:a16="http://schemas.microsoft.com/office/drawing/2014/main" id="{4A336267-82FF-43A2-9087-02D602EAC446}"/>
              </a:ext>
            </a:extLst>
          </p:cNvPr>
          <p:cNvSpPr>
            <a:spLocks noGrp="1"/>
          </p:cNvSpPr>
          <p:nvPr>
            <p:ph type="sldNum" sz="quarter" idx="10"/>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Pladsholder til dato 3">
            <a:extLst>
              <a:ext uri="{FF2B5EF4-FFF2-40B4-BE49-F238E27FC236}">
                <a16:creationId xmlns:a16="http://schemas.microsoft.com/office/drawing/2014/main" id="{701768FB-D346-436E-A1BE-C612F2D29C57}"/>
              </a:ext>
            </a:extLst>
          </p:cNvPr>
          <p:cNvSpPr>
            <a:spLocks noGrp="1"/>
          </p:cNvSpPr>
          <p:nvPr>
            <p:ph type="dt" sz="half" idx="11"/>
          </p:nvPr>
        </p:nvSpPr>
        <p:spPr/>
        <p:txBody>
          <a:bodyPr/>
          <a:lstStyle/>
          <a:p>
            <a:pPr>
              <a:lnSpc>
                <a:spcPct val="92000"/>
              </a:lnSpc>
            </a:pPr>
            <a:fld id="{87C99E93-B1D4-4065-AF93-3DB68934B7CE}" type="datetime2">
              <a:rPr lang="da-DK" smtClean="0"/>
              <a:t>18. januar 2022</a:t>
            </a:fld>
            <a:endParaRPr lang="da-DK"/>
          </a:p>
        </p:txBody>
      </p:sp>
      <p:sp>
        <p:nvSpPr>
          <p:cNvPr id="5" name="Pladsholder til sidefod 4">
            <a:extLst>
              <a:ext uri="{FF2B5EF4-FFF2-40B4-BE49-F238E27FC236}">
                <a16:creationId xmlns:a16="http://schemas.microsoft.com/office/drawing/2014/main" id="{3D22549F-4CE2-4BCA-9C6A-0A9DE1807445}"/>
              </a:ext>
            </a:extLst>
          </p:cNvPr>
          <p:cNvSpPr>
            <a:spLocks noGrp="1"/>
          </p:cNvSpPr>
          <p:nvPr>
            <p:ph type="ftr" sz="quarter" idx="12"/>
          </p:nvPr>
        </p:nvSpPr>
        <p:spPr/>
        <p:txBody>
          <a:bodyPr/>
          <a:lstStyle>
            <a:lvl1pPr>
              <a:defRPr>
                <a:solidFill>
                  <a:schemeClr val="tx1"/>
                </a:solidFill>
              </a:defRPr>
            </a:lvl1pPr>
          </a:lstStyle>
          <a:p>
            <a:endParaRPr lang="da-DK"/>
          </a:p>
        </p:txBody>
      </p:sp>
      <p:sp>
        <p:nvSpPr>
          <p:cNvPr id="27" name="Krone">
            <a:extLst>
              <a:ext uri="{FF2B5EF4-FFF2-40B4-BE49-F238E27FC236}">
                <a16:creationId xmlns:a16="http://schemas.microsoft.com/office/drawing/2014/main" id="{C5CF46F1-33B1-457A-A516-E7C4E5C84EE9}"/>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40541267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793" userDrawn="1">
          <p15:clr>
            <a:srgbClr val="FFFFFF"/>
          </p15:clr>
        </p15:guide>
        <p15:guide id="2" pos="2975" userDrawn="1">
          <p15:clr>
            <a:srgbClr val="FFFFFF"/>
          </p15:clr>
        </p15:guide>
        <p15:guide id="3" orient="horz" pos="2641" userDrawn="1">
          <p15:clr>
            <a:srgbClr val="FFFFFF"/>
          </p15:clr>
        </p15:guide>
        <p15:guide id="4" orient="horz" pos="1542" userDrawn="1">
          <p15:clr>
            <a:srgbClr val="FFFFFF"/>
          </p15:clr>
        </p15:guide>
        <p15:guide id="5" orient="horz" pos="3571" userDrawn="1">
          <p15:clr>
            <a:srgbClr val="FFFFFF"/>
          </p15:clr>
        </p15:guide>
        <p15:guide id="6" orient="horz" pos="2449" userDrawn="1">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re ikoner">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EF55A7B-5D51-493C-B69C-7BF666BE9C67}"/>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el 1">
            <a:extLst>
              <a:ext uri="{FF2B5EF4-FFF2-40B4-BE49-F238E27FC236}">
                <a16:creationId xmlns:a16="http://schemas.microsoft.com/office/drawing/2014/main" id="{6C484425-A3AE-4311-9E64-CDE9354F2E61}"/>
              </a:ext>
            </a:extLst>
          </p:cNvPr>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a:t>Klik for at tilføje titel i maks. 2 linjer</a:t>
            </a:r>
          </a:p>
        </p:txBody>
      </p:sp>
      <p:sp>
        <p:nvSpPr>
          <p:cNvPr id="12" name="Pladsholder til tekst 11">
            <a:extLst>
              <a:ext uri="{FF2B5EF4-FFF2-40B4-BE49-F238E27FC236}">
                <a16:creationId xmlns:a16="http://schemas.microsoft.com/office/drawing/2014/main" id="{2AF14B43-3EBA-46A6-A00E-734939174969}"/>
              </a:ext>
            </a:extLst>
          </p:cNvPr>
          <p:cNvSpPr>
            <a:spLocks noGrp="1"/>
          </p:cNvSpPr>
          <p:nvPr>
            <p:ph type="body" sz="quarter" idx="14" hasCustomPrompt="1"/>
          </p:nvPr>
        </p:nvSpPr>
        <p:spPr>
          <a:xfrm>
            <a:off x="539750" y="4609951"/>
            <a:ext cx="2506664" cy="1054768"/>
          </a:xfrm>
        </p:spPr>
        <p:txBody>
          <a:bodyPr/>
          <a:lstStyle>
            <a:lvl1pPr marL="0" indent="0" algn="ctr">
              <a:buNone/>
              <a:defRPr sz="1800"/>
            </a:lvl1pPr>
            <a:lvl2pPr>
              <a:defRPr sz="1800"/>
            </a:lvl2pPr>
            <a:lvl3pPr>
              <a:defRPr sz="1800"/>
            </a:lvl3pPr>
            <a:lvl4pPr>
              <a:defRPr sz="1800"/>
            </a:lvl4pPr>
            <a:lvl5pPr>
              <a:defRPr sz="1800"/>
            </a:lvl5pPr>
          </a:lstStyle>
          <a:p>
            <a:pPr lvl="0"/>
            <a:r>
              <a:rPr lang="da-DK"/>
              <a:t>Klik for at tilføje tekst i maks. 3 linjer</a:t>
            </a:r>
          </a:p>
          <a:p>
            <a:pPr lvl="0"/>
            <a:endParaRPr lang="da-DK"/>
          </a:p>
        </p:txBody>
      </p:sp>
      <p:sp>
        <p:nvSpPr>
          <p:cNvPr id="20" name="Pladsholder til tekst 19">
            <a:extLst>
              <a:ext uri="{FF2B5EF4-FFF2-40B4-BE49-F238E27FC236}">
                <a16:creationId xmlns:a16="http://schemas.microsoft.com/office/drawing/2014/main" id="{71E76549-9209-48C2-82BC-DC3387DF1008}"/>
              </a:ext>
            </a:extLst>
          </p:cNvPr>
          <p:cNvSpPr>
            <a:spLocks noGrp="1"/>
          </p:cNvSpPr>
          <p:nvPr>
            <p:ph type="body" sz="quarter" idx="16" hasCustomPrompt="1"/>
          </p:nvPr>
        </p:nvSpPr>
        <p:spPr>
          <a:xfrm>
            <a:off x="3406775" y="4609019"/>
            <a:ext cx="2506663" cy="1051736"/>
          </a:xfrm>
        </p:spPr>
        <p:txBody>
          <a:bodyPr/>
          <a:lstStyle>
            <a:lvl1pPr marL="0" indent="0" algn="ctr">
              <a:buNone/>
              <a:defRPr sz="1800"/>
            </a:lvl1pPr>
            <a:lvl2pPr>
              <a:buNone/>
              <a:defRPr sz="1800"/>
            </a:lvl2pPr>
            <a:lvl3pPr>
              <a:defRPr sz="1800"/>
            </a:lvl3pPr>
            <a:lvl4pPr>
              <a:defRPr sz="1800"/>
            </a:lvl4pPr>
            <a:lvl5pPr>
              <a:defRPr sz="1800"/>
            </a:lvl5pPr>
          </a:lstStyle>
          <a:p>
            <a:pPr lvl="0"/>
            <a:r>
              <a:rPr lang="da-DK"/>
              <a:t>Klik for at tilføje tekst i maks. 3 linjer</a:t>
            </a:r>
          </a:p>
        </p:txBody>
      </p:sp>
      <p:sp>
        <p:nvSpPr>
          <p:cNvPr id="25" name="Pladsholder til tekst 24">
            <a:extLst>
              <a:ext uri="{FF2B5EF4-FFF2-40B4-BE49-F238E27FC236}">
                <a16:creationId xmlns:a16="http://schemas.microsoft.com/office/drawing/2014/main" id="{A6BB5296-9735-43EE-80EA-84B81A7E5E6B}"/>
              </a:ext>
            </a:extLst>
          </p:cNvPr>
          <p:cNvSpPr>
            <a:spLocks noGrp="1"/>
          </p:cNvSpPr>
          <p:nvPr>
            <p:ph type="body" sz="quarter" idx="18" hasCustomPrompt="1"/>
          </p:nvPr>
        </p:nvSpPr>
        <p:spPr>
          <a:xfrm>
            <a:off x="6281058" y="4609951"/>
            <a:ext cx="2499405" cy="1054768"/>
          </a:xfrm>
        </p:spPr>
        <p:txBody>
          <a:bodyPr/>
          <a:lstStyle>
            <a:lvl1pPr marL="0" indent="0" algn="ctr">
              <a:buNone/>
              <a:defRPr sz="1800"/>
            </a:lvl1pPr>
            <a:lvl2pPr>
              <a:defRPr sz="1800"/>
            </a:lvl2pPr>
            <a:lvl3pPr>
              <a:defRPr sz="1800"/>
            </a:lvl3pPr>
            <a:lvl4pPr>
              <a:defRPr sz="1800"/>
            </a:lvl4pPr>
            <a:lvl5pPr>
              <a:defRPr sz="1800"/>
            </a:lvl5pPr>
          </a:lstStyle>
          <a:p>
            <a:pPr lvl="0"/>
            <a:r>
              <a:rPr lang="da-DK"/>
              <a:t>Klik for at tilføje tekst i maks. 3 linjer</a:t>
            </a:r>
          </a:p>
        </p:txBody>
      </p:sp>
      <p:sp>
        <p:nvSpPr>
          <p:cNvPr id="27" name="Krone">
            <a:extLst>
              <a:ext uri="{FF2B5EF4-FFF2-40B4-BE49-F238E27FC236}">
                <a16:creationId xmlns:a16="http://schemas.microsoft.com/office/drawing/2014/main" id="{C5CF46F1-33B1-457A-A516-E7C4E5C84EE9}"/>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30" name="Pladsholder til tekst 29">
            <a:extLst>
              <a:ext uri="{FF2B5EF4-FFF2-40B4-BE49-F238E27FC236}">
                <a16:creationId xmlns:a16="http://schemas.microsoft.com/office/drawing/2014/main" id="{3E9A3A8C-3942-4822-BDFD-5ABAD470BB6B}"/>
              </a:ext>
            </a:extLst>
          </p:cNvPr>
          <p:cNvSpPr>
            <a:spLocks noGrp="1"/>
          </p:cNvSpPr>
          <p:nvPr>
            <p:ph type="body" sz="quarter" idx="24" hasCustomPrompt="1"/>
          </p:nvPr>
        </p:nvSpPr>
        <p:spPr>
          <a:xfrm>
            <a:off x="9148082" y="4609019"/>
            <a:ext cx="2499406" cy="1055700"/>
          </a:xfrm>
        </p:spPr>
        <p:txBody>
          <a:bodyPr/>
          <a:lstStyle>
            <a:lvl1pPr marL="0" indent="0" algn="ctr">
              <a:buNone/>
              <a:defRPr sz="1800"/>
            </a:lvl1pPr>
            <a:lvl2pPr marL="0" indent="0">
              <a:buNone/>
              <a:defRPr sz="1800"/>
            </a:lvl2pPr>
            <a:lvl3pPr marL="0" indent="0">
              <a:buNone/>
              <a:defRPr sz="1800"/>
            </a:lvl3pPr>
            <a:lvl4pPr marL="0" indent="0">
              <a:buNone/>
              <a:defRPr sz="1800"/>
            </a:lvl4pPr>
            <a:lvl5pPr marL="0" indent="0">
              <a:buNone/>
              <a:defRPr sz="1800"/>
            </a:lvl5pPr>
          </a:lstStyle>
          <a:p>
            <a:pPr lvl="0"/>
            <a:r>
              <a:rPr lang="da-DK"/>
              <a:t>Klik for at tilføje tekst i maks. 3 linjer</a:t>
            </a:r>
          </a:p>
        </p:txBody>
      </p:sp>
      <p:sp>
        <p:nvSpPr>
          <p:cNvPr id="42" name="Pladsholder til billede 41">
            <a:extLst>
              <a:ext uri="{FF2B5EF4-FFF2-40B4-BE49-F238E27FC236}">
                <a16:creationId xmlns:a16="http://schemas.microsoft.com/office/drawing/2014/main" id="{FD1E95ED-35F5-4C55-927B-104CD60BC557}"/>
              </a:ext>
            </a:extLst>
          </p:cNvPr>
          <p:cNvSpPr>
            <a:spLocks noGrp="1" noChangeAspect="1"/>
          </p:cNvSpPr>
          <p:nvPr>
            <p:ph type="pic" sz="quarter" idx="25" hasCustomPrompt="1"/>
          </p:nvPr>
        </p:nvSpPr>
        <p:spPr>
          <a:xfrm>
            <a:off x="863804" y="2448000"/>
            <a:ext cx="1871998" cy="1872000"/>
          </a:xfrm>
          <a:prstGeom prst="ellipse">
            <a:avLst/>
          </a:prstGeom>
          <a:solidFill>
            <a:schemeClr val="tx1"/>
          </a:solidFill>
        </p:spPr>
        <p:txBody>
          <a:bodyPr/>
          <a:lstStyle>
            <a:lvl1pPr marL="0" indent="0" algn="ctr">
              <a:lnSpc>
                <a:spcPct val="100000"/>
              </a:lnSpc>
              <a:buNone/>
              <a:defRPr sz="1000">
                <a:solidFill>
                  <a:schemeClr val="accent1"/>
                </a:solidFill>
              </a:defRPr>
            </a:lvl1pPr>
          </a:lstStyle>
          <a:p>
            <a:r>
              <a:rPr lang="da-DK" noProof="1"/>
              <a:t>Indsæt ikon, centrer ikonet over teksten </a:t>
            </a:r>
            <a:br>
              <a:rPr lang="da-DK" noProof="1"/>
            </a:br>
            <a:r>
              <a:rPr lang="da-DK" noProof="1"/>
              <a:t>bundstil med pladsholder til højre. Er ikonet beskåret? Vælg Grafikformat/ Beskær/Tilpas. Hold Shift + Ctrl, træk i hvidt rundt hjørne</a:t>
            </a:r>
          </a:p>
        </p:txBody>
      </p:sp>
      <p:sp>
        <p:nvSpPr>
          <p:cNvPr id="43" name="Pladsholder til billede 41">
            <a:extLst>
              <a:ext uri="{FF2B5EF4-FFF2-40B4-BE49-F238E27FC236}">
                <a16:creationId xmlns:a16="http://schemas.microsoft.com/office/drawing/2014/main" id="{A5B52FDB-49B7-4AF1-B79A-B408F2BE0D73}"/>
              </a:ext>
            </a:extLst>
          </p:cNvPr>
          <p:cNvSpPr>
            <a:spLocks noGrp="1" noChangeAspect="1"/>
          </p:cNvSpPr>
          <p:nvPr>
            <p:ph type="pic" sz="quarter" idx="26" hasCustomPrompt="1"/>
          </p:nvPr>
        </p:nvSpPr>
        <p:spPr>
          <a:xfrm>
            <a:off x="3727736" y="2447925"/>
            <a:ext cx="1871998" cy="1872000"/>
          </a:xfrm>
          <a:prstGeom prst="ellipse">
            <a:avLst/>
          </a:prstGeom>
          <a:solidFill>
            <a:schemeClr val="tx1"/>
          </a:solidFill>
        </p:spPr>
        <p:txBody>
          <a:bodyPr/>
          <a:lstStyle>
            <a:lvl1pPr marL="0" indent="0" algn="ctr">
              <a:lnSpc>
                <a:spcPct val="100000"/>
              </a:lnSpc>
              <a:buNone/>
              <a:defRPr sz="1000">
                <a:solidFill>
                  <a:schemeClr val="accent1"/>
                </a:solidFill>
              </a:defRPr>
            </a:lvl1pPr>
          </a:lstStyle>
          <a:p>
            <a:r>
              <a:rPr lang="da-DK" noProof="1"/>
              <a:t>Indsæt ikon, centrer ikonet over teksten </a:t>
            </a:r>
            <a:br>
              <a:rPr lang="da-DK" noProof="1"/>
            </a:br>
            <a:r>
              <a:rPr lang="da-DK" noProof="1"/>
              <a:t>bundstil med pladsholder til højre. Er ikonet beskåret? Vælg Grafikformat/ Beskær/Tilpas. Hold Shift + Ctrl, træk i hvidt rundt hjørne</a:t>
            </a:r>
          </a:p>
        </p:txBody>
      </p:sp>
      <p:sp>
        <p:nvSpPr>
          <p:cNvPr id="44" name="Pladsholder til billede 41">
            <a:extLst>
              <a:ext uri="{FF2B5EF4-FFF2-40B4-BE49-F238E27FC236}">
                <a16:creationId xmlns:a16="http://schemas.microsoft.com/office/drawing/2014/main" id="{0FCE34AA-5DE0-4686-A526-229960203000}"/>
              </a:ext>
            </a:extLst>
          </p:cNvPr>
          <p:cNvSpPr>
            <a:spLocks noGrp="1" noChangeAspect="1"/>
          </p:cNvSpPr>
          <p:nvPr>
            <p:ph type="pic" sz="quarter" idx="27" hasCustomPrompt="1"/>
          </p:nvPr>
        </p:nvSpPr>
        <p:spPr>
          <a:xfrm>
            <a:off x="6591668" y="2448000"/>
            <a:ext cx="1871998" cy="1872000"/>
          </a:xfrm>
          <a:prstGeom prst="ellipse">
            <a:avLst/>
          </a:prstGeom>
          <a:solidFill>
            <a:schemeClr val="tx1"/>
          </a:solidFill>
        </p:spPr>
        <p:txBody>
          <a:bodyPr/>
          <a:lstStyle>
            <a:lvl1pPr marL="0" indent="0" algn="ctr">
              <a:lnSpc>
                <a:spcPct val="100000"/>
              </a:lnSpc>
              <a:buNone/>
              <a:defRPr sz="1000">
                <a:solidFill>
                  <a:schemeClr val="accent1"/>
                </a:solidFill>
              </a:defRPr>
            </a:lvl1pPr>
          </a:lstStyle>
          <a:p>
            <a:r>
              <a:rPr lang="da-DK" noProof="1"/>
              <a:t>Indsæt ikon, centrer ikonet over teksten </a:t>
            </a:r>
            <a:br>
              <a:rPr lang="da-DK" noProof="1"/>
            </a:br>
            <a:r>
              <a:rPr lang="da-DK" noProof="1"/>
              <a:t>bundstil med pladsholder til højre. Er ikonet beskåret? Vælg Grafikformat/ Beskær/Tilpas. Hold Shift + Ctrl, træk i hvidt rundt hjørne</a:t>
            </a:r>
          </a:p>
        </p:txBody>
      </p:sp>
      <p:sp>
        <p:nvSpPr>
          <p:cNvPr id="45" name="Pladsholder til billede 41">
            <a:extLst>
              <a:ext uri="{FF2B5EF4-FFF2-40B4-BE49-F238E27FC236}">
                <a16:creationId xmlns:a16="http://schemas.microsoft.com/office/drawing/2014/main" id="{21E2ABE7-3BE7-4A6B-A224-89B56A702040}"/>
              </a:ext>
            </a:extLst>
          </p:cNvPr>
          <p:cNvSpPr>
            <a:spLocks noGrp="1" noChangeAspect="1"/>
          </p:cNvSpPr>
          <p:nvPr>
            <p:ph type="pic" sz="quarter" idx="28" hasCustomPrompt="1"/>
          </p:nvPr>
        </p:nvSpPr>
        <p:spPr>
          <a:xfrm>
            <a:off x="9455600" y="2446703"/>
            <a:ext cx="1871998" cy="1872000"/>
          </a:xfrm>
          <a:prstGeom prst="ellipse">
            <a:avLst/>
          </a:prstGeom>
          <a:solidFill>
            <a:schemeClr val="tx1"/>
          </a:solidFill>
        </p:spPr>
        <p:txBody>
          <a:bodyPr/>
          <a:lstStyle>
            <a:lvl1pPr marL="0" indent="0" algn="ctr">
              <a:lnSpc>
                <a:spcPct val="100000"/>
              </a:lnSpc>
              <a:buNone/>
              <a:defRPr sz="1000">
                <a:solidFill>
                  <a:schemeClr val="accent1"/>
                </a:solidFill>
              </a:defRPr>
            </a:lvl1pPr>
          </a:lstStyle>
          <a:p>
            <a:r>
              <a:rPr lang="da-DK" noProof="1"/>
              <a:t>Indsæt ikon, centrer ikonet over teksten </a:t>
            </a:r>
            <a:br>
              <a:rPr lang="da-DK" noProof="1"/>
            </a:br>
            <a:r>
              <a:rPr lang="da-DK" noProof="1"/>
              <a:t>bundstil med indsat ikon til venstre. Er ikonet beskåret? Vælg Grafikformat/ Beskær/Tilpas. Hold Shift + Ctrl, træk i hvidt rundt hjørne</a:t>
            </a:r>
          </a:p>
        </p:txBody>
      </p:sp>
      <p:sp>
        <p:nvSpPr>
          <p:cNvPr id="3" name="Pladsholder til slidenummer 2">
            <a:extLst>
              <a:ext uri="{FF2B5EF4-FFF2-40B4-BE49-F238E27FC236}">
                <a16:creationId xmlns:a16="http://schemas.microsoft.com/office/drawing/2014/main" id="{4A336267-82FF-43A2-9087-02D602EAC446}"/>
              </a:ext>
            </a:extLst>
          </p:cNvPr>
          <p:cNvSpPr>
            <a:spLocks noGrp="1"/>
          </p:cNvSpPr>
          <p:nvPr>
            <p:ph type="sldNum" sz="quarter" idx="10"/>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Pladsholder til dato 3">
            <a:extLst>
              <a:ext uri="{FF2B5EF4-FFF2-40B4-BE49-F238E27FC236}">
                <a16:creationId xmlns:a16="http://schemas.microsoft.com/office/drawing/2014/main" id="{701768FB-D346-436E-A1BE-C612F2D29C57}"/>
              </a:ext>
            </a:extLst>
          </p:cNvPr>
          <p:cNvSpPr>
            <a:spLocks noGrp="1"/>
          </p:cNvSpPr>
          <p:nvPr>
            <p:ph type="dt" sz="half" idx="11"/>
          </p:nvPr>
        </p:nvSpPr>
        <p:spPr/>
        <p:txBody>
          <a:bodyPr/>
          <a:lstStyle/>
          <a:p>
            <a:pPr>
              <a:lnSpc>
                <a:spcPct val="92000"/>
              </a:lnSpc>
            </a:pPr>
            <a:fld id="{F4C807AF-9CC6-4935-ABF9-8C5FD6381CF3}" type="datetime2">
              <a:rPr lang="da-DK" smtClean="0"/>
              <a:t>18. januar 2022</a:t>
            </a:fld>
            <a:endParaRPr lang="da-DK"/>
          </a:p>
        </p:txBody>
      </p:sp>
      <p:sp>
        <p:nvSpPr>
          <p:cNvPr id="5" name="Pladsholder til sidefod 4">
            <a:extLst>
              <a:ext uri="{FF2B5EF4-FFF2-40B4-BE49-F238E27FC236}">
                <a16:creationId xmlns:a16="http://schemas.microsoft.com/office/drawing/2014/main" id="{3D22549F-4CE2-4BCA-9C6A-0A9DE1807445}"/>
              </a:ext>
            </a:extLst>
          </p:cNvPr>
          <p:cNvSpPr>
            <a:spLocks noGrp="1"/>
          </p:cNvSpPr>
          <p:nvPr>
            <p:ph type="ftr" sz="quarter" idx="12"/>
          </p:nvPr>
        </p:nvSpPr>
        <p:spPr/>
        <p:txBody>
          <a:bodyPr/>
          <a:lstStyle>
            <a:lvl1pPr>
              <a:defRPr>
                <a:solidFill>
                  <a:schemeClr val="tx1"/>
                </a:solidFill>
              </a:defRPr>
            </a:lvl1pPr>
          </a:lstStyle>
          <a:p>
            <a:endParaRPr lang="da-DK"/>
          </a:p>
        </p:txBody>
      </p:sp>
    </p:spTree>
    <p:extLst>
      <p:ext uri="{BB962C8B-B14F-4D97-AF65-F5344CB8AC3E}">
        <p14:creationId xmlns:p14="http://schemas.microsoft.com/office/powerpoint/2010/main" val="380997943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4" orient="horz" pos="1542" userDrawn="1">
          <p15:clr>
            <a:srgbClr val="FFFFFF"/>
          </p15:clr>
        </p15:guide>
        <p15:guide id="5" orient="horz" pos="3571" userDrawn="1">
          <p15:clr>
            <a:srgbClr val="FFFFFF"/>
          </p15:clr>
        </p15:guide>
        <p15:guide id="6" orient="horz" pos="2721" userDrawn="1">
          <p15:clr>
            <a:srgbClr val="5ACBF0"/>
          </p15:clr>
        </p15:guide>
        <p15:guide id="7" orient="horz" pos="2904" userDrawn="1">
          <p15:clr>
            <a:srgbClr val="FFFF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em ikon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484425-A3AE-4311-9E64-CDE9354F2E61}"/>
              </a:ext>
            </a:extLst>
          </p:cNvPr>
          <p:cNvSpPr>
            <a:spLocks noGrp="1"/>
          </p:cNvSpPr>
          <p:nvPr>
            <p:ph type="title" hasCustomPrompt="1"/>
          </p:nvPr>
        </p:nvSpPr>
        <p:spPr>
          <a:xfrm>
            <a:off x="539749" y="569688"/>
            <a:ext cx="9196389" cy="1152000"/>
          </a:xfrm>
        </p:spPr>
        <p:txBody>
          <a:bodyPr/>
          <a:lstStyle>
            <a:lvl1pPr>
              <a:defRPr>
                <a:solidFill>
                  <a:schemeClr val="tx1"/>
                </a:solidFill>
              </a:defRPr>
            </a:lvl1pPr>
          </a:lstStyle>
          <a:p>
            <a:r>
              <a:rPr lang="da-DK"/>
              <a:t>Klik for at tilføje titel i maks. 2 linjer</a:t>
            </a:r>
          </a:p>
        </p:txBody>
      </p:sp>
      <p:sp>
        <p:nvSpPr>
          <p:cNvPr id="42" name="Pladsholder til billede 41">
            <a:extLst>
              <a:ext uri="{FF2B5EF4-FFF2-40B4-BE49-F238E27FC236}">
                <a16:creationId xmlns:a16="http://schemas.microsoft.com/office/drawing/2014/main" id="{FD1E95ED-35F5-4C55-927B-104CD60BC557}"/>
              </a:ext>
            </a:extLst>
          </p:cNvPr>
          <p:cNvSpPr>
            <a:spLocks noGrp="1" noChangeAspect="1"/>
          </p:cNvSpPr>
          <p:nvPr>
            <p:ph type="pic" sz="quarter" idx="25" hasCustomPrompt="1"/>
          </p:nvPr>
        </p:nvSpPr>
        <p:spPr>
          <a:xfrm>
            <a:off x="811837"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43" name="Pladsholder til billede 41">
            <a:extLst>
              <a:ext uri="{FF2B5EF4-FFF2-40B4-BE49-F238E27FC236}">
                <a16:creationId xmlns:a16="http://schemas.microsoft.com/office/drawing/2014/main" id="{A5B52FDB-49B7-4AF1-B79A-B408F2BE0D73}"/>
              </a:ext>
            </a:extLst>
          </p:cNvPr>
          <p:cNvSpPr>
            <a:spLocks noGrp="1" noChangeAspect="1"/>
          </p:cNvSpPr>
          <p:nvPr>
            <p:ph type="pic" sz="quarter" idx="26" hasCustomPrompt="1"/>
          </p:nvPr>
        </p:nvSpPr>
        <p:spPr>
          <a:xfrm>
            <a:off x="3046413"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44" name="Pladsholder til billede 41">
            <a:extLst>
              <a:ext uri="{FF2B5EF4-FFF2-40B4-BE49-F238E27FC236}">
                <a16:creationId xmlns:a16="http://schemas.microsoft.com/office/drawing/2014/main" id="{0FCE34AA-5DE0-4686-A526-229960203000}"/>
              </a:ext>
            </a:extLst>
          </p:cNvPr>
          <p:cNvSpPr>
            <a:spLocks noGrp="1" noChangeAspect="1"/>
          </p:cNvSpPr>
          <p:nvPr>
            <p:ph type="pic" sz="quarter" idx="27" hasCustomPrompt="1"/>
          </p:nvPr>
        </p:nvSpPr>
        <p:spPr>
          <a:xfrm>
            <a:off x="5268001"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45" name="Pladsholder til billede 41">
            <a:extLst>
              <a:ext uri="{FF2B5EF4-FFF2-40B4-BE49-F238E27FC236}">
                <a16:creationId xmlns:a16="http://schemas.microsoft.com/office/drawing/2014/main" id="{21E2ABE7-3BE7-4A6B-A224-89B56A702040}"/>
              </a:ext>
            </a:extLst>
          </p:cNvPr>
          <p:cNvSpPr>
            <a:spLocks noGrp="1" noChangeAspect="1"/>
          </p:cNvSpPr>
          <p:nvPr>
            <p:ph type="pic" sz="quarter" idx="28" hasCustomPrompt="1"/>
          </p:nvPr>
        </p:nvSpPr>
        <p:spPr>
          <a:xfrm>
            <a:off x="7484827"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18" name="Pladsholder til billede 41">
            <a:extLst>
              <a:ext uri="{FF2B5EF4-FFF2-40B4-BE49-F238E27FC236}">
                <a16:creationId xmlns:a16="http://schemas.microsoft.com/office/drawing/2014/main" id="{7C83E6E8-39AC-414D-AF17-376CFA6E835C}"/>
              </a:ext>
            </a:extLst>
          </p:cNvPr>
          <p:cNvSpPr>
            <a:spLocks noGrp="1" noChangeAspect="1"/>
          </p:cNvSpPr>
          <p:nvPr>
            <p:ph type="pic" sz="quarter" idx="29" hasCustomPrompt="1"/>
          </p:nvPr>
        </p:nvSpPr>
        <p:spPr>
          <a:xfrm>
            <a:off x="9724165" y="2160000"/>
            <a:ext cx="1655998" cy="1656000"/>
          </a:xfrm>
          <a:prstGeom prst="ellipse">
            <a:avLst/>
          </a:prstGeom>
          <a:solidFill>
            <a:schemeClr val="tx1"/>
          </a:solidFill>
        </p:spPr>
        <p:txBody>
          <a:bodyPr/>
          <a:lstStyle>
            <a:lvl1pPr marL="0" indent="0" algn="ctr">
              <a:lnSpc>
                <a:spcPct val="100000"/>
              </a:lnSpc>
              <a:buNone/>
              <a:defRPr sz="900">
                <a:solidFill>
                  <a:schemeClr val="bg1"/>
                </a:solidFill>
              </a:defRPr>
            </a:lvl1pPr>
          </a:lstStyle>
          <a:p>
            <a:r>
              <a:rPr lang="da-DK" noProof="1"/>
              <a:t>Indsæt ikon. </a:t>
            </a:r>
            <a:br>
              <a:rPr lang="da-DK" noProof="1"/>
            </a:br>
            <a:r>
              <a:rPr lang="da-DK" noProof="1"/>
              <a:t>Er ikonet beskåret? Vælg Grafikformat/ Beskær/Tilpas. Hold Shift + Ctrl, træk i hvidt rundt hjørne</a:t>
            </a:r>
          </a:p>
        </p:txBody>
      </p:sp>
      <p:sp>
        <p:nvSpPr>
          <p:cNvPr id="10" name="Pladsholder til tekst 9">
            <a:extLst>
              <a:ext uri="{FF2B5EF4-FFF2-40B4-BE49-F238E27FC236}">
                <a16:creationId xmlns:a16="http://schemas.microsoft.com/office/drawing/2014/main" id="{8FFF1F92-BA4D-44D2-8F60-F9DCEB894014}"/>
              </a:ext>
            </a:extLst>
          </p:cNvPr>
          <p:cNvSpPr>
            <a:spLocks noGrp="1"/>
          </p:cNvSpPr>
          <p:nvPr>
            <p:ph type="body" sz="quarter" idx="30" hasCustomPrompt="1"/>
          </p:nvPr>
        </p:nvSpPr>
        <p:spPr>
          <a:xfrm>
            <a:off x="720000" y="4041775"/>
            <a:ext cx="1861200" cy="1627188"/>
          </a:xfrm>
        </p:spPr>
        <p:txBody>
          <a:bodyPr/>
          <a:lstStyle>
            <a:lvl1pPr marL="0" indent="0" algn="ctr">
              <a:buNone/>
              <a:defRPr b="1"/>
            </a:lvl1pPr>
            <a:lvl2pPr indent="0" algn="ctr">
              <a:buNone/>
              <a:defRPr/>
            </a:lvl2pPr>
            <a:lvl3pPr indent="0" algn="ctr">
              <a:buNone/>
              <a:defRPr/>
            </a:lvl3pPr>
            <a:lvl4pPr indent="0" algn="ctr">
              <a:buNone/>
              <a:defRPr/>
            </a:lvl4pPr>
            <a:lvl5pPr indent="0" algn="ctr">
              <a:buNone/>
              <a:defRPr/>
            </a:lvl5pPr>
          </a:lstStyle>
          <a:p>
            <a:pPr marL="0" marR="0" lvl="0" indent="0" algn="ctr" defTabSz="914400" rtl="0" eaLnBrk="1" fontAlgn="auto" latinLnBrk="0" hangingPunct="1">
              <a:lnSpc>
                <a:spcPct val="110000"/>
              </a:lnSpc>
              <a:spcBef>
                <a:spcPts val="0"/>
              </a:spcBef>
              <a:spcAft>
                <a:spcPts val="0"/>
              </a:spcAft>
              <a:buClrTx/>
              <a:buSzTx/>
              <a:buFont typeface="Academy Sans Office" panose="020B0503030000000000" pitchFamily="34" charset="0"/>
              <a:buNone/>
              <a:tabLst/>
              <a:defRPr/>
            </a:pPr>
            <a:r>
              <a:rPr lang="da-DK"/>
              <a:t>Klik for at tilføje tekst i maks. 6 linjer</a:t>
            </a:r>
          </a:p>
        </p:txBody>
      </p:sp>
      <p:sp>
        <p:nvSpPr>
          <p:cNvPr id="11" name="Pladsholder til tekst 10">
            <a:extLst>
              <a:ext uri="{FF2B5EF4-FFF2-40B4-BE49-F238E27FC236}">
                <a16:creationId xmlns:a16="http://schemas.microsoft.com/office/drawing/2014/main" id="{F69C25CD-CD82-4CB3-8111-0A8ABC707087}"/>
              </a:ext>
            </a:extLst>
          </p:cNvPr>
          <p:cNvSpPr>
            <a:spLocks noGrp="1"/>
          </p:cNvSpPr>
          <p:nvPr>
            <p:ph type="body" sz="quarter" idx="31" hasCustomPrompt="1"/>
          </p:nvPr>
        </p:nvSpPr>
        <p:spPr>
          <a:xfrm>
            <a:off x="2940049" y="4041775"/>
            <a:ext cx="1861200" cy="1627188"/>
          </a:xfrm>
        </p:spPr>
        <p:txBody>
          <a:bodyPr/>
          <a:lstStyle>
            <a:lvl1pPr marL="0" indent="0" algn="ctr">
              <a:buNone/>
              <a:defRPr b="1"/>
            </a:lvl1pPr>
            <a:lvl2pPr marL="0" indent="0" algn="ctr">
              <a:buNone/>
              <a:defRPr/>
            </a:lvl2pPr>
            <a:lvl3pPr marL="0" indent="0" algn="ctr">
              <a:buNone/>
              <a:defRPr/>
            </a:lvl3pPr>
            <a:lvl4pPr marL="0" indent="0" algn="ctr">
              <a:buNone/>
              <a:defRPr/>
            </a:lvl4pPr>
            <a:lvl5pPr marL="0" indent="0" algn="ctr">
              <a:buNone/>
              <a:defRPr/>
            </a:lvl5pPr>
          </a:lstStyle>
          <a:p>
            <a:pPr lvl="0"/>
            <a:r>
              <a:rPr lang="da-DK"/>
              <a:t>Klik for at tilføje tekst i maks. 6 linjer</a:t>
            </a:r>
          </a:p>
        </p:txBody>
      </p:sp>
      <p:sp>
        <p:nvSpPr>
          <p:cNvPr id="13" name="Pladsholder til tekst 12">
            <a:extLst>
              <a:ext uri="{FF2B5EF4-FFF2-40B4-BE49-F238E27FC236}">
                <a16:creationId xmlns:a16="http://schemas.microsoft.com/office/drawing/2014/main" id="{FE553FB0-C0EA-424E-9F1B-9DAAA949445B}"/>
              </a:ext>
            </a:extLst>
          </p:cNvPr>
          <p:cNvSpPr>
            <a:spLocks noGrp="1"/>
          </p:cNvSpPr>
          <p:nvPr>
            <p:ph type="body" sz="quarter" idx="32" hasCustomPrompt="1"/>
          </p:nvPr>
        </p:nvSpPr>
        <p:spPr>
          <a:xfrm>
            <a:off x="5162400" y="4041775"/>
            <a:ext cx="1861200" cy="1627188"/>
          </a:xfrm>
        </p:spPr>
        <p:txBody>
          <a:bodyPr/>
          <a:lstStyle>
            <a:lvl1pPr marL="0" indent="0" algn="ctr">
              <a:buNone/>
              <a:defRPr b="1"/>
            </a:lvl1pPr>
            <a:lvl2pPr marL="0" indent="0" algn="ctr">
              <a:buNone/>
              <a:defRPr b="1"/>
            </a:lvl2pPr>
            <a:lvl3pPr marL="0" indent="0" algn="ctr">
              <a:buNone/>
              <a:defRPr b="1"/>
            </a:lvl3pPr>
            <a:lvl4pPr marL="0" indent="0" algn="ctr">
              <a:buNone/>
              <a:defRPr b="1"/>
            </a:lvl4pPr>
            <a:lvl5pPr marL="0" indent="0" algn="ctr">
              <a:buNone/>
              <a:defRPr b="1"/>
            </a:lvl5pPr>
          </a:lstStyle>
          <a:p>
            <a:pPr lvl="0"/>
            <a:r>
              <a:rPr lang="da-DK"/>
              <a:t>Klik for at tilføje tekst i maks. 6 linjer</a:t>
            </a:r>
          </a:p>
        </p:txBody>
      </p:sp>
      <p:sp>
        <p:nvSpPr>
          <p:cNvPr id="15" name="Pladsholder til tekst 14">
            <a:extLst>
              <a:ext uri="{FF2B5EF4-FFF2-40B4-BE49-F238E27FC236}">
                <a16:creationId xmlns:a16="http://schemas.microsoft.com/office/drawing/2014/main" id="{2B9E1D69-FB8A-489E-9E12-E7DE690D5339}"/>
              </a:ext>
            </a:extLst>
          </p:cNvPr>
          <p:cNvSpPr>
            <a:spLocks noGrp="1"/>
          </p:cNvSpPr>
          <p:nvPr>
            <p:ph type="body" sz="quarter" idx="33" hasCustomPrompt="1"/>
          </p:nvPr>
        </p:nvSpPr>
        <p:spPr>
          <a:xfrm>
            <a:off x="7383463" y="4041775"/>
            <a:ext cx="1861200" cy="1627188"/>
          </a:xfrm>
        </p:spPr>
        <p:txBody>
          <a:bodyPr/>
          <a:lstStyle>
            <a:lvl1pPr marL="0" indent="0" algn="ctr">
              <a:buNone/>
              <a:defRPr b="1"/>
            </a:lvl1pPr>
            <a:lvl2pPr algn="ctr">
              <a:buNone/>
              <a:defRPr/>
            </a:lvl2pPr>
            <a:lvl3pPr algn="ctr">
              <a:buNone/>
              <a:defRPr/>
            </a:lvl3pPr>
            <a:lvl4pPr algn="ctr">
              <a:buNone/>
              <a:defRPr/>
            </a:lvl4pPr>
            <a:lvl5pPr algn="ctr">
              <a:buNone/>
              <a:defRPr/>
            </a:lvl5pPr>
          </a:lstStyle>
          <a:p>
            <a:pPr lvl="0"/>
            <a:r>
              <a:rPr lang="da-DK"/>
              <a:t>Klik for at tilføje tekst i maks. 6 linjer</a:t>
            </a:r>
          </a:p>
        </p:txBody>
      </p:sp>
      <p:sp>
        <p:nvSpPr>
          <p:cNvPr id="17" name="Pladsholder til tekst 16">
            <a:extLst>
              <a:ext uri="{FF2B5EF4-FFF2-40B4-BE49-F238E27FC236}">
                <a16:creationId xmlns:a16="http://schemas.microsoft.com/office/drawing/2014/main" id="{C4D63370-9827-4C6B-8413-B2EC28F9855C}"/>
              </a:ext>
            </a:extLst>
          </p:cNvPr>
          <p:cNvSpPr>
            <a:spLocks noGrp="1"/>
          </p:cNvSpPr>
          <p:nvPr>
            <p:ph type="body" sz="quarter" idx="34" hasCustomPrompt="1"/>
          </p:nvPr>
        </p:nvSpPr>
        <p:spPr>
          <a:xfrm>
            <a:off x="9604800" y="4041774"/>
            <a:ext cx="1861200" cy="1627187"/>
          </a:xfrm>
        </p:spPr>
        <p:txBody>
          <a:bodyPr/>
          <a:lstStyle>
            <a:lvl1pPr marL="0" indent="0" algn="ctr">
              <a:buNone/>
              <a:defRPr b="1"/>
            </a:lvl1pPr>
            <a:lvl2pPr algn="ctr">
              <a:buNone/>
              <a:defRPr b="1"/>
            </a:lvl2pPr>
            <a:lvl3pPr algn="ctr">
              <a:buNone/>
              <a:defRPr/>
            </a:lvl3pPr>
            <a:lvl4pPr algn="ctr">
              <a:buNone/>
              <a:defRPr/>
            </a:lvl4pPr>
            <a:lvl5pPr algn="ctr">
              <a:buNone/>
              <a:defRPr/>
            </a:lvl5pPr>
          </a:lstStyle>
          <a:p>
            <a:pPr lvl="0"/>
            <a:r>
              <a:rPr lang="da-DK"/>
              <a:t>Klik for at tilføje tekst i maks. 6 linjer</a:t>
            </a:r>
          </a:p>
        </p:txBody>
      </p:sp>
      <p:sp>
        <p:nvSpPr>
          <p:cNvPr id="3" name="Pladsholder til slidenummer 2">
            <a:extLst>
              <a:ext uri="{FF2B5EF4-FFF2-40B4-BE49-F238E27FC236}">
                <a16:creationId xmlns:a16="http://schemas.microsoft.com/office/drawing/2014/main" id="{4A336267-82FF-43A2-9087-02D602EAC446}"/>
              </a:ext>
            </a:extLst>
          </p:cNvPr>
          <p:cNvSpPr>
            <a:spLocks noGrp="1"/>
          </p:cNvSpPr>
          <p:nvPr>
            <p:ph type="sldNum" sz="quarter" idx="10"/>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Pladsholder til dato 3">
            <a:extLst>
              <a:ext uri="{FF2B5EF4-FFF2-40B4-BE49-F238E27FC236}">
                <a16:creationId xmlns:a16="http://schemas.microsoft.com/office/drawing/2014/main" id="{701768FB-D346-436E-A1BE-C612F2D29C57}"/>
              </a:ext>
            </a:extLst>
          </p:cNvPr>
          <p:cNvSpPr>
            <a:spLocks noGrp="1"/>
          </p:cNvSpPr>
          <p:nvPr>
            <p:ph type="dt" sz="half" idx="11"/>
          </p:nvPr>
        </p:nvSpPr>
        <p:spPr/>
        <p:txBody>
          <a:bodyPr/>
          <a:lstStyle/>
          <a:p>
            <a:pPr>
              <a:lnSpc>
                <a:spcPct val="92000"/>
              </a:lnSpc>
            </a:pPr>
            <a:fld id="{9D2FDF6F-FAC6-406D-8C63-81D4A0E12032}" type="datetime2">
              <a:rPr lang="da-DK" smtClean="0"/>
              <a:t>18. januar 2022</a:t>
            </a:fld>
            <a:endParaRPr lang="da-DK"/>
          </a:p>
        </p:txBody>
      </p:sp>
      <p:sp>
        <p:nvSpPr>
          <p:cNvPr id="5" name="Pladsholder til sidefod 4">
            <a:extLst>
              <a:ext uri="{FF2B5EF4-FFF2-40B4-BE49-F238E27FC236}">
                <a16:creationId xmlns:a16="http://schemas.microsoft.com/office/drawing/2014/main" id="{3D22549F-4CE2-4BCA-9C6A-0A9DE1807445}"/>
              </a:ext>
            </a:extLst>
          </p:cNvPr>
          <p:cNvSpPr>
            <a:spLocks noGrp="1"/>
          </p:cNvSpPr>
          <p:nvPr>
            <p:ph type="ftr" sz="quarter" idx="12"/>
          </p:nvPr>
        </p:nvSpPr>
        <p:spPr/>
        <p:txBody>
          <a:bodyPr/>
          <a:lstStyle>
            <a:lvl1pPr>
              <a:defRPr>
                <a:solidFill>
                  <a:schemeClr val="tx1"/>
                </a:solidFill>
              </a:defRPr>
            </a:lvl1pPr>
          </a:lstStyle>
          <a:p>
            <a:endParaRPr lang="da-DK"/>
          </a:p>
        </p:txBody>
      </p:sp>
    </p:spTree>
    <p:extLst>
      <p:ext uri="{BB962C8B-B14F-4D97-AF65-F5344CB8AC3E}">
        <p14:creationId xmlns:p14="http://schemas.microsoft.com/office/powerpoint/2010/main" val="26125958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2" pos="2975" userDrawn="1">
          <p15:clr>
            <a:srgbClr val="FFFFFF"/>
          </p15:clr>
        </p15:guide>
        <p15:guide id="5" orient="horz" pos="3571" userDrawn="1">
          <p15:clr>
            <a:srgbClr val="000000"/>
          </p15:clr>
        </p15:guide>
        <p15:guide id="8" orient="horz" pos="1360" userDrawn="1">
          <p15:clr>
            <a:srgbClr val="000000"/>
          </p15:clr>
        </p15:guide>
        <p15:guide id="10" orient="horz" pos="2546" userDrawn="1">
          <p15:clr>
            <a:srgbClr val="000000"/>
          </p15:clr>
        </p15:guide>
        <p15:guide id="11" pos="453" userDrawn="1">
          <p15:clr>
            <a:srgbClr val="000000"/>
          </p15:clr>
        </p15:guide>
        <p15:guide id="12" pos="1852" userDrawn="1">
          <p15:clr>
            <a:srgbClr val="000000"/>
          </p15:clr>
        </p15:guide>
        <p15:guide id="13" pos="3251" userDrawn="1">
          <p15:clr>
            <a:srgbClr val="000000"/>
          </p15:clr>
        </p15:guide>
        <p15:guide id="14" pos="4651" userDrawn="1">
          <p15:clr>
            <a:srgbClr val="000000"/>
          </p15:clr>
        </p15:guide>
        <p15:guide id="15" pos="6050" userDrawn="1">
          <p15:clr>
            <a:srgbClr val="00000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Indhold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fld id="{2B0796BE-EE90-4E71-9CE3-40FB2628DB6B}" type="datetime2">
              <a:rPr lang="da-DK" smtClean="0"/>
              <a:t>18. januar 2022</a:t>
            </a:fld>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p>
            <a:endParaRPr lang="da-DK"/>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7310111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Indhold B">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014D0C18-CB80-400F-8CA4-8FB9CEF0D31C}"/>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5" name="Krone">
            <a:extLst>
              <a:ext uri="{FF2B5EF4-FFF2-40B4-BE49-F238E27FC236}">
                <a16:creationId xmlns:a16="http://schemas.microsoft.com/office/drawing/2014/main" id="{99CE41C1-54E7-4696-A863-C32F85D6E1D1}"/>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
        <p:nvSpPr>
          <p:cNvPr id="2" name="Title 1"/>
          <p:cNvSpPr>
            <a:spLocks noGrp="1"/>
          </p:cNvSpPr>
          <p:nvPr>
            <p:ph type="title" hasCustomPrompt="1"/>
          </p:nvPr>
        </p:nvSpPr>
        <p:spPr/>
        <p:txBody>
          <a:bodyPr/>
          <a:lstStyle>
            <a:lvl1pPr>
              <a:defRPr>
                <a:solidFill>
                  <a:schemeClr val="tx1"/>
                </a:solidFill>
              </a:defRPr>
            </a:lvl1pPr>
          </a:lstStyle>
          <a:p>
            <a:r>
              <a:rPr lang="da-DK" noProof="0"/>
              <a:t>Klik for at tilføje titel i maks. 2 linjer</a:t>
            </a:r>
          </a:p>
        </p:txBody>
      </p:sp>
      <p:sp>
        <p:nvSpPr>
          <p:cNvPr id="3" name="Content Placeholder 2"/>
          <p:cNvSpPr>
            <a:spLocks noGrp="1"/>
          </p:cNvSpPr>
          <p:nvPr>
            <p:ph idx="1" hasCustomPrompt="1"/>
          </p:nvPr>
        </p:nvSpPr>
        <p:spPr/>
        <p:txBody>
          <a:bodyPr/>
          <a:lstStyle>
            <a:lvl1pPr>
              <a:defRPr/>
            </a:lvl1pPr>
            <a:lvl4pPr>
              <a:defRPr/>
            </a:lvl4pPr>
            <a:lvl5pPr>
              <a:defRPr/>
            </a:lvl5pPr>
          </a:lstStyle>
          <a:p>
            <a:pPr lvl="0"/>
            <a:r>
              <a:rPr lang="da-DK" noProof="0"/>
              <a:t>Klik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a:p>
            <a:pPr lvl="5"/>
            <a:r>
              <a:rPr lang="da-DK" noProof="0"/>
              <a:t>6</a:t>
            </a:r>
          </a:p>
        </p:txBody>
      </p:sp>
      <p:sp>
        <p:nvSpPr>
          <p:cNvPr id="10" name="Date Placeholder 9">
            <a:extLst>
              <a:ext uri="{FF2B5EF4-FFF2-40B4-BE49-F238E27FC236}">
                <a16:creationId xmlns:a16="http://schemas.microsoft.com/office/drawing/2014/main" id="{9A51D51C-0A75-4759-A1DC-E03EA19B7647}"/>
              </a:ext>
            </a:extLst>
          </p:cNvPr>
          <p:cNvSpPr>
            <a:spLocks noGrp="1"/>
          </p:cNvSpPr>
          <p:nvPr>
            <p:ph type="dt" sz="half" idx="10"/>
          </p:nvPr>
        </p:nvSpPr>
        <p:spPr/>
        <p:txBody>
          <a:bodyPr/>
          <a:lstStyle/>
          <a:p>
            <a:fld id="{BB85DDD5-B914-4E59-8EE6-97ED7C1A5CEE}" type="datetime2">
              <a:rPr lang="da-DK" smtClean="0"/>
              <a:t>18. januar 2022</a:t>
            </a:fld>
            <a:endParaRPr lang="da-DK"/>
          </a:p>
        </p:txBody>
      </p:sp>
      <p:sp>
        <p:nvSpPr>
          <p:cNvPr id="11" name="Footer Placeholder 10">
            <a:extLst>
              <a:ext uri="{FF2B5EF4-FFF2-40B4-BE49-F238E27FC236}">
                <a16:creationId xmlns:a16="http://schemas.microsoft.com/office/drawing/2014/main" id="{9C21B955-D3EA-48BD-A3E1-CDAC17A5F7AF}"/>
              </a:ext>
            </a:extLst>
          </p:cNvPr>
          <p:cNvSpPr>
            <a:spLocks noGrp="1"/>
          </p:cNvSpPr>
          <p:nvPr>
            <p:ph type="ftr" sz="quarter" idx="11"/>
          </p:nvPr>
        </p:nvSpPr>
        <p:spPr/>
        <p:txBody>
          <a:bodyPr/>
          <a:lstStyle>
            <a:lvl1pPr>
              <a:defRPr>
                <a:solidFill>
                  <a:schemeClr val="tx1"/>
                </a:solidFill>
              </a:defRPr>
            </a:lvl1pPr>
          </a:lstStyle>
          <a:p>
            <a:endParaRPr lang="da-DK"/>
          </a:p>
        </p:txBody>
      </p:sp>
      <p:sp>
        <p:nvSpPr>
          <p:cNvPr id="12" name="Slide Number Placeholder 11">
            <a:extLst>
              <a:ext uri="{FF2B5EF4-FFF2-40B4-BE49-F238E27FC236}">
                <a16:creationId xmlns:a16="http://schemas.microsoft.com/office/drawing/2014/main" id="{71C405B7-FAC3-49D3-B550-60A333DE999E}"/>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2862057678"/>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Kun titel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da-DK" noProof="0"/>
              <a:t>Klik for at tilføje titel i maks. 2 linjer</a:t>
            </a:r>
            <a:endParaRPr lang="da-DK"/>
          </a:p>
        </p:txBody>
      </p:sp>
      <p:sp>
        <p:nvSpPr>
          <p:cNvPr id="5" name="Pladsholder til dato 4">
            <a:extLst>
              <a:ext uri="{FF2B5EF4-FFF2-40B4-BE49-F238E27FC236}">
                <a16:creationId xmlns:a16="http://schemas.microsoft.com/office/drawing/2014/main" id="{A4B86024-B241-47A7-8A81-C35D1109F9C3}"/>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9" name="Pladsholder til sidefod 8">
            <a:extLst>
              <a:ext uri="{FF2B5EF4-FFF2-40B4-BE49-F238E27FC236}">
                <a16:creationId xmlns:a16="http://schemas.microsoft.com/office/drawing/2014/main" id="{1E99D3A2-729D-4B19-AF2A-8DB4C9150ABB}"/>
              </a:ext>
            </a:extLst>
          </p:cNvPr>
          <p:cNvSpPr>
            <a:spLocks noGrp="1"/>
          </p:cNvSpPr>
          <p:nvPr>
            <p:ph type="ftr" sz="quarter" idx="11"/>
          </p:nvPr>
        </p:nvSpPr>
        <p:spPr/>
        <p:txBody>
          <a:bodyPr/>
          <a:lstStyle/>
          <a:p>
            <a:pPr>
              <a:lnSpc>
                <a:spcPct val="92000"/>
              </a:lnSpc>
            </a:pPr>
            <a:endParaRPr lang="da-DK"/>
          </a:p>
        </p:txBody>
      </p:sp>
      <p:sp>
        <p:nvSpPr>
          <p:cNvPr id="10" name="Pladsholder til slidenummer 9">
            <a:extLst>
              <a:ext uri="{FF2B5EF4-FFF2-40B4-BE49-F238E27FC236}">
                <a16:creationId xmlns:a16="http://schemas.microsoft.com/office/drawing/2014/main" id="{EDB29E89-E3AB-4A02-9CFE-761AEF7A0756}"/>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3584939981"/>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Kun titel B">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CE98ADFA-CB9F-4A89-812C-2547D23151A9}"/>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p:txBody>
          <a:bodyPr/>
          <a:lstStyle>
            <a:lvl1pPr>
              <a:defRPr>
                <a:solidFill>
                  <a:schemeClr val="tx1"/>
                </a:solidFill>
              </a:defRPr>
            </a:lvl1pPr>
          </a:lstStyle>
          <a:p>
            <a:r>
              <a:rPr lang="da-DK" noProof="0"/>
              <a:t>Klik for at tilføje titel i maks. 2 linjer</a:t>
            </a:r>
            <a:endParaRPr lang="da-DK"/>
          </a:p>
        </p:txBody>
      </p:sp>
      <p:sp>
        <p:nvSpPr>
          <p:cNvPr id="6" name="Date Placeholder 5">
            <a:extLst>
              <a:ext uri="{FF2B5EF4-FFF2-40B4-BE49-F238E27FC236}">
                <a16:creationId xmlns:a16="http://schemas.microsoft.com/office/drawing/2014/main" id="{EE1E5F53-8FFE-46B4-AF41-E80143290941}"/>
              </a:ext>
            </a:extLst>
          </p:cNvPr>
          <p:cNvSpPr>
            <a:spLocks noGrp="1"/>
          </p:cNvSpPr>
          <p:nvPr>
            <p:ph type="dt" sz="half" idx="10"/>
          </p:nvPr>
        </p:nvSpPr>
        <p:spPr/>
        <p:txBody>
          <a:bodyPr/>
          <a:lstStyle/>
          <a:p>
            <a:fld id="{E431F34E-10D2-46EF-B923-DADB10E7ECFC}" type="datetime2">
              <a:rPr lang="da-DK" smtClean="0"/>
              <a:t>18. januar 2022</a:t>
            </a:fld>
            <a:endParaRPr lang="da-DK"/>
          </a:p>
        </p:txBody>
      </p:sp>
      <p:sp>
        <p:nvSpPr>
          <p:cNvPr id="7" name="Footer Placeholder 6">
            <a:extLst>
              <a:ext uri="{FF2B5EF4-FFF2-40B4-BE49-F238E27FC236}">
                <a16:creationId xmlns:a16="http://schemas.microsoft.com/office/drawing/2014/main" id="{DF1EA393-E2B1-4B66-9017-983E786A1B8C}"/>
              </a:ext>
            </a:extLst>
          </p:cNvPr>
          <p:cNvSpPr>
            <a:spLocks noGrp="1"/>
          </p:cNvSpPr>
          <p:nvPr>
            <p:ph type="ftr" sz="quarter" idx="11"/>
          </p:nvPr>
        </p:nvSpPr>
        <p:spPr/>
        <p:txBody>
          <a:bodyPr/>
          <a:lstStyle>
            <a:lvl1pPr>
              <a:defRPr>
                <a:solidFill>
                  <a:schemeClr val="tx1"/>
                </a:solidFill>
              </a:defRPr>
            </a:lvl1pPr>
          </a:lstStyle>
          <a:p>
            <a:endParaRPr lang="da-DK"/>
          </a:p>
        </p:txBody>
      </p:sp>
      <p:sp>
        <p:nvSpPr>
          <p:cNvPr id="8" name="Slide Number Placeholder 7">
            <a:extLst>
              <a:ext uri="{FF2B5EF4-FFF2-40B4-BE49-F238E27FC236}">
                <a16:creationId xmlns:a16="http://schemas.microsoft.com/office/drawing/2014/main" id="{B003DF23-4636-4FE6-88BB-890F3BD5246C}"/>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Krone">
            <a:extLst>
              <a:ext uri="{FF2B5EF4-FFF2-40B4-BE49-F238E27FC236}">
                <a16:creationId xmlns:a16="http://schemas.microsoft.com/office/drawing/2014/main" id="{D8625B01-2145-4FC0-8679-3C242A41C7AB}"/>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3450888644"/>
      </p:ext>
    </p:extLst>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86F8E326-C08F-4A91-AC39-AC597CF03DB9}"/>
              </a:ext>
            </a:extLst>
          </p:cNvPr>
          <p:cNvSpPr>
            <a:spLocks noGrp="1"/>
          </p:cNvSpPr>
          <p:nvPr>
            <p:ph type="dt" sz="half" idx="10"/>
          </p:nvPr>
        </p:nvSpPr>
        <p:spPr/>
        <p:txBody>
          <a:bodyPr/>
          <a:lstStyle/>
          <a:p>
            <a:fld id="{8E78A8E4-0D3A-464D-813E-1D2CA28B69E1}" type="datetime2">
              <a:rPr lang="da-DK" smtClean="0"/>
              <a:t>18. januar 2022</a:t>
            </a:fld>
            <a:endParaRPr lang="da-DK"/>
          </a:p>
        </p:txBody>
      </p:sp>
      <p:sp>
        <p:nvSpPr>
          <p:cNvPr id="6" name="Footer Placeholder 5">
            <a:extLst>
              <a:ext uri="{FF2B5EF4-FFF2-40B4-BE49-F238E27FC236}">
                <a16:creationId xmlns:a16="http://schemas.microsoft.com/office/drawing/2014/main" id="{BFC1E843-D1B7-4A1B-88E0-600F68E23555}"/>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06FD6CF0-63E8-4640-A2FA-617A92A15763}"/>
              </a:ext>
            </a:extLst>
          </p:cNvPr>
          <p:cNvSpPr>
            <a:spLocks noGrp="1"/>
          </p:cNvSpPr>
          <p:nvPr>
            <p:ph type="sldNum" sz="quarter" idx="12"/>
          </p:nvPr>
        </p:nvSpPr>
        <p:spPr/>
        <p:txBody>
          <a:bodyPr/>
          <a:lstStyle/>
          <a:p>
            <a:fld id="{24C8C45C-947F-4981-8B3F-4F32E973C901}" type="slidenum">
              <a:rPr lang="da-DK" smtClean="0"/>
              <a:pPr/>
              <a:t>‹nr.›</a:t>
            </a:fld>
            <a:endParaRPr lang="da-DK"/>
          </a:p>
        </p:txBody>
      </p:sp>
    </p:spTree>
    <p:extLst>
      <p:ext uri="{BB962C8B-B14F-4D97-AF65-F5344CB8AC3E}">
        <p14:creationId xmlns:p14="http://schemas.microsoft.com/office/powerpoint/2010/main" val="28439488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9" name="Fast overskrift"/>
          <p:cNvSpPr txBox="1"/>
          <p:nvPr userDrawn="1"/>
        </p:nvSpPr>
        <p:spPr>
          <a:xfrm>
            <a:off x="539752" y="448713"/>
            <a:ext cx="11109321" cy="650171"/>
          </a:xfrm>
          <a:prstGeom prst="rect">
            <a:avLst/>
          </a:prstGeom>
          <a:noFill/>
        </p:spPr>
        <p:txBody>
          <a:bodyPr wrap="square" lIns="0" tIns="0" rIns="0" bIns="0" rtlCol="0" anchor="t" anchorCtr="0">
            <a:noAutofit/>
          </a:bodyPr>
          <a:lstStyle/>
          <a:p>
            <a:r>
              <a:rPr lang="da-DK" sz="3200" b="0" noProof="1">
                <a:solidFill>
                  <a:schemeClr val="tx1"/>
                </a:solidFill>
                <a:latin typeface="+mj-lt"/>
                <a:cs typeface="Arial" panose="020B0604020202020204" pitchFamily="34" charset="0"/>
              </a:rPr>
              <a:t>TIPS &amp; TRICKS - DIN BRUGERGUIDE</a:t>
            </a:r>
          </a:p>
        </p:txBody>
      </p:sp>
      <p:sp>
        <p:nvSpPr>
          <p:cNvPr id="29" name="Text Box 2"/>
          <p:cNvSpPr txBox="1">
            <a:spLocks noChangeArrowheads="1"/>
          </p:cNvSpPr>
          <p:nvPr userDrawn="1"/>
        </p:nvSpPr>
        <p:spPr bwMode="auto">
          <a:xfrm>
            <a:off x="539752" y="1614980"/>
            <a:ext cx="2448910" cy="404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latin typeface="+mn-lt"/>
                <a:cs typeface="Arial" panose="020B0604020202020204" pitchFamily="34" charset="0"/>
              </a:rPr>
              <a:t>TYPOGRAFIER</a:t>
            </a:r>
            <a:endParaRPr lang="da-DK" altLang="da-DK" sz="16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Brug</a:t>
            </a:r>
            <a:r>
              <a:rPr lang="da-DK" altLang="da-DK" sz="900" b="1" noProof="1">
                <a:solidFill>
                  <a:schemeClr val="tx1"/>
                </a:solidFill>
                <a:latin typeface="+mn-lt"/>
                <a:cs typeface="Arial" panose="020B0604020202020204" pitchFamily="34" charset="0"/>
              </a:rPr>
              <a:t> TAB </a:t>
            </a:r>
            <a:r>
              <a:rPr lang="da-DK" altLang="da-DK" sz="900" b="0" noProof="1">
                <a:solidFill>
                  <a:schemeClr val="tx1"/>
                </a:solidFill>
                <a:latin typeface="+mn-lt"/>
                <a:cs typeface="Arial" panose="020B0604020202020204" pitchFamily="34" charset="0"/>
              </a:rPr>
              <a:t>for at gå frem i tekst-niveauer. Klik </a:t>
            </a:r>
            <a:r>
              <a:rPr lang="da-DK" altLang="da-DK" sz="900" b="1" noProof="1">
                <a:solidFill>
                  <a:schemeClr val="tx1"/>
                </a:solidFill>
                <a:latin typeface="+mn-lt"/>
                <a:cs typeface="Arial" panose="020B0604020202020204" pitchFamily="34" charset="0"/>
              </a:rPr>
              <a:t>ENTER</a:t>
            </a:r>
            <a:r>
              <a:rPr lang="da-DK" altLang="da-DK" sz="900" b="0" noProof="1">
                <a:solidFill>
                  <a:schemeClr val="tx1"/>
                </a:solidFill>
                <a:latin typeface="+mn-lt"/>
                <a:cs typeface="Arial" panose="020B0604020202020204" pitchFamily="34" charset="0"/>
              </a:rPr>
              <a:t>, derefter </a:t>
            </a:r>
            <a:r>
              <a:rPr lang="da-DK" altLang="da-DK" sz="900" b="1" noProof="1">
                <a:solidFill>
                  <a:schemeClr val="tx1"/>
                </a:solidFill>
                <a:latin typeface="+mn-lt"/>
                <a:cs typeface="Arial" panose="020B0604020202020204" pitchFamily="34" charset="0"/>
              </a:rPr>
              <a:t>TAB</a:t>
            </a:r>
            <a:r>
              <a:rPr lang="da-DK" altLang="da-DK" sz="900" b="0" noProof="1">
                <a:solidFill>
                  <a:schemeClr val="tx1"/>
                </a:solidFill>
                <a:latin typeface="+mn-lt"/>
                <a:cs typeface="Arial" panose="020B0604020202020204" pitchFamily="34" charset="0"/>
              </a:rPr>
              <a:t> for at skifte fra et niveau til det næste</a:t>
            </a:r>
          </a:p>
          <a:p>
            <a:pPr eaLnBrk="1" hangingPunct="1">
              <a:spcAft>
                <a:spcPts val="600"/>
              </a:spcAft>
              <a:defRPr/>
            </a:pPr>
            <a:r>
              <a:rPr lang="da-DK" altLang="da-DK" sz="900" b="0" noProof="1">
                <a:solidFill>
                  <a:schemeClr val="tx1"/>
                </a:solidFill>
                <a:latin typeface="+mn-lt"/>
                <a:cs typeface="Arial" panose="020B0604020202020204" pitchFamily="34" charset="0"/>
              </a:rPr>
              <a:t>For at gå tilbage i tekst-niveau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rug </a:t>
            </a:r>
            <a:r>
              <a:rPr lang="da-DK" altLang="da-DK" sz="900" b="1" noProof="1">
                <a:solidFill>
                  <a:schemeClr val="tx1"/>
                </a:solidFill>
                <a:latin typeface="+mn-lt"/>
                <a:cs typeface="Arial" panose="020B0604020202020204" pitchFamily="34" charset="0"/>
              </a:rPr>
              <a:t>SHIFT+TAB</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Alternativt kan </a:t>
            </a:r>
            <a:r>
              <a:rPr lang="da-DK" altLang="da-DK" sz="900" b="1" noProof="1">
                <a:solidFill>
                  <a:schemeClr val="tx1"/>
                </a:solidFill>
                <a:latin typeface="+mn-lt"/>
                <a:cs typeface="Arial" panose="020B0604020202020204" pitchFamily="34" charset="0"/>
              </a:rPr>
              <a:t>Forøg</a:t>
            </a:r>
            <a:r>
              <a:rPr lang="da-DK" altLang="da-DK" sz="900" b="0" noProof="1">
                <a:solidFill>
                  <a:schemeClr val="tx1"/>
                </a:solidFill>
                <a:latin typeface="+mn-lt"/>
                <a:cs typeface="Arial" panose="020B0604020202020204" pitchFamily="34" charset="0"/>
              </a:rPr>
              <a:t> og </a:t>
            </a:r>
            <a:r>
              <a:rPr lang="da-DK" altLang="da-DK" sz="900" b="1" noProof="1">
                <a:solidFill>
                  <a:schemeClr val="tx1"/>
                </a:solidFill>
                <a:latin typeface="+mn-lt"/>
                <a:cs typeface="Arial" panose="020B0604020202020204" pitchFamily="34" charset="0"/>
              </a:rPr>
              <a:t>Formindsk</a:t>
            </a:r>
            <a:r>
              <a:rPr lang="da-DK" altLang="da-DK" sz="900" b="0" noProof="1">
                <a:solidFill>
                  <a:schemeClr val="tx1"/>
                </a:solidFill>
                <a:latin typeface="+mn-lt"/>
                <a:cs typeface="Arial" panose="020B0604020202020204" pitchFamily="34" charset="0"/>
              </a:rPr>
              <a:t> listeniveau bruges</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sz="900" b="1" noProof="1">
                <a:latin typeface="+mn-lt"/>
                <a:cs typeface="Arial" panose="020B0604020202020204" pitchFamily="34" charset="0"/>
              </a:rPr>
              <a:t>TIP: Brug</a:t>
            </a:r>
            <a:r>
              <a:rPr lang="da-DK" sz="900" b="1" baseline="0" noProof="1">
                <a:latin typeface="+mn-lt"/>
                <a:cs typeface="Arial" panose="020B0604020202020204" pitchFamily="34" charset="0"/>
              </a:rPr>
              <a:t> bullet knappen</a:t>
            </a:r>
            <a:endParaRPr lang="da-DK" sz="900" b="1" noProof="1">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Fjern bullet for almindelig teks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bullet knappen for at sætte korrekt bullet igen</a:t>
            </a:r>
          </a:p>
          <a:p>
            <a:pPr marL="0" marR="0" lvl="0" indent="0" algn="l" defTabSz="914400" rtl="0" eaLnBrk="1" fontAlgn="auto" latinLnBrk="0" hangingPunct="1">
              <a:lnSpc>
                <a:spcPct val="100000"/>
              </a:lnSpc>
              <a:spcBef>
                <a:spcPts val="0"/>
              </a:spcBef>
              <a:spcAft>
                <a:spcPts val="600"/>
              </a:spcAft>
              <a:buClrTx/>
              <a:buSzTx/>
              <a:buFontTx/>
              <a:buNone/>
              <a:tabLst/>
              <a:defRPr/>
            </a:pPr>
            <a:br>
              <a:rPr lang="da-DK" altLang="da-DK" sz="1600" b="1" noProof="1">
                <a:solidFill>
                  <a:schemeClr val="tx1"/>
                </a:solidFill>
                <a:latin typeface="+mn-lt"/>
                <a:cs typeface="Arial" panose="020B0604020202020204" pitchFamily="34" charset="0"/>
              </a:rPr>
            </a:br>
            <a:r>
              <a:rPr lang="da-DK" sz="1600">
                <a:latin typeface="+mn-lt"/>
                <a:cs typeface="Arial" panose="020B0604020202020204" pitchFamily="34" charset="0"/>
              </a:rPr>
              <a:t>SLIDES &amp; LAYOUTS</a:t>
            </a:r>
            <a:br>
              <a:rPr lang="da-DK" altLang="da-DK" sz="1600" b="1" noProof="1">
                <a:solidFill>
                  <a:schemeClr val="tx1"/>
                </a:solidFill>
                <a:latin typeface="+mn-lt"/>
                <a:cs typeface="Arial" panose="020B0604020202020204" pitchFamily="34" charset="0"/>
              </a:rPr>
            </a:br>
            <a:br>
              <a:rPr lang="da-DK" altLang="da-DK" sz="900" b="1"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menupunktet </a:t>
            </a:r>
            <a:r>
              <a:rPr lang="da-DK" altLang="da-DK" sz="900" b="1" noProof="1">
                <a:solidFill>
                  <a:schemeClr val="tx1"/>
                </a:solidFill>
                <a:latin typeface="+mn-lt"/>
                <a:cs typeface="Arial" panose="020B0604020202020204" pitchFamily="34" charset="0"/>
              </a:rPr>
              <a:t>Nyt Slide </a:t>
            </a:r>
            <a:r>
              <a:rPr lang="da-DK" altLang="da-DK" sz="900" b="0" noProof="1">
                <a:solidFill>
                  <a:schemeClr val="tx1"/>
                </a:solidFill>
                <a:latin typeface="+mn-lt"/>
                <a:cs typeface="Arial" panose="020B0604020202020204" pitchFamily="34" charset="0"/>
              </a:rPr>
              <a:t>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 for at indsætte nyt slide</a:t>
            </a:r>
            <a:br>
              <a:rPr lang="da-DK" altLang="da-DK" sz="900" b="0" noProof="1">
                <a:solidFill>
                  <a:schemeClr val="tx1"/>
                </a:solidFill>
                <a:latin typeface="+mn-lt"/>
                <a:cs typeface="Arial" panose="020B0604020202020204" pitchFamily="34" charset="0"/>
              </a:rPr>
            </a:b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Ændre layout</a:t>
            </a: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pilen</a:t>
            </a:r>
            <a:r>
              <a:rPr lang="da-DK" altLang="da-DK" sz="900" b="0" baseline="0" noProof="1">
                <a:solidFill>
                  <a:schemeClr val="tx1"/>
                </a:solidFill>
                <a:latin typeface="+mn-lt"/>
                <a:cs typeface="Arial" panose="020B0604020202020204" pitchFamily="34" charset="0"/>
              </a:rPr>
              <a:t> ved siden af </a:t>
            </a:r>
            <a:r>
              <a:rPr lang="da-DK" altLang="da-DK" sz="900" b="1" baseline="0" noProof="1">
                <a:solidFill>
                  <a:schemeClr val="tx1"/>
                </a:solidFill>
                <a:latin typeface="+mn-lt"/>
                <a:cs typeface="Arial" panose="020B0604020202020204" pitchFamily="34" charset="0"/>
              </a:rPr>
              <a:t>Layout</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for at få vist en dropdown menu af </a:t>
            </a:r>
            <a:br>
              <a:rPr lang="da-DK" altLang="da-DK" sz="900" b="0" baseline="0" noProof="1">
                <a:solidFill>
                  <a:schemeClr val="tx1"/>
                </a:solidFill>
                <a:latin typeface="+mn-lt"/>
                <a:cs typeface="Arial" panose="020B0604020202020204" pitchFamily="34" charset="0"/>
              </a:rPr>
            </a:br>
            <a:r>
              <a:rPr lang="da-DK" altLang="da-DK" sz="900" b="0" baseline="0" noProof="1">
                <a:solidFill>
                  <a:schemeClr val="tx1"/>
                </a:solidFill>
                <a:latin typeface="+mn-lt"/>
                <a:cs typeface="Arial" panose="020B0604020202020204" pitchFamily="34" charset="0"/>
              </a:rPr>
              <a:t>mulige slides layout</a:t>
            </a:r>
            <a:endParaRPr lang="da-DK" altLang="da-DK" sz="900" b="0" noProof="1">
              <a:solidFill>
                <a:schemeClr val="tx1"/>
              </a:solidFill>
              <a:latin typeface="+mn-lt"/>
              <a:cs typeface="Arial" panose="020B0604020202020204" pitchFamily="34" charset="0"/>
            </a:endParaRPr>
          </a:p>
        </p:txBody>
      </p:sp>
      <p:sp>
        <p:nvSpPr>
          <p:cNvPr id="21" name="Text Box 3"/>
          <p:cNvSpPr txBox="1">
            <a:spLocks noChangeArrowheads="1"/>
          </p:cNvSpPr>
          <p:nvPr userDrawn="1"/>
        </p:nvSpPr>
        <p:spPr bwMode="auto">
          <a:xfrm>
            <a:off x="4498493" y="1614980"/>
            <a:ext cx="2448911" cy="372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da-DK" sz="900" b="1" noProof="1">
                <a:solidFill>
                  <a:schemeClr val="tx1"/>
                </a:solidFill>
                <a:latin typeface="+mn-lt"/>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Nulstil</a:t>
            </a:r>
            <a:r>
              <a:rPr lang="da-DK" altLang="da-DK" sz="900" b="0" noProof="1">
                <a:solidFill>
                  <a:schemeClr val="tx1"/>
                </a:solidFill>
                <a:latin typeface="+mn-lt"/>
                <a:cs typeface="Arial" panose="020B0604020202020204" pitchFamily="34" charset="0"/>
              </a:rPr>
              <a:t> for at nulstille placering, størrelse og formatering af pladsholdere til layoutets oprindelige design i </a:t>
            </a:r>
            <a:r>
              <a:rPr lang="da-DK" altLang="da-DK" sz="900" b="1" noProof="1">
                <a:solidFill>
                  <a:schemeClr val="tx1"/>
                </a:solidFill>
                <a:latin typeface="+mn-lt"/>
                <a:cs typeface="Arial" panose="020B0604020202020204" pitchFamily="34" charset="0"/>
              </a:rPr>
              <a:t>Hjem</a:t>
            </a:r>
            <a:r>
              <a:rPr lang="da-DK" altLang="da-DK" sz="900" b="0" noProof="1">
                <a:solidFill>
                  <a:schemeClr val="tx1"/>
                </a:solidFill>
                <a:latin typeface="+mn-lt"/>
                <a:cs typeface="Arial" panose="020B0604020202020204" pitchFamily="34" charset="0"/>
              </a:rPr>
              <a:t> fanen</a:t>
            </a: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da-DK" sz="900" b="1"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latin typeface="+mn-lt"/>
                <a:cs typeface="Arial" panose="020B0604020202020204" pitchFamily="34" charset="0"/>
              </a:rPr>
              <a:t>BILLED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På slides med billedpladsholder,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klik på ikonet og vælg </a:t>
            </a:r>
            <a:r>
              <a:rPr lang="da-DK" altLang="da-DK" sz="900" b="1" noProof="1">
                <a:solidFill>
                  <a:schemeClr val="tx1"/>
                </a:solidFill>
                <a:latin typeface="+mn-lt"/>
                <a:cs typeface="Arial" panose="020B0604020202020204" pitchFamily="34" charset="0"/>
              </a:rPr>
              <a:t>Indsæt</a:t>
            </a:r>
          </a:p>
          <a:p>
            <a:pPr eaLnBrk="1" hangingPunct="1">
              <a:spcBef>
                <a:spcPts val="1200"/>
              </a:spcBef>
              <a:spcAft>
                <a:spcPts val="600"/>
              </a:spcAft>
              <a:defRPr/>
            </a:pPr>
            <a:r>
              <a:rPr lang="da-DK" sz="900" b="1" noProof="1">
                <a:solidFill>
                  <a:schemeClr val="tx1"/>
                </a:solidFill>
                <a:latin typeface="+mn-lt"/>
                <a:cs typeface="Arial" panose="020B0604020202020204" pitchFamily="34" charset="0"/>
              </a:rPr>
              <a:t>Beskær billede</a:t>
            </a:r>
          </a:p>
          <a:p>
            <a:pPr eaLnBrk="1" hangingPunct="1">
              <a:spcAft>
                <a:spcPts val="600"/>
              </a:spcAft>
              <a:defRPr/>
            </a:pPr>
            <a:r>
              <a:rPr lang="da-DK" altLang="da-DK" sz="900" b="1" noProof="1">
                <a:solidFill>
                  <a:schemeClr val="tx1"/>
                </a:solidFill>
                <a:latin typeface="+mn-lt"/>
                <a:cs typeface="Arial" panose="020B0604020202020204" pitchFamily="34" charset="0"/>
              </a:rPr>
              <a:t>1. </a:t>
            </a: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Beskær</a:t>
            </a:r>
            <a:r>
              <a:rPr lang="da-DK" altLang="da-DK" sz="900" b="0" noProof="1">
                <a:solidFill>
                  <a:schemeClr val="tx1"/>
                </a:solidFill>
                <a:latin typeface="+mn-lt"/>
                <a:cs typeface="Arial" panose="020B0604020202020204" pitchFamily="34" charset="0"/>
              </a:rPr>
              <a:t> for at ændr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Ønsker du at skalere billedet, så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hold </a:t>
            </a:r>
            <a:r>
              <a:rPr lang="da-DK" altLang="da-DK" sz="900" b="1" noProof="1">
                <a:solidFill>
                  <a:schemeClr val="tx1"/>
                </a:solidFill>
                <a:latin typeface="+mn-lt"/>
                <a:cs typeface="Arial" panose="020B0604020202020204" pitchFamily="34" charset="0"/>
              </a:rPr>
              <a:t>SHIFT</a:t>
            </a:r>
            <a:r>
              <a:rPr lang="da-DK" altLang="da-DK" sz="900" b="0" noProof="1">
                <a:solidFill>
                  <a:schemeClr val="tx1"/>
                </a:solidFill>
                <a:latin typeface="+mn-lt"/>
                <a:cs typeface="Arial" panose="020B0604020202020204" pitchFamily="34" charset="0"/>
              </a:rPr>
              <a:t>-knappen nede, mens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du trækker i billedets hjørner</a:t>
            </a:r>
          </a:p>
          <a:p>
            <a:pPr eaLnBrk="1" hangingPunct="1">
              <a:spcAft>
                <a:spcPts val="600"/>
              </a:spcAft>
              <a:defRPr/>
            </a:pPr>
            <a:br>
              <a:rPr lang="da-DK" altLang="da-DK" sz="900" b="0"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t>
            </a:r>
            <a:r>
              <a:rPr lang="da-DK" altLang="da-DK" sz="900" b="0" noProof="1">
                <a:solidFill>
                  <a:schemeClr val="tx1"/>
                </a:solidFill>
                <a:latin typeface="+mn-lt"/>
                <a:cs typeface="Arial" panose="020B0604020202020204" pitchFamily="34" charset="0"/>
              </a:rPr>
              <a:t>Hvis du sletter billedet og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sætter et nyt, kan billedet lægge </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sig foran tekst og grafik. Hvis dette sker, højreklik på billedet og vælg </a:t>
            </a:r>
            <a:r>
              <a:rPr lang="da-DK" altLang="da-DK" sz="900" b="1" noProof="1">
                <a:solidFill>
                  <a:schemeClr val="tx1"/>
                </a:solidFill>
                <a:latin typeface="+mn-lt"/>
                <a:cs typeface="Arial" panose="020B0604020202020204" pitchFamily="34" charset="0"/>
              </a:rPr>
              <a:t>Placer bagest</a:t>
            </a:r>
          </a:p>
          <a:p>
            <a:pPr eaLnBrk="1" hangingPunct="1">
              <a:spcAft>
                <a:spcPts val="600"/>
              </a:spcAft>
              <a:defRPr/>
            </a:pPr>
            <a:endParaRPr lang="da-DK" altLang="da-DK" sz="900" b="1" noProof="1">
              <a:solidFill>
                <a:schemeClr val="tx1"/>
              </a:solidFill>
              <a:latin typeface="+mn-lt"/>
              <a:cs typeface="Arial" panose="020B0604020202020204" pitchFamily="34" charset="0"/>
            </a:endParaRPr>
          </a:p>
        </p:txBody>
      </p:sp>
      <p:sp>
        <p:nvSpPr>
          <p:cNvPr id="25" name="Text Box 4"/>
          <p:cNvSpPr txBox="1">
            <a:spLocks noChangeArrowheads="1"/>
          </p:cNvSpPr>
          <p:nvPr userDrawn="1"/>
        </p:nvSpPr>
        <p:spPr bwMode="auto">
          <a:xfrm>
            <a:off x="8076214" y="1614980"/>
            <a:ext cx="2615599" cy="435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600">
                <a:latin typeface="+mn-lt"/>
                <a:cs typeface="Arial" panose="020B0604020202020204" pitchFamily="34" charset="0"/>
              </a:rPr>
              <a:t>SIDEHOVED &amp; -FOD</a:t>
            </a:r>
            <a:endParaRPr lang="da-DK" altLang="da-DK" sz="1600" b="0" noProof="1">
              <a:solidFill>
                <a:schemeClr val="tx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mn-lt"/>
                <a:cs typeface="Arial" panose="020B0604020202020204" pitchFamily="34" charset="0"/>
              </a:rPr>
              <a:t>Gør dette som</a:t>
            </a:r>
            <a:r>
              <a:rPr lang="da-DK" altLang="da-DK" sz="900" b="0" baseline="0" noProof="1">
                <a:solidFill>
                  <a:schemeClr val="tx1"/>
                </a:solidFill>
                <a:latin typeface="+mn-lt"/>
                <a:cs typeface="Arial" panose="020B0604020202020204" pitchFamily="34" charset="0"/>
              </a:rPr>
              <a:t> det sidste i din præsentation, så ændringerne slår igennem på alle slides</a:t>
            </a:r>
            <a:endParaRPr lang="da-DK" sz="9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a:t>
            </a:r>
            <a:r>
              <a:rPr lang="da-DK" altLang="da-DK" sz="900" b="1" noProof="1">
                <a:solidFill>
                  <a:schemeClr val="tx1"/>
                </a:solidFill>
                <a:latin typeface="+mn-lt"/>
                <a:cs typeface="Arial" panose="020B0604020202020204" pitchFamily="34" charset="0"/>
              </a:rPr>
              <a:t>Sidehoved og Sidefod</a:t>
            </a:r>
            <a:r>
              <a:rPr lang="da-DK" altLang="da-DK" sz="900" b="0" noProof="1">
                <a:solidFill>
                  <a:schemeClr val="tx1"/>
                </a:solidFill>
                <a:latin typeface="+mn-lt"/>
                <a:cs typeface="Arial" panose="020B0604020202020204" pitchFamily="34" charset="0"/>
              </a:rPr>
              <a:t> i fanen </a:t>
            </a:r>
            <a:r>
              <a:rPr lang="da-DK" altLang="da-DK" sz="900" b="1" noProof="1">
                <a:solidFill>
                  <a:schemeClr val="tx1"/>
                </a:solidFill>
                <a:latin typeface="+mn-lt"/>
                <a:cs typeface="Arial" panose="020B0604020202020204" pitchFamily="34" charset="0"/>
              </a:rPr>
              <a:t>Indsæt</a:t>
            </a:r>
            <a:br>
              <a:rPr lang="da-DK" altLang="da-DK" sz="900" b="0" noProof="1">
                <a:solidFill>
                  <a:schemeClr val="tx1"/>
                </a:solidFill>
                <a:latin typeface="+mn-lt"/>
                <a:cs typeface="Arial" panose="020B0604020202020204" pitchFamily="34" charset="0"/>
              </a:rPr>
            </a:br>
            <a:r>
              <a:rPr lang="da-DK" altLang="da-DK" sz="900" b="0" noProof="1">
                <a:solidFill>
                  <a:schemeClr val="tx1"/>
                </a:solidFill>
                <a:latin typeface="+mn-lt"/>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mn-lt"/>
                <a:cs typeface="Arial" panose="020B0604020202020204" pitchFamily="34" charset="0"/>
              </a:rPr>
              <a:t>Vælg </a:t>
            </a:r>
            <a:r>
              <a:rPr lang="da-DK" altLang="da-DK" sz="900" b="1" noProof="1">
                <a:solidFill>
                  <a:schemeClr val="tx1"/>
                </a:solidFill>
                <a:latin typeface="+mn-lt"/>
                <a:cs typeface="Arial" panose="020B0604020202020204" pitchFamily="34" charset="0"/>
              </a:rPr>
              <a:t>Anvend på alle </a:t>
            </a:r>
            <a:r>
              <a:rPr lang="da-DK" altLang="da-DK" sz="900" b="0" noProof="1">
                <a:solidFill>
                  <a:schemeClr val="tx1"/>
                </a:solidFill>
                <a:latin typeface="+mn-lt"/>
                <a:cs typeface="Arial" panose="020B0604020202020204" pitchFamily="34" charset="0"/>
              </a:rPr>
              <a:t>eller </a:t>
            </a:r>
            <a:r>
              <a:rPr lang="da-DK" altLang="da-DK" sz="900" b="1" noProof="1">
                <a:solidFill>
                  <a:schemeClr val="tx1"/>
                </a:solidFill>
                <a:latin typeface="+mn-lt"/>
                <a:cs typeface="Arial" panose="020B0604020202020204" pitchFamily="34" charset="0"/>
              </a:rPr>
              <a:t>Anvend</a:t>
            </a:r>
            <a:r>
              <a:rPr lang="da-DK" altLang="da-DK" sz="900" b="0" noProof="1">
                <a:solidFill>
                  <a:schemeClr val="tx1"/>
                </a:solidFill>
                <a:latin typeface="+mn-lt"/>
                <a:cs typeface="Arial" panose="020B0604020202020204" pitchFamily="34" charset="0"/>
              </a:rPr>
              <a:t> hvis det kun skal være på et enkelt slide</a:t>
            </a:r>
          </a:p>
          <a:p>
            <a:pPr eaLnBrk="1" hangingPunct="1">
              <a:spcAft>
                <a:spcPts val="600"/>
              </a:spcAft>
              <a:defRPr/>
            </a:pPr>
            <a:endParaRPr lang="da-DK" sz="900" b="0" noProof="1">
              <a:solidFill>
                <a:schemeClr val="tx1"/>
              </a:solidFill>
              <a:latin typeface="+mn-lt"/>
              <a:cs typeface="Arial" panose="020B0604020202020204" pitchFamily="34" charset="0"/>
            </a:endParaRPr>
          </a:p>
          <a:p>
            <a:pPr eaLnBrk="1" hangingPunct="1">
              <a:spcAft>
                <a:spcPts val="600"/>
              </a:spcAft>
              <a:defRPr/>
            </a:pPr>
            <a:r>
              <a:rPr lang="da-DK" sz="1600">
                <a:latin typeface="+mn-lt"/>
                <a:cs typeface="Arial" panose="020B0604020202020204" pitchFamily="34" charset="0"/>
              </a:rPr>
              <a:t>HJÆLPELINJER</a:t>
            </a:r>
            <a:endParaRPr lang="da-DK" sz="1600" b="1" noProof="1">
              <a:solidFill>
                <a:schemeClr val="tx1"/>
              </a:solidFill>
              <a:latin typeface="+mn-lt"/>
              <a:cs typeface="Arial" panose="020B0604020202020204" pitchFamily="34" charset="0"/>
            </a:endParaRPr>
          </a:p>
          <a:p>
            <a:pPr eaLnBrk="1" hangingPunct="1">
              <a:spcAft>
                <a:spcPts val="600"/>
              </a:spcAft>
              <a:defRPr/>
            </a:pPr>
            <a:r>
              <a:rPr lang="da-DK" altLang="da-DK" sz="900" b="0" noProof="1">
                <a:solidFill>
                  <a:schemeClr val="tx1"/>
                </a:solidFill>
                <a:latin typeface="+mn-lt"/>
                <a:cs typeface="Arial" panose="020B0604020202020204" pitchFamily="34" charset="0"/>
              </a:rPr>
              <a:t>Klik på fanen </a:t>
            </a:r>
            <a:r>
              <a:rPr lang="da-DK" altLang="da-DK" sz="900" b="1" noProof="1">
                <a:solidFill>
                  <a:schemeClr val="tx1"/>
                </a:solidFill>
                <a:latin typeface="+mn-lt"/>
                <a:cs typeface="Arial" panose="020B0604020202020204" pitchFamily="34" charset="0"/>
              </a:rPr>
              <a:t>Vis </a:t>
            </a:r>
            <a:r>
              <a:rPr lang="da-DK" altLang="da-DK" sz="900" b="0" noProof="1">
                <a:solidFill>
                  <a:schemeClr val="tx1"/>
                </a:solidFill>
                <a:latin typeface="+mn-lt"/>
                <a:cs typeface="Arial" panose="020B0604020202020204" pitchFamily="34" charset="0"/>
              </a:rPr>
              <a:t>og sæt hak ved </a:t>
            </a:r>
            <a:r>
              <a:rPr lang="da-DK" altLang="da-DK" sz="900" b="1" noProof="1">
                <a:solidFill>
                  <a:schemeClr val="tx1"/>
                </a:solidFill>
                <a:latin typeface="+mn-lt"/>
                <a:cs typeface="Arial" panose="020B0604020202020204" pitchFamily="34" charset="0"/>
              </a:rPr>
              <a:t>Hjælpelinjer</a:t>
            </a:r>
          </a:p>
          <a:p>
            <a:pPr eaLnBrk="1" hangingPunct="1">
              <a:spcAft>
                <a:spcPts val="600"/>
              </a:spcAft>
              <a:defRPr/>
            </a:pPr>
            <a:br>
              <a:rPr lang="da-DK" altLang="da-DK" sz="900" b="1" noProof="1">
                <a:solidFill>
                  <a:schemeClr val="tx1"/>
                </a:solidFill>
                <a:latin typeface="+mn-lt"/>
                <a:cs typeface="Arial" panose="020B0604020202020204" pitchFamily="34" charset="0"/>
              </a:rPr>
            </a:br>
            <a:r>
              <a:rPr lang="da-DK" altLang="da-DK" sz="900" b="1" noProof="1">
                <a:solidFill>
                  <a:schemeClr val="tx1"/>
                </a:solidFill>
                <a:latin typeface="+mn-lt"/>
                <a:cs typeface="Arial" panose="020B0604020202020204" pitchFamily="34" charset="0"/>
              </a:rPr>
              <a:t>TIP: Alt + F9 </a:t>
            </a:r>
            <a:r>
              <a:rPr lang="da-DK" altLang="da-DK" sz="900" b="0" noProof="1">
                <a:solidFill>
                  <a:schemeClr val="tx1"/>
                </a:solidFill>
                <a:latin typeface="+mn-lt"/>
                <a:cs typeface="Arial" panose="020B0604020202020204" pitchFamily="34" charset="0"/>
              </a:rPr>
              <a:t>for hurtig visning af hjælpelinjer</a:t>
            </a:r>
            <a:br>
              <a:rPr lang="da-DK" altLang="da-DK" sz="900" b="0" noProof="1">
                <a:solidFill>
                  <a:schemeClr val="tx1"/>
                </a:solidFill>
                <a:latin typeface="+mn-lt"/>
                <a:cs typeface="Arial" panose="020B0604020202020204" pitchFamily="34" charset="0"/>
              </a:rPr>
            </a:br>
            <a:endParaRPr lang="da-DK" altLang="da-DK" sz="900" b="0" noProof="1">
              <a:solidFill>
                <a:schemeClr val="tx1"/>
              </a:solidFill>
              <a:latin typeface="+mn-lt"/>
              <a:cs typeface="Arial" panose="020B0604020202020204" pitchFamily="34" charset="0"/>
            </a:endParaRPr>
          </a:p>
          <a:p>
            <a:pPr eaLnBrk="1" hangingPunct="1">
              <a:spcAft>
                <a:spcPts val="600"/>
              </a:spcAft>
              <a:defRPr/>
            </a:pPr>
            <a:r>
              <a:rPr lang="da-DK" altLang="da-DK" sz="1600" b="0" noProof="1">
                <a:solidFill>
                  <a:schemeClr val="tx1"/>
                </a:solidFill>
                <a:latin typeface="+mn-lt"/>
                <a:cs typeface="Arial" panose="020B0604020202020204" pitchFamily="34" charset="0"/>
              </a:rPr>
              <a:t>COPY/PASTE INDHOLD</a:t>
            </a:r>
          </a:p>
          <a:p>
            <a:pPr eaLnBrk="1" hangingPunct="1">
              <a:spcAft>
                <a:spcPts val="600"/>
              </a:spcAft>
              <a:defRPr/>
            </a:pPr>
            <a:r>
              <a:rPr lang="da-DK" altLang="da-DK" sz="900" b="0" noProof="1">
                <a:solidFill>
                  <a:schemeClr val="tx1"/>
                </a:solidFill>
                <a:latin typeface="+mn-lt"/>
                <a:cs typeface="Arial" panose="020B0604020202020204" pitchFamily="34" charset="0"/>
              </a:rPr>
              <a:t>Du har 2 muligheder, når du kopierer gammelt indhold over i din nye præsentation:</a:t>
            </a:r>
          </a:p>
          <a:p>
            <a:pPr eaLnBrk="1" hangingPunct="1">
              <a:spcAft>
                <a:spcPts val="600"/>
              </a:spcAft>
              <a:defRPr/>
            </a:pPr>
            <a:r>
              <a:rPr lang="da-DK" altLang="da-DK" sz="900" b="1" noProof="1">
                <a:solidFill>
                  <a:schemeClr val="tx1"/>
                </a:solidFill>
                <a:latin typeface="+mn-lt"/>
                <a:cs typeface="Arial" panose="020B0604020202020204" pitchFamily="34" charset="0"/>
              </a:rPr>
              <a:t>1. Best practice: </a:t>
            </a:r>
            <a:r>
              <a:rPr lang="da-DK" altLang="da-DK" sz="900" b="0" noProof="1">
                <a:solidFill>
                  <a:schemeClr val="tx1"/>
                </a:solidFill>
                <a:latin typeface="+mn-lt"/>
                <a:cs typeface="Arial" panose="020B0604020202020204" pitchFamily="34" charset="0"/>
              </a:rPr>
              <a:t>Opret et slide i din nye præsentation og kopier ét indholdselement ad gangen (fx kopier al tekst fra én tekstboks)</a:t>
            </a:r>
          </a:p>
          <a:p>
            <a:pPr eaLnBrk="1" hangingPunct="1">
              <a:spcAft>
                <a:spcPts val="600"/>
              </a:spcAft>
              <a:defRPr/>
            </a:pPr>
            <a:r>
              <a:rPr lang="da-DK" altLang="da-DK" sz="900" b="1" noProof="1">
                <a:solidFill>
                  <a:schemeClr val="tx1"/>
                </a:solidFill>
                <a:latin typeface="+mn-lt"/>
                <a:cs typeface="Arial" panose="020B0604020202020204" pitchFamily="34" charset="0"/>
              </a:rPr>
              <a:t>2. </a:t>
            </a:r>
            <a:r>
              <a:rPr lang="da-DK" altLang="da-DK" sz="900" b="0" noProof="1">
                <a:solidFill>
                  <a:schemeClr val="tx1"/>
                </a:solidFill>
                <a:latin typeface="+mn-lt"/>
                <a:cs typeface="Arial" panose="020B0604020202020204" pitchFamily="34" charset="0"/>
              </a:rPr>
              <a:t>Eller kopier et helt slide over i din nye præsentation og vælg derefter et passende layout . Husk at slette de gamle, forkerte layouts (gå i Vis &gt; Slidemaster og slet dem)</a:t>
            </a:r>
          </a:p>
        </p:txBody>
      </p:sp>
      <p:pic>
        <p:nvPicPr>
          <p:cNvPr id="3" name="Picture 2">
            <a:extLst>
              <a:ext uri="{FF2B5EF4-FFF2-40B4-BE49-F238E27FC236}">
                <a16:creationId xmlns:a16="http://schemas.microsoft.com/office/drawing/2014/main" id="{4C8C8420-1956-4D8D-85A2-8D596BA13AB4}"/>
              </a:ext>
            </a:extLst>
          </p:cNvPr>
          <p:cNvPicPr>
            <a:picLocks noChangeAspect="1"/>
          </p:cNvPicPr>
          <p:nvPr userDrawn="1"/>
        </p:nvPicPr>
        <p:blipFill>
          <a:blip r:embed="rId2"/>
          <a:stretch>
            <a:fillRect/>
          </a:stretch>
        </p:blipFill>
        <p:spPr>
          <a:xfrm>
            <a:off x="2859631" y="3630765"/>
            <a:ext cx="257143" cy="285714"/>
          </a:xfrm>
          <a:prstGeom prst="rect">
            <a:avLst/>
          </a:prstGeom>
        </p:spPr>
      </p:pic>
      <p:pic>
        <p:nvPicPr>
          <p:cNvPr id="34" name="Picture 33">
            <a:extLst>
              <a:ext uri="{FF2B5EF4-FFF2-40B4-BE49-F238E27FC236}">
                <a16:creationId xmlns:a16="http://schemas.microsoft.com/office/drawing/2014/main" id="{8930DBB6-AA18-4CCC-8A74-1A211F07B459}"/>
              </a:ext>
            </a:extLst>
          </p:cNvPr>
          <p:cNvPicPr>
            <a:picLocks noChangeAspect="1"/>
          </p:cNvPicPr>
          <p:nvPr userDrawn="1"/>
        </p:nvPicPr>
        <p:blipFill rotWithShape="1">
          <a:blip r:embed="rId3"/>
          <a:srcRect l="3901" t="45142" r="62601" b="9046"/>
          <a:stretch/>
        </p:blipFill>
        <p:spPr>
          <a:xfrm>
            <a:off x="6631300" y="3147788"/>
            <a:ext cx="341204" cy="321707"/>
          </a:xfrm>
          <a:prstGeom prst="rect">
            <a:avLst/>
          </a:prstGeom>
        </p:spPr>
      </p:pic>
      <p:pic>
        <p:nvPicPr>
          <p:cNvPr id="2" name="Billede 1">
            <a:extLst>
              <a:ext uri="{FF2B5EF4-FFF2-40B4-BE49-F238E27FC236}">
                <a16:creationId xmlns:a16="http://schemas.microsoft.com/office/drawing/2014/main" id="{0C22BDAC-B124-43F1-8284-B7ABECB11D4C}"/>
              </a:ext>
            </a:extLst>
          </p:cNvPr>
          <p:cNvPicPr>
            <a:picLocks noChangeAspect="1"/>
          </p:cNvPicPr>
          <p:nvPr userDrawn="1"/>
        </p:nvPicPr>
        <p:blipFill>
          <a:blip r:embed="rId4"/>
          <a:stretch>
            <a:fillRect/>
          </a:stretch>
        </p:blipFill>
        <p:spPr>
          <a:xfrm>
            <a:off x="2865078" y="4525372"/>
            <a:ext cx="308589" cy="528030"/>
          </a:xfrm>
          <a:prstGeom prst="rect">
            <a:avLst/>
          </a:prstGeom>
        </p:spPr>
      </p:pic>
      <p:pic>
        <p:nvPicPr>
          <p:cNvPr id="5" name="Billede 4">
            <a:extLst>
              <a:ext uri="{FF2B5EF4-FFF2-40B4-BE49-F238E27FC236}">
                <a16:creationId xmlns:a16="http://schemas.microsoft.com/office/drawing/2014/main" id="{33DEAD47-C86F-4141-B5C1-25878B11926F}"/>
              </a:ext>
            </a:extLst>
          </p:cNvPr>
          <p:cNvPicPr>
            <a:picLocks noChangeAspect="1"/>
          </p:cNvPicPr>
          <p:nvPr userDrawn="1"/>
        </p:nvPicPr>
        <p:blipFill rotWithShape="1">
          <a:blip r:embed="rId5"/>
          <a:srcRect l="3031"/>
          <a:stretch/>
        </p:blipFill>
        <p:spPr>
          <a:xfrm>
            <a:off x="6703714" y="2041703"/>
            <a:ext cx="496606" cy="172842"/>
          </a:xfrm>
          <a:prstGeom prst="rect">
            <a:avLst/>
          </a:prstGeom>
        </p:spPr>
      </p:pic>
      <p:pic>
        <p:nvPicPr>
          <p:cNvPr id="6" name="Billede 5">
            <a:extLst>
              <a:ext uri="{FF2B5EF4-FFF2-40B4-BE49-F238E27FC236}">
                <a16:creationId xmlns:a16="http://schemas.microsoft.com/office/drawing/2014/main" id="{B1665661-0DB0-4C2E-A6CA-698F364812D0}"/>
              </a:ext>
            </a:extLst>
          </p:cNvPr>
          <p:cNvPicPr>
            <a:picLocks noChangeAspect="1"/>
          </p:cNvPicPr>
          <p:nvPr userDrawn="1"/>
        </p:nvPicPr>
        <p:blipFill>
          <a:blip r:embed="rId6"/>
          <a:stretch>
            <a:fillRect/>
          </a:stretch>
        </p:blipFill>
        <p:spPr>
          <a:xfrm>
            <a:off x="6707444" y="3829283"/>
            <a:ext cx="366043" cy="480431"/>
          </a:xfrm>
          <a:prstGeom prst="rect">
            <a:avLst/>
          </a:prstGeom>
        </p:spPr>
      </p:pic>
      <p:pic>
        <p:nvPicPr>
          <p:cNvPr id="18" name="Picture 17">
            <a:extLst>
              <a:ext uri="{FF2B5EF4-FFF2-40B4-BE49-F238E27FC236}">
                <a16:creationId xmlns:a16="http://schemas.microsoft.com/office/drawing/2014/main" id="{B45B4842-526F-49BC-BF80-0BF98368A0C3}"/>
              </a:ext>
            </a:extLst>
          </p:cNvPr>
          <p:cNvPicPr>
            <a:picLocks noChangeAspect="1"/>
          </p:cNvPicPr>
          <p:nvPr userDrawn="1"/>
        </p:nvPicPr>
        <p:blipFill>
          <a:blip r:embed="rId7"/>
          <a:stretch>
            <a:fillRect/>
          </a:stretch>
        </p:blipFill>
        <p:spPr>
          <a:xfrm>
            <a:off x="2860172" y="2863199"/>
            <a:ext cx="457143" cy="257143"/>
          </a:xfrm>
          <a:prstGeom prst="rect">
            <a:avLst/>
          </a:prstGeom>
        </p:spPr>
      </p:pic>
      <p:pic>
        <p:nvPicPr>
          <p:cNvPr id="20" name="Picture 19">
            <a:extLst>
              <a:ext uri="{FF2B5EF4-FFF2-40B4-BE49-F238E27FC236}">
                <a16:creationId xmlns:a16="http://schemas.microsoft.com/office/drawing/2014/main" id="{9E3AF786-FE3C-4952-BA84-3A083206C1D6}"/>
              </a:ext>
            </a:extLst>
          </p:cNvPr>
          <p:cNvPicPr>
            <a:picLocks noChangeAspect="1"/>
          </p:cNvPicPr>
          <p:nvPr userDrawn="1"/>
        </p:nvPicPr>
        <p:blipFill>
          <a:blip r:embed="rId8"/>
          <a:stretch>
            <a:fillRect/>
          </a:stretch>
        </p:blipFill>
        <p:spPr>
          <a:xfrm>
            <a:off x="2866052" y="5203140"/>
            <a:ext cx="475428" cy="176762"/>
          </a:xfrm>
          <a:prstGeom prst="rect">
            <a:avLst/>
          </a:prstGeom>
        </p:spPr>
      </p:pic>
      <p:pic>
        <p:nvPicPr>
          <p:cNvPr id="13" name="Billede 12">
            <a:extLst>
              <a:ext uri="{FF2B5EF4-FFF2-40B4-BE49-F238E27FC236}">
                <a16:creationId xmlns:a16="http://schemas.microsoft.com/office/drawing/2014/main" id="{7171008A-6249-409C-A3F2-0E295019691D}"/>
              </a:ext>
            </a:extLst>
          </p:cNvPr>
          <p:cNvPicPr>
            <a:picLocks noChangeAspect="1"/>
          </p:cNvPicPr>
          <p:nvPr userDrawn="1"/>
        </p:nvPicPr>
        <p:blipFill>
          <a:blip r:embed="rId9"/>
          <a:stretch>
            <a:fillRect/>
          </a:stretch>
        </p:blipFill>
        <p:spPr>
          <a:xfrm>
            <a:off x="10717337" y="2144296"/>
            <a:ext cx="440195" cy="543366"/>
          </a:xfrm>
          <a:prstGeom prst="rect">
            <a:avLst/>
          </a:prstGeom>
        </p:spPr>
      </p:pic>
      <p:sp>
        <p:nvSpPr>
          <p:cNvPr id="4" name="Pladsholder til dato 3">
            <a:extLst>
              <a:ext uri="{FF2B5EF4-FFF2-40B4-BE49-F238E27FC236}">
                <a16:creationId xmlns:a16="http://schemas.microsoft.com/office/drawing/2014/main" id="{EA938CD2-C739-4627-83CC-2F1E4706AEF4}"/>
              </a:ext>
            </a:extLst>
          </p:cNvPr>
          <p:cNvSpPr>
            <a:spLocks noGrp="1"/>
          </p:cNvSpPr>
          <p:nvPr>
            <p:ph type="dt" sz="half" idx="10"/>
          </p:nvPr>
        </p:nvSpPr>
        <p:spPr/>
        <p:txBody>
          <a:bodyPr/>
          <a:lstStyle/>
          <a:p>
            <a:pPr>
              <a:lnSpc>
                <a:spcPct val="92000"/>
              </a:lnSpc>
            </a:pPr>
            <a:fld id="{48227CAE-FFE9-4932-8D12-A948F40EE981}" type="datetime2">
              <a:rPr lang="da-DK" smtClean="0"/>
              <a:t>18. januar 2022</a:t>
            </a:fld>
            <a:endParaRPr lang="da-DK"/>
          </a:p>
        </p:txBody>
      </p:sp>
      <p:sp>
        <p:nvSpPr>
          <p:cNvPr id="7" name="Pladsholder til sidefod 6">
            <a:extLst>
              <a:ext uri="{FF2B5EF4-FFF2-40B4-BE49-F238E27FC236}">
                <a16:creationId xmlns:a16="http://schemas.microsoft.com/office/drawing/2014/main" id="{BBB3D2BA-5323-4183-BFFF-3E903236B585}"/>
              </a:ext>
            </a:extLst>
          </p:cNvPr>
          <p:cNvSpPr>
            <a:spLocks noGrp="1"/>
          </p:cNvSpPr>
          <p:nvPr>
            <p:ph type="ftr" sz="quarter" idx="11"/>
          </p:nvPr>
        </p:nvSpPr>
        <p:spPr/>
        <p:txBody>
          <a:bodyPr/>
          <a:lstStyle/>
          <a:p>
            <a:pPr>
              <a:lnSpc>
                <a:spcPct val="92000"/>
              </a:lnSpc>
            </a:pPr>
            <a:endParaRPr lang="da-DK"/>
          </a:p>
        </p:txBody>
      </p:sp>
      <p:sp>
        <p:nvSpPr>
          <p:cNvPr id="8" name="Pladsholder til slidenummer 7">
            <a:extLst>
              <a:ext uri="{FF2B5EF4-FFF2-40B4-BE49-F238E27FC236}">
                <a16:creationId xmlns:a16="http://schemas.microsoft.com/office/drawing/2014/main" id="{80393ADF-2309-4E16-9E0A-F8391A6F73F8}"/>
              </a:ext>
            </a:extLst>
          </p:cNvPr>
          <p:cNvSpPr>
            <a:spLocks noGrp="1"/>
          </p:cNvSpPr>
          <p:nvPr>
            <p:ph type="sldNum" sz="quarter" idx="12"/>
          </p:nvPr>
        </p:nvSpPr>
        <p:spPr/>
        <p:txBody>
          <a:bodyPr/>
          <a:lstStyle/>
          <a:p>
            <a:pPr>
              <a:lnSpc>
                <a:spcPct val="92000"/>
              </a:lnSpc>
            </a:pPr>
            <a:fld id="{24C8C45C-947F-4981-8B3F-4F32E973C901}" type="slidenum">
              <a:rPr lang="da-DK" smtClean="0"/>
              <a:pPr>
                <a:lnSpc>
                  <a:spcPct val="92000"/>
                </a:lnSpc>
              </a:pPr>
              <a:t>‹nr.›</a:t>
            </a:fld>
            <a:endParaRPr lang="da-DK"/>
          </a:p>
        </p:txBody>
      </p:sp>
    </p:spTree>
    <p:extLst>
      <p:ext uri="{BB962C8B-B14F-4D97-AF65-F5344CB8AC3E}">
        <p14:creationId xmlns:p14="http://schemas.microsoft.com/office/powerpoint/2010/main" val="37822258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t;Brug ikke layouts efter dette &gt;&g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4400" b="0" noProof="0">
                <a:solidFill>
                  <a:schemeClr val="bg1"/>
                </a:solidFill>
              </a:rPr>
              <a:t>Hvis du ser andre </a:t>
            </a:r>
            <a:r>
              <a:rPr lang="da-DK" sz="4400" b="1" i="0" noProof="0">
                <a:solidFill>
                  <a:schemeClr val="bg1"/>
                </a:solidFill>
              </a:rPr>
              <a:t>layouts efter dette,</a:t>
            </a:r>
            <a:br>
              <a:rPr lang="da-DK" sz="4400" b="0" i="0" noProof="0">
                <a:solidFill>
                  <a:schemeClr val="bg1"/>
                </a:solidFill>
              </a:rPr>
            </a:br>
            <a:r>
              <a:rPr lang="da-DK" sz="4400" b="0" noProof="0">
                <a:solidFill>
                  <a:schemeClr val="bg1"/>
                </a:solidFill>
              </a:rPr>
              <a:t>brug dem ikke. Disse layouts </a:t>
            </a:r>
            <a:r>
              <a:rPr lang="da-DK" sz="4400" b="1" i="0" u="none" noProof="0">
                <a:solidFill>
                  <a:schemeClr val="bg1"/>
                </a:solidFill>
              </a:rPr>
              <a:t>tilhører ikke </a:t>
            </a:r>
            <a:r>
              <a:rPr lang="da-DK" sz="4400" b="0" i="0" u="none" noProof="0">
                <a:solidFill>
                  <a:schemeClr val="bg1"/>
                </a:solidFill>
              </a:rPr>
              <a:t>vores </a:t>
            </a:r>
            <a:r>
              <a:rPr lang="da-DK" sz="4400" b="0" i="0" u="none" noProof="1">
                <a:solidFill>
                  <a:schemeClr val="bg1"/>
                </a:solidFill>
              </a:rPr>
              <a:t>corporate</a:t>
            </a:r>
            <a:r>
              <a:rPr lang="da-DK" sz="4400" b="0" noProof="0">
                <a:solidFill>
                  <a:schemeClr val="bg1"/>
                </a:solidFill>
              </a:rPr>
              <a:t>skabelon.</a:t>
            </a:r>
            <a:br>
              <a:rPr lang="da-DK" sz="2800" b="0" noProof="0">
                <a:solidFill>
                  <a:schemeClr val="bg1"/>
                </a:solidFill>
              </a:rPr>
            </a:br>
            <a:br>
              <a:rPr lang="da-DK" sz="2800" b="0" noProof="0">
                <a:solidFill>
                  <a:schemeClr val="bg1"/>
                </a:solidFill>
              </a:rPr>
            </a:br>
            <a:endParaRPr lang="da-DK"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da-DK"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72536" y="2986685"/>
            <a:ext cx="10152346" cy="1661993"/>
          </a:xfrm>
          <a:prstGeom prst="rect">
            <a:avLst/>
          </a:prstGeom>
        </p:spPr>
        <p:txBody>
          <a:bodyPr wrap="square">
            <a:spAutoFit/>
          </a:bodyPr>
          <a:lstStyle/>
          <a:p>
            <a:pPr algn="ctr"/>
            <a:r>
              <a:rPr lang="da-DK" sz="10200" b="1" i="0" noProof="0">
                <a:solidFill>
                  <a:schemeClr val="bg1"/>
                </a:solidFill>
                <a:latin typeface="+mj-lt"/>
              </a:rPr>
              <a:t>Brug dem ikke </a:t>
            </a:r>
            <a:endParaRPr lang="da-DK" sz="10200" b="1" i="0" noProof="0">
              <a:latin typeface="+mj-lt"/>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127727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da-DK" sz="2000" b="0" noProof="0">
                <a:solidFill>
                  <a:schemeClr val="bg1"/>
                </a:solidFill>
              </a:rPr>
              <a:t>Pga. PowerPoints standard Kopier/Indsæt funktionalitet </a:t>
            </a:r>
            <a:br>
              <a:rPr lang="da-DK" sz="2000" b="0" noProof="0">
                <a:solidFill>
                  <a:schemeClr val="bg1"/>
                </a:solidFill>
              </a:rPr>
            </a:br>
            <a:r>
              <a:rPr lang="da-DK" sz="2000" b="0" noProof="0">
                <a:solidFill>
                  <a:schemeClr val="bg1"/>
                </a:solidFill>
              </a:rPr>
              <a:t>kan ekstra uønskede layouts forekomme.</a:t>
            </a:r>
          </a:p>
          <a:p>
            <a:pPr marL="0" marR="0" indent="0" algn="ctr" fontAlgn="auto">
              <a:lnSpc>
                <a:spcPct val="100000"/>
              </a:lnSpc>
              <a:spcBef>
                <a:spcPts val="600"/>
              </a:spcBef>
              <a:spcAft>
                <a:spcPts val="0"/>
              </a:spcAft>
              <a:buClr>
                <a:srgbClr val="003755"/>
              </a:buClr>
              <a:buSzTx/>
              <a:buFontTx/>
              <a:buNone/>
              <a:tabLst/>
            </a:pPr>
            <a:r>
              <a:rPr lang="da-DK" sz="2000" b="0" noProof="0">
                <a:solidFill>
                  <a:schemeClr val="bg1"/>
                </a:solidFill>
                <a:latin typeface="+mj-lt"/>
              </a:rPr>
              <a:t>OBS! </a:t>
            </a:r>
            <a:r>
              <a:rPr lang="da-DK" sz="2000" b="0" noProof="0">
                <a:solidFill>
                  <a:schemeClr val="bg1"/>
                </a:solidFill>
              </a:rPr>
              <a:t>Layouts efter dette kan indeholde potentiel fortrolig information.</a:t>
            </a:r>
            <a:br>
              <a:rPr lang="da-DK" sz="1800" b="0" noProof="0">
                <a:solidFill>
                  <a:schemeClr val="bg1"/>
                </a:solidFill>
              </a:rPr>
            </a:br>
            <a:endParaRPr lang="da-DK"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fld id="{58FAD4FE-90B9-452F-878D-0B498FC5E756}" type="datetime2">
              <a:rPr lang="da-DK" smtClean="0"/>
              <a:t>18. januar 2022</a:t>
            </a:fld>
            <a:endParaRPr lang="da-DK"/>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endParaRPr lang="da-DK"/>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p:spPr>
        <p:txBody>
          <a:bodyPr/>
          <a:lstStyle>
            <a:lvl1pPr>
              <a:defRPr>
                <a:no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4886622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og highlight A">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69E18600-227F-4E4C-A542-AE6D679271E8}"/>
              </a:ext>
            </a:extLst>
          </p:cNvPr>
          <p:cNvSpPr/>
          <p:nvPr userDrawn="1"/>
        </p:nvSpPr>
        <p:spPr>
          <a:xfrm>
            <a:off x="6869114" y="0"/>
            <a:ext cx="5324086" cy="6861600"/>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3" name="Content Placeholder 6">
            <a:extLst>
              <a:ext uri="{FF2B5EF4-FFF2-40B4-BE49-F238E27FC236}">
                <a16:creationId xmlns:a16="http://schemas.microsoft.com/office/drawing/2014/main" id="{398DC524-DCAD-496C-8909-B8680166E205}"/>
              </a:ext>
            </a:extLst>
          </p:cNvPr>
          <p:cNvSpPr>
            <a:spLocks noGrp="1"/>
          </p:cNvSpPr>
          <p:nvPr>
            <p:ph sz="quarter" idx="25"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Pladsholder til tekst 25">
            <a:extLst>
              <a:ext uri="{FF2B5EF4-FFF2-40B4-BE49-F238E27FC236}">
                <a16:creationId xmlns:a16="http://schemas.microsoft.com/office/drawing/2014/main" id="{0D0C7679-B3C8-4435-821D-20376260C135}"/>
              </a:ext>
            </a:extLst>
          </p:cNvPr>
          <p:cNvSpPr>
            <a:spLocks noGrp="1"/>
          </p:cNvSpPr>
          <p:nvPr>
            <p:ph type="body" sz="quarter" idx="23" hasCustomPrompt="1"/>
          </p:nvPr>
        </p:nvSpPr>
        <p:spPr>
          <a:xfrm>
            <a:off x="7412039" y="989013"/>
            <a:ext cx="4235448" cy="3740087"/>
          </a:xfrm>
        </p:spPr>
        <p:txBody>
          <a:bodyPr anchor="b" anchorCtr="0"/>
          <a:lstStyle>
            <a:lvl1pPr marL="0" indent="0" algn="ctr">
              <a:lnSpc>
                <a:spcPct val="83000"/>
              </a:lnSpc>
              <a:buNone/>
              <a:defRPr sz="12600" spc="-100" baseline="0">
                <a:solidFill>
                  <a:schemeClr val="bg1"/>
                </a:solidFill>
                <a:latin typeface="+mj-lt"/>
              </a:defRPr>
            </a:lvl1pPr>
          </a:lstStyle>
          <a:p>
            <a:pPr lvl="0"/>
            <a:r>
              <a:rPr lang="da-DK"/>
              <a:t>0,0 </a:t>
            </a:r>
            <a:r>
              <a:rPr lang="da-DK" err="1"/>
              <a:t>mio</a:t>
            </a:r>
            <a:endParaRPr lang="da-DK"/>
          </a:p>
        </p:txBody>
      </p:sp>
      <p:sp>
        <p:nvSpPr>
          <p:cNvPr id="22" name="Pladsholder til tekst 27">
            <a:extLst>
              <a:ext uri="{FF2B5EF4-FFF2-40B4-BE49-F238E27FC236}">
                <a16:creationId xmlns:a16="http://schemas.microsoft.com/office/drawing/2014/main" id="{24E2C8F7-0A12-45CD-A85B-DBAD4B0DCB81}"/>
              </a:ext>
            </a:extLst>
          </p:cNvPr>
          <p:cNvSpPr>
            <a:spLocks noGrp="1"/>
          </p:cNvSpPr>
          <p:nvPr>
            <p:ph type="body" sz="quarter" idx="24" hasCustomPrompt="1"/>
          </p:nvPr>
        </p:nvSpPr>
        <p:spPr>
          <a:xfrm>
            <a:off x="7414710" y="4697715"/>
            <a:ext cx="4232778" cy="974424"/>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4 linjer</a:t>
            </a:r>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fld id="{4A271DE6-F6F0-4CE9-A8BF-C1C12CFDB599}"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accent1"/>
                </a:solidFill>
              </a:defRPr>
            </a:lvl1pPr>
          </a:lstStyle>
          <a:p>
            <a:endParaRPr lang="da-DK">
              <a:solidFill>
                <a:schemeClr val="accent1"/>
              </a:solidFill>
            </a:endParaRP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Tree>
    <p:extLst>
      <p:ext uri="{BB962C8B-B14F-4D97-AF65-F5344CB8AC3E}">
        <p14:creationId xmlns:p14="http://schemas.microsoft.com/office/powerpoint/2010/main" val="4250440744"/>
      </p:ext>
    </p:extLst>
  </p:cSld>
  <p:clrMapOvr>
    <a:masterClrMapping/>
  </p:clrMapOvr>
  <p:extLst>
    <p:ext uri="{DCECCB84-F9BA-43D5-87BE-67443E8EF086}">
      <p15:sldGuideLst xmlns:p15="http://schemas.microsoft.com/office/powerpoint/2012/main">
        <p15:guide id="1" pos="4669" userDrawn="1">
          <p15:clr>
            <a:srgbClr val="F26B43"/>
          </p15:clr>
        </p15:guide>
        <p15:guide id="2" orient="horz" pos="623" userDrawn="1">
          <p15:clr>
            <a:srgbClr val="000000"/>
          </p15:clr>
        </p15:guide>
        <p15:guide id="3" orient="horz" pos="3573" userDrawn="1">
          <p15:clr>
            <a:srgbClr val="00000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60376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6A910A81-BF8B-4AD3-9987-990E8D4B68C7}" type="datetime2">
              <a:rPr lang="da-DK" smtClean="0"/>
              <a:t>18. januar 2022</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Introduktion til agile metoder</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8471383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Question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73302C9-9CCE-E444-BBCB-D9415F5DE49D}"/>
              </a:ext>
            </a:extLst>
          </p:cNvPr>
          <p:cNvSpPr>
            <a:spLocks noGrp="1"/>
          </p:cNvSpPr>
          <p:nvPr>
            <p:ph type="pic" sz="quarter" idx="12" hasCustomPrompt="1"/>
          </p:nvPr>
        </p:nvSpPr>
        <p:spPr>
          <a:xfrm>
            <a:off x="432599" y="2675238"/>
            <a:ext cx="4758591" cy="4182763"/>
          </a:xfrm>
          <a:custGeom>
            <a:avLst/>
            <a:gdLst>
              <a:gd name="connsiteX0" fmla="*/ 4757353 w 9514704"/>
              <a:gd name="connsiteY0" fmla="*/ 0 h 8365525"/>
              <a:gd name="connsiteX1" fmla="*/ 9514704 w 9514704"/>
              <a:gd name="connsiteY1" fmla="*/ 4757352 h 8365525"/>
              <a:gd name="connsiteX2" fmla="*/ 7956088 w 9514704"/>
              <a:gd name="connsiteY2" fmla="*/ 8278830 h 8365525"/>
              <a:gd name="connsiteX3" fmla="*/ 7856005 w 9514704"/>
              <a:gd name="connsiteY3" fmla="*/ 8365525 h 8365525"/>
              <a:gd name="connsiteX4" fmla="*/ 1658700 w 9514704"/>
              <a:gd name="connsiteY4" fmla="*/ 8365525 h 8365525"/>
              <a:gd name="connsiteX5" fmla="*/ 1558616 w 9514704"/>
              <a:gd name="connsiteY5" fmla="*/ 8278830 h 8365525"/>
              <a:gd name="connsiteX6" fmla="*/ 0 w 9514704"/>
              <a:gd name="connsiteY6" fmla="*/ 4757352 h 8365525"/>
              <a:gd name="connsiteX7" fmla="*/ 4757353 w 9514704"/>
              <a:gd name="connsiteY7" fmla="*/ 0 h 836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14704" h="8365525">
                <a:moveTo>
                  <a:pt x="4757353" y="0"/>
                </a:moveTo>
                <a:cubicBezTo>
                  <a:pt x="7384766" y="0"/>
                  <a:pt x="9514704" y="2129939"/>
                  <a:pt x="9514704" y="4757352"/>
                </a:cubicBezTo>
                <a:cubicBezTo>
                  <a:pt x="9514704" y="6153165"/>
                  <a:pt x="8913579" y="7408578"/>
                  <a:pt x="7956088" y="8278830"/>
                </a:cubicBezTo>
                <a:lnTo>
                  <a:pt x="7856005" y="8365525"/>
                </a:lnTo>
                <a:lnTo>
                  <a:pt x="1658700" y="8365525"/>
                </a:lnTo>
                <a:lnTo>
                  <a:pt x="1558616" y="8278830"/>
                </a:lnTo>
                <a:cubicBezTo>
                  <a:pt x="601126" y="7408578"/>
                  <a:pt x="0" y="6153165"/>
                  <a:pt x="0" y="4757352"/>
                </a:cubicBezTo>
                <a:cubicBezTo>
                  <a:pt x="0" y="2129939"/>
                  <a:pt x="2129939" y="0"/>
                  <a:pt x="4757353" y="0"/>
                </a:cubicBezTo>
                <a:close/>
              </a:path>
            </a:pathLst>
          </a:custGeom>
          <a:solidFill>
            <a:schemeClr val="bg2">
              <a:lumMod val="95000"/>
            </a:schemeClr>
          </a:solidFill>
        </p:spPr>
        <p:txBody>
          <a:bodyPr wrap="square" anchor="ctr">
            <a:noAutofit/>
          </a:bodyPr>
          <a:lstStyle>
            <a:lvl1pPr marL="0" indent="0" algn="ctr">
              <a:buNone/>
              <a:defRPr lang="en-US" sz="1200" dirty="0"/>
            </a:lvl1pPr>
          </a:lstStyle>
          <a:p>
            <a:pPr lvl="0"/>
            <a:r>
              <a:rPr lang="en-US"/>
              <a:t>Drag and drop picture</a:t>
            </a:r>
          </a:p>
        </p:txBody>
      </p:sp>
      <p:sp>
        <p:nvSpPr>
          <p:cNvPr id="3" name="Rectangle 2">
            <a:extLst>
              <a:ext uri="{FF2B5EF4-FFF2-40B4-BE49-F238E27FC236}">
                <a16:creationId xmlns:a16="http://schemas.microsoft.com/office/drawing/2014/main" id="{C9EB03A3-B96F-8C4F-9F30-DA1E7B30ABC7}"/>
              </a:ext>
            </a:extLst>
          </p:cNvPr>
          <p:cNvSpPr/>
          <p:nvPr userDrawn="1"/>
        </p:nvSpPr>
        <p:spPr>
          <a:xfrm>
            <a:off x="11046015" y="327074"/>
            <a:ext cx="464355" cy="397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0" i="0">
              <a:latin typeface="Nunito Sans ExtraLight" pitchFamily="2" charset="77"/>
            </a:endParaRPr>
          </a:p>
        </p:txBody>
      </p:sp>
    </p:spTree>
    <p:extLst>
      <p:ext uri="{BB962C8B-B14F-4D97-AF65-F5344CB8AC3E}">
        <p14:creationId xmlns:p14="http://schemas.microsoft.com/office/powerpoint/2010/main" val="16103213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el">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C4A07BFB-B7C8-43EB-ADFE-817CCD0F474B}"/>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ctrTitle" hasCustomPrompt="1"/>
          </p:nvPr>
        </p:nvSpPr>
        <p:spPr>
          <a:xfrm>
            <a:off x="539750" y="2060707"/>
            <a:ext cx="7286626" cy="1399670"/>
          </a:xfrm>
        </p:spPr>
        <p:txBody>
          <a:bodyPr anchor="b"/>
          <a:lstStyle>
            <a:lvl1pPr algn="l">
              <a:defRPr sz="5000">
                <a:solidFill>
                  <a:schemeClr val="tx1"/>
                </a:solidFill>
              </a:defRPr>
            </a:lvl1pPr>
          </a:lstStyle>
          <a:p>
            <a:r>
              <a:rPr lang="da-DK"/>
              <a:t>Klik for at tilføje titel</a:t>
            </a:r>
          </a:p>
        </p:txBody>
      </p:sp>
      <p:sp>
        <p:nvSpPr>
          <p:cNvPr id="3" name="Subtitle 2"/>
          <p:cNvSpPr>
            <a:spLocks noGrp="1"/>
          </p:cNvSpPr>
          <p:nvPr>
            <p:ph type="subTitle" idx="1" hasCustomPrompt="1"/>
          </p:nvPr>
        </p:nvSpPr>
        <p:spPr>
          <a:xfrm>
            <a:off x="539749" y="3701667"/>
            <a:ext cx="5373689" cy="792000"/>
          </a:xfrm>
        </p:spPr>
        <p:txBody>
          <a:bodyPr/>
          <a:lstStyle>
            <a:lvl1pPr marL="0" indent="0" algn="l">
              <a:lnSpc>
                <a:spcPct val="110000"/>
              </a:lnSpc>
              <a:spcBef>
                <a:spcPts val="0"/>
              </a:spcBef>
              <a:buFont typeface="Arial" panose="020B0604020202020204" pitchFamily="34" charset="0"/>
              <a:buChar char="​"/>
              <a:defRPr sz="1800" b="0">
                <a:latin typeface="+mn-lt"/>
              </a:defRPr>
            </a:lvl1pPr>
            <a:lvl2pPr marL="0" indent="0" algn="l">
              <a:lnSpc>
                <a:spcPct val="110000"/>
              </a:lnSpc>
              <a:buFont typeface="Arial" panose="020B0604020202020204" pitchFamily="34" charset="0"/>
              <a:buChar char="​"/>
              <a:defRPr sz="1800" b="0">
                <a:latin typeface="+mn-lt"/>
              </a:defRPr>
            </a:lvl2pPr>
            <a:lvl3pPr marL="0" indent="0" algn="l">
              <a:lnSpc>
                <a:spcPct val="110000"/>
              </a:lnSpc>
              <a:buFont typeface="Arial" panose="020B0604020202020204" pitchFamily="34" charset="0"/>
              <a:buChar char="​"/>
              <a:defRPr sz="1800" b="0">
                <a:latin typeface="+mn-lt"/>
              </a:defRPr>
            </a:lvl3pPr>
            <a:lvl4pPr marL="0" indent="0" algn="l">
              <a:lnSpc>
                <a:spcPct val="110000"/>
              </a:lnSpc>
              <a:buFont typeface="Arial" panose="020B0604020202020204" pitchFamily="34" charset="0"/>
              <a:buChar char="​"/>
              <a:defRPr sz="1800" b="0">
                <a:latin typeface="+mn-lt"/>
              </a:defRPr>
            </a:lvl4pPr>
            <a:lvl5pPr marL="0" indent="0" algn="l">
              <a:lnSpc>
                <a:spcPct val="110000"/>
              </a:lnSpc>
              <a:buFont typeface="Arial" panose="020B0604020202020204" pitchFamily="34" charset="0"/>
              <a:buChar char="​"/>
              <a:defRPr sz="1800" b="0">
                <a:latin typeface="+mn-lt"/>
              </a:defRPr>
            </a:lvl5pPr>
            <a:lvl6pPr marL="0" indent="0" algn="l">
              <a:lnSpc>
                <a:spcPct val="110000"/>
              </a:lnSpc>
              <a:spcAft>
                <a:spcPts val="0"/>
              </a:spcAft>
              <a:buFont typeface="Arial" panose="020B0604020202020204" pitchFamily="34" charset="0"/>
              <a:buChar char="​"/>
              <a:defRPr sz="1800" b="0">
                <a:latin typeface="+mn-lt"/>
              </a:defRPr>
            </a:lvl6pPr>
            <a:lvl7pPr marL="0" indent="0" algn="l">
              <a:lnSpc>
                <a:spcPct val="110000"/>
              </a:lnSpc>
              <a:spcAft>
                <a:spcPts val="0"/>
              </a:spcAft>
              <a:buFont typeface="Arial" panose="020B0604020202020204" pitchFamily="34" charset="0"/>
              <a:buChar char="​"/>
              <a:defRPr sz="1800" b="0">
                <a:latin typeface="+mn-lt"/>
              </a:defRPr>
            </a:lvl7pPr>
            <a:lvl8pPr marL="0" indent="0" algn="l">
              <a:lnSpc>
                <a:spcPct val="110000"/>
              </a:lnSpc>
              <a:buFont typeface="Arial" panose="020B0604020202020204" pitchFamily="34" charset="0"/>
              <a:buChar char="​"/>
              <a:defRPr sz="1800" b="0">
                <a:latin typeface="+mn-lt"/>
              </a:defRPr>
            </a:lvl8pPr>
            <a:lvl9pPr marL="0" indent="0" algn="l">
              <a:lnSpc>
                <a:spcPct val="110000"/>
              </a:lnSpc>
              <a:buFont typeface="Arial" panose="020B0604020202020204" pitchFamily="34" charset="0"/>
              <a:buChar char="​"/>
              <a:defRPr sz="1800" b="0">
                <a:latin typeface="+mn-lt"/>
              </a:defRPr>
            </a:lvl9pPr>
          </a:lstStyle>
          <a:p>
            <a:r>
              <a:rPr lang="da-DK"/>
              <a:t>Klik for at tilføje undertitel</a:t>
            </a:r>
          </a:p>
          <a:p>
            <a:pPr lvl="1"/>
            <a:endParaRPr lang="da-DK"/>
          </a:p>
        </p:txBody>
      </p:sp>
      <p:sp>
        <p:nvSpPr>
          <p:cNvPr id="17" name="Pladsholder til tekst 16">
            <a:extLst>
              <a:ext uri="{FF2B5EF4-FFF2-40B4-BE49-F238E27FC236}">
                <a16:creationId xmlns:a16="http://schemas.microsoft.com/office/drawing/2014/main" id="{868AF397-8B8F-4478-A2C4-7EAA862E1B03}"/>
              </a:ext>
            </a:extLst>
          </p:cNvPr>
          <p:cNvSpPr>
            <a:spLocks noGrp="1"/>
          </p:cNvSpPr>
          <p:nvPr>
            <p:ph type="body" sz="quarter" idx="13" hasCustomPrompt="1"/>
          </p:nvPr>
        </p:nvSpPr>
        <p:spPr>
          <a:xfrm>
            <a:off x="8185150" y="309600"/>
            <a:ext cx="1552574" cy="136113"/>
          </a:xfrm>
        </p:spPr>
        <p:txBody>
          <a:bodyPr/>
          <a:lstStyle>
            <a:lvl1pPr marL="0" indent="0">
              <a:lnSpc>
                <a:spcPct val="92000"/>
              </a:lnSpc>
              <a:buNone/>
              <a:defRPr sz="900" b="1"/>
            </a:lvl1pPr>
            <a:lvl2pPr>
              <a:lnSpc>
                <a:spcPct val="92000"/>
              </a:lnSpc>
              <a:buFont typeface="Arial" panose="020B0604020202020204" pitchFamily="34" charset="0"/>
              <a:buChar char="•"/>
              <a:defRPr sz="900"/>
            </a:lvl2pPr>
            <a:lvl3pPr>
              <a:lnSpc>
                <a:spcPct val="92000"/>
              </a:lnSpc>
              <a:defRPr sz="900"/>
            </a:lvl3pPr>
            <a:lvl4pPr>
              <a:lnSpc>
                <a:spcPct val="92000"/>
              </a:lnSpc>
              <a:defRPr sz="900"/>
            </a:lvl4pPr>
            <a:lvl5pPr>
              <a:lnSpc>
                <a:spcPct val="92000"/>
              </a:lnSpc>
              <a:defRPr sz="900"/>
            </a:lvl5pPr>
          </a:lstStyle>
          <a:p>
            <a:pPr lvl="0"/>
            <a:r>
              <a:rPr lang="da-DK"/>
              <a:t>Klik for at tilføje navn</a:t>
            </a:r>
          </a:p>
        </p:txBody>
      </p:sp>
      <p:sp>
        <p:nvSpPr>
          <p:cNvPr id="19" name="Pladsholder til tekst 18">
            <a:extLst>
              <a:ext uri="{FF2B5EF4-FFF2-40B4-BE49-F238E27FC236}">
                <a16:creationId xmlns:a16="http://schemas.microsoft.com/office/drawing/2014/main" id="{68AA7718-5006-4A2C-94A8-A8D985B00772}"/>
              </a:ext>
            </a:extLst>
          </p:cNvPr>
          <p:cNvSpPr>
            <a:spLocks noGrp="1"/>
          </p:cNvSpPr>
          <p:nvPr>
            <p:ph type="body" sz="quarter" idx="14" hasCustomPrompt="1"/>
          </p:nvPr>
        </p:nvSpPr>
        <p:spPr>
          <a:xfrm>
            <a:off x="8185150" y="434065"/>
            <a:ext cx="1550988" cy="213635"/>
          </a:xfrm>
        </p:spPr>
        <p:txBody>
          <a:bodyPr/>
          <a:lstStyle>
            <a:lvl1pPr marL="0" indent="0">
              <a:lnSpc>
                <a:spcPct val="92000"/>
              </a:lnSpc>
              <a:buNone/>
              <a:defRPr sz="900"/>
            </a:lvl1pPr>
            <a:lvl2pPr>
              <a:lnSpc>
                <a:spcPct val="92000"/>
              </a:lnSpc>
              <a:defRPr sz="900"/>
            </a:lvl2pPr>
            <a:lvl3pPr>
              <a:lnSpc>
                <a:spcPct val="92000"/>
              </a:lnSpc>
              <a:defRPr sz="900"/>
            </a:lvl3pPr>
            <a:lvl4pPr>
              <a:lnSpc>
                <a:spcPct val="92000"/>
              </a:lnSpc>
              <a:defRPr sz="900"/>
            </a:lvl4pPr>
            <a:lvl5pPr>
              <a:lnSpc>
                <a:spcPct val="92000"/>
              </a:lnSpc>
              <a:defRPr sz="900"/>
            </a:lvl5pPr>
          </a:lstStyle>
          <a:p>
            <a:pPr lvl="0"/>
            <a:r>
              <a:rPr lang="da-DK"/>
              <a:t>Klik for at tilføje titel</a:t>
            </a:r>
          </a:p>
        </p:txBody>
      </p:sp>
      <p:sp>
        <p:nvSpPr>
          <p:cNvPr id="13" name="Date Placeholder 12">
            <a:extLst>
              <a:ext uri="{FF2B5EF4-FFF2-40B4-BE49-F238E27FC236}">
                <a16:creationId xmlns:a16="http://schemas.microsoft.com/office/drawing/2014/main" id="{9A16CC22-C22E-4867-9FF4-78C37293FB07}"/>
              </a:ext>
            </a:extLst>
          </p:cNvPr>
          <p:cNvSpPr>
            <a:spLocks noGrp="1"/>
          </p:cNvSpPr>
          <p:nvPr>
            <p:ph type="dt" sz="half" idx="10"/>
          </p:nvPr>
        </p:nvSpPr>
        <p:spPr>
          <a:xfrm>
            <a:off x="10096500" y="310722"/>
            <a:ext cx="1552574" cy="336977"/>
          </a:xfrm>
        </p:spPr>
        <p:txBody>
          <a:bodyPr anchor="t" anchorCtr="0"/>
          <a:lstStyle>
            <a:lvl1pPr algn="r">
              <a:lnSpc>
                <a:spcPct val="92000"/>
              </a:lnSpc>
              <a:defRPr sz="900">
                <a:solidFill>
                  <a:schemeClr val="tx1"/>
                </a:solidFill>
              </a:defRPr>
            </a:lvl1pPr>
          </a:lstStyle>
          <a:p>
            <a:fld id="{1CB61267-50B4-4E13-BA1D-D363D134A044}" type="datetime2">
              <a:rPr lang="da-DK" smtClean="0"/>
              <a:t>18. januar 2022</a:t>
            </a:fld>
            <a:endParaRPr lang="da-DK"/>
          </a:p>
        </p:txBody>
      </p:sp>
      <p:sp>
        <p:nvSpPr>
          <p:cNvPr id="14" name="Footer Placeholder 13">
            <a:extLst>
              <a:ext uri="{FF2B5EF4-FFF2-40B4-BE49-F238E27FC236}">
                <a16:creationId xmlns:a16="http://schemas.microsoft.com/office/drawing/2014/main" id="{B8600ECE-4620-45C3-9063-43E125AD94A1}"/>
              </a:ext>
            </a:extLst>
          </p:cNvPr>
          <p:cNvSpPr>
            <a:spLocks noGrp="1"/>
          </p:cNvSpPr>
          <p:nvPr>
            <p:ph type="ftr" sz="quarter" idx="11"/>
          </p:nvPr>
        </p:nvSpPr>
        <p:spPr>
          <a:xfrm>
            <a:off x="0" y="6858000"/>
            <a:ext cx="0" cy="0"/>
          </a:xfrm>
        </p:spPr>
        <p:txBody>
          <a:bodyPr/>
          <a:lstStyle>
            <a:lvl1pPr>
              <a:defRPr sz="100">
                <a:noFill/>
              </a:defRPr>
            </a:lvl1pPr>
          </a:lstStyle>
          <a:p>
            <a:endParaRPr lang="da-DK" sz="100"/>
          </a:p>
        </p:txBody>
      </p:sp>
      <p:sp>
        <p:nvSpPr>
          <p:cNvPr id="15" name="Slide Number Placeholder 14">
            <a:extLst>
              <a:ext uri="{FF2B5EF4-FFF2-40B4-BE49-F238E27FC236}">
                <a16:creationId xmlns:a16="http://schemas.microsoft.com/office/drawing/2014/main" id="{A55D2621-55A0-4EA5-882C-17143BFAB0E8}"/>
              </a:ext>
            </a:extLst>
          </p:cNvPr>
          <p:cNvSpPr>
            <a:spLocks noGrp="1"/>
          </p:cNvSpPr>
          <p:nvPr>
            <p:ph type="sldNum" sz="quarter" idx="12"/>
          </p:nvPr>
        </p:nvSpPr>
        <p:spPr>
          <a:xfrm>
            <a:off x="0" y="6858000"/>
            <a:ext cx="0" cy="0"/>
          </a:xfrm>
        </p:spPr>
        <p:txBody>
          <a:bodyPr/>
          <a:lstStyle>
            <a:lvl1pPr>
              <a:defRPr>
                <a:noFill/>
              </a:defRPr>
            </a:lvl1pPr>
          </a:lstStyle>
          <a:p>
            <a:fld id="{24C8C45C-947F-4981-8B3F-4F32E973C901}" type="slidenum">
              <a:rPr lang="da-DK" smtClean="0"/>
              <a:pPr/>
              <a:t>‹nr.›</a:t>
            </a:fld>
            <a:endParaRPr lang="da-DK"/>
          </a:p>
        </p:txBody>
      </p:sp>
      <p:pic>
        <p:nvPicPr>
          <p:cNvPr id="7" name="Billede 6">
            <a:extLst>
              <a:ext uri="{FF2B5EF4-FFF2-40B4-BE49-F238E27FC236}">
                <a16:creationId xmlns:a16="http://schemas.microsoft.com/office/drawing/2014/main" id="{78AD5285-EA74-40B9-8641-7F46F897B9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9750" y="237709"/>
            <a:ext cx="1722684" cy="515195"/>
          </a:xfrm>
          <a:prstGeom prst="rect">
            <a:avLst/>
          </a:prstGeom>
        </p:spPr>
      </p:pic>
      <p:pic>
        <p:nvPicPr>
          <p:cNvPr id="21" name="Pil">
            <a:extLst>
              <a:ext uri="{FF2B5EF4-FFF2-40B4-BE49-F238E27FC236}">
                <a16:creationId xmlns:a16="http://schemas.microsoft.com/office/drawing/2014/main" id="{6AB39D10-36B8-46FB-948D-350B242058C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85150" y="3403890"/>
            <a:ext cx="3462337" cy="2806014"/>
          </a:xfrm>
          <a:prstGeom prst="rect">
            <a:avLst/>
          </a:prstGeom>
        </p:spPr>
      </p:pic>
    </p:spTree>
    <p:extLst>
      <p:ext uri="{BB962C8B-B14F-4D97-AF65-F5344CB8AC3E}">
        <p14:creationId xmlns:p14="http://schemas.microsoft.com/office/powerpoint/2010/main" val="385955912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04">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3861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odelt (tekst/bille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39750" y="591138"/>
            <a:ext cx="7288213" cy="898297"/>
          </a:xfrm>
        </p:spPr>
        <p:txBody>
          <a:bodyPr/>
          <a:lstStyle>
            <a:lvl1pPr>
              <a:defRPr/>
            </a:lvl1pPr>
          </a:lstStyle>
          <a:p>
            <a:r>
              <a:rPr lang="da-DK"/>
              <a:t>Klik for at tilføje titel</a:t>
            </a:r>
            <a:endParaRPr lang="da-DK" noProof="0"/>
          </a:p>
        </p:txBody>
      </p:sp>
      <p:sp>
        <p:nvSpPr>
          <p:cNvPr id="10" name="Subtitle 2">
            <a:extLst>
              <a:ext uri="{FF2B5EF4-FFF2-40B4-BE49-F238E27FC236}">
                <a16:creationId xmlns:a16="http://schemas.microsoft.com/office/drawing/2014/main" id="{6810C78A-23C9-4426-9672-56EAFB0CECFC}"/>
              </a:ext>
            </a:extLst>
          </p:cNvPr>
          <p:cNvSpPr>
            <a:spLocks noGrp="1"/>
          </p:cNvSpPr>
          <p:nvPr>
            <p:ph type="subTitle" idx="15" hasCustomPrompt="1"/>
          </p:nvPr>
        </p:nvSpPr>
        <p:spPr>
          <a:xfrm>
            <a:off x="539750" y="1053909"/>
            <a:ext cx="7288214" cy="435526"/>
          </a:xfrm>
        </p:spPr>
        <p:txBody>
          <a:bodyPr/>
          <a:lstStyle>
            <a:lvl1pPr marL="0" indent="0" algn="l">
              <a:lnSpc>
                <a:spcPct val="100000"/>
              </a:lnSpc>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da-DK"/>
              <a:t>Klik for at tilføje underoverskrift i en linje</a:t>
            </a:r>
          </a:p>
        </p:txBody>
      </p:sp>
      <p:sp>
        <p:nvSpPr>
          <p:cNvPr id="7" name="Content Placeholder 2"/>
          <p:cNvSpPr>
            <a:spLocks noGrp="1"/>
          </p:cNvSpPr>
          <p:nvPr>
            <p:ph sz="quarter" idx="13"/>
          </p:nvPr>
        </p:nvSpPr>
        <p:spPr>
          <a:xfrm>
            <a:off x="539749" y="1818000"/>
            <a:ext cx="7288214" cy="4282763"/>
          </a:xfrm>
        </p:spPr>
        <p:txBody>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3" name="Picture Placeholder 3"/>
          <p:cNvSpPr>
            <a:spLocks noGrp="1"/>
          </p:cNvSpPr>
          <p:nvPr>
            <p:ph type="pic" sz="quarter" idx="14" hasCustomPrompt="1"/>
          </p:nvPr>
        </p:nvSpPr>
        <p:spPr>
          <a:xfrm>
            <a:off x="8186738" y="1871663"/>
            <a:ext cx="3463924" cy="4229100"/>
          </a:xfrm>
          <a:solidFill>
            <a:schemeClr val="bg2"/>
          </a:solidFill>
        </p:spPr>
        <p:txBody>
          <a:bodyPr lIns="540000" tIns="900000" rIns="540000" anchor="ctr" anchorCtr="0"/>
          <a:lstStyle>
            <a:lvl1pPr marL="0" indent="0" algn="ctr">
              <a:buNone/>
              <a:defRPr sz="1500"/>
            </a:lvl1pPr>
          </a:lstStyle>
          <a:p>
            <a:r>
              <a:rPr lang="da-DK" noProof="0"/>
              <a:t>Klik på ikonet for at tilføje billede eller grafik</a:t>
            </a:r>
          </a:p>
        </p:txBody>
      </p:sp>
      <p:sp>
        <p:nvSpPr>
          <p:cNvPr id="9" name="Date Placeholder 8">
            <a:extLst>
              <a:ext uri="{FF2B5EF4-FFF2-40B4-BE49-F238E27FC236}">
                <a16:creationId xmlns:a16="http://schemas.microsoft.com/office/drawing/2014/main" id="{F2E72B64-D55D-4FBA-AB42-4C2CA5D3CF63}"/>
              </a:ext>
            </a:extLst>
          </p:cNvPr>
          <p:cNvSpPr>
            <a:spLocks noGrp="1"/>
          </p:cNvSpPr>
          <p:nvPr>
            <p:ph type="dt" sz="half" idx="16"/>
          </p:nvPr>
        </p:nvSpPr>
        <p:spPr/>
        <p:txBody>
          <a:bodyPr/>
          <a:lstStyle/>
          <a:p>
            <a:fld id="{6A910A81-BF8B-4AD3-9987-990E8D4B68C7}" type="datetime2">
              <a:rPr lang="da-DK" smtClean="0"/>
              <a:t>18. januar 2022</a:t>
            </a:fld>
            <a:endParaRPr lang="da-DK"/>
          </a:p>
        </p:txBody>
      </p:sp>
      <p:sp>
        <p:nvSpPr>
          <p:cNvPr id="11" name="Footer Placeholder 10">
            <a:extLst>
              <a:ext uri="{FF2B5EF4-FFF2-40B4-BE49-F238E27FC236}">
                <a16:creationId xmlns:a16="http://schemas.microsoft.com/office/drawing/2014/main" id="{3ACC3765-6ADF-4B65-9AFB-C50473B973CA}"/>
              </a:ext>
            </a:extLst>
          </p:cNvPr>
          <p:cNvSpPr>
            <a:spLocks noGrp="1"/>
          </p:cNvSpPr>
          <p:nvPr>
            <p:ph type="ftr" sz="quarter" idx="17"/>
          </p:nvPr>
        </p:nvSpPr>
        <p:spPr/>
        <p:txBody>
          <a:bodyPr/>
          <a:lstStyle/>
          <a:p>
            <a:r>
              <a:rPr lang="da-DK"/>
              <a:t>Introduktion til agile metoder</a:t>
            </a:r>
          </a:p>
        </p:txBody>
      </p:sp>
      <p:sp>
        <p:nvSpPr>
          <p:cNvPr id="12" name="Slide Number Placeholder 11">
            <a:extLst>
              <a:ext uri="{FF2B5EF4-FFF2-40B4-BE49-F238E27FC236}">
                <a16:creationId xmlns:a16="http://schemas.microsoft.com/office/drawing/2014/main" id="{659E3BFE-B339-4298-976D-1CB2ABBC25E7}"/>
              </a:ext>
            </a:extLst>
          </p:cNvPr>
          <p:cNvSpPr>
            <a:spLocks noGrp="1"/>
          </p:cNvSpPr>
          <p:nvPr>
            <p:ph type="sldNum" sz="quarter" idx="18"/>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42512039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Body Style A 01">
    <p:spTree>
      <p:nvGrpSpPr>
        <p:cNvPr id="1" name=""/>
        <p:cNvGrpSpPr/>
        <p:nvPr/>
      </p:nvGrpSpPr>
      <p:grpSpPr>
        <a:xfrm>
          <a:off x="0" y="0"/>
          <a:ext cx="0" cy="0"/>
          <a:chOff x="0" y="0"/>
          <a:chExt cx="0" cy="0"/>
        </a:xfrm>
      </p:grpSpPr>
      <p:sp>
        <p:nvSpPr>
          <p:cNvPr id="6" name="Title Placeholder 4">
            <a:extLst>
              <a:ext uri="{FF2B5EF4-FFF2-40B4-BE49-F238E27FC236}">
                <a16:creationId xmlns:a16="http://schemas.microsoft.com/office/drawing/2014/main" id="{401F59B2-2589-DF49-935A-4FACC431AA2A}"/>
              </a:ext>
            </a:extLst>
          </p:cNvPr>
          <p:cNvSpPr>
            <a:spLocks noGrp="1"/>
          </p:cNvSpPr>
          <p:nvPr>
            <p:ph type="title"/>
          </p:nvPr>
        </p:nvSpPr>
        <p:spPr>
          <a:xfrm>
            <a:off x="524255" y="0"/>
            <a:ext cx="11160644" cy="881595"/>
          </a:xfrm>
          <a:prstGeom prst="rect">
            <a:avLst/>
          </a:prstGeom>
        </p:spPr>
        <p:txBody>
          <a:bodyPr vert="horz" lIns="0" tIns="36576" rIns="0" bIns="0" rtlCol="0" anchor="ctr">
            <a:normAutofit/>
          </a:bodyPr>
          <a:lstStyle>
            <a:lvl1pPr>
              <a:defRPr sz="2800"/>
            </a:lvl1pPr>
          </a:lstStyle>
          <a:p>
            <a:r>
              <a:rPr lang="en-US"/>
              <a:t>Click to edit Master title style</a:t>
            </a:r>
          </a:p>
        </p:txBody>
      </p:sp>
      <p:sp>
        <p:nvSpPr>
          <p:cNvPr id="7" name="Text Placeholder 3">
            <a:extLst>
              <a:ext uri="{FF2B5EF4-FFF2-40B4-BE49-F238E27FC236}">
                <a16:creationId xmlns:a16="http://schemas.microsoft.com/office/drawing/2014/main" id="{61F0E583-1429-7545-B06A-7C14253C655A}"/>
              </a:ext>
            </a:extLst>
          </p:cNvPr>
          <p:cNvSpPr>
            <a:spLocks noGrp="1"/>
          </p:cNvSpPr>
          <p:nvPr>
            <p:ph idx="1"/>
          </p:nvPr>
        </p:nvSpPr>
        <p:spPr>
          <a:xfrm>
            <a:off x="527626" y="1117125"/>
            <a:ext cx="11157273" cy="5003531"/>
          </a:xfrm>
          <a:prstGeom prst="rect">
            <a:avLst/>
          </a:prstGeom>
        </p:spPr>
        <p:txBody>
          <a:bodyPr vert="horz" lIns="91440" tIns="45720" rIns="91440" bIns="45720" rtlCol="0">
            <a:normAutofit/>
          </a:bodyPr>
          <a:lstStyle>
            <a:lvl3pPr marL="1071007" indent="-270927" algn="l" rtl="0" eaLnBrk="1" fontAlgn="base" hangingPunct="1">
              <a:lnSpc>
                <a:spcPct val="110000"/>
              </a:lnSpc>
              <a:spcBef>
                <a:spcPts val="800"/>
              </a:spcBef>
              <a:spcAft>
                <a:spcPts val="800"/>
              </a:spcAft>
              <a:buClr>
                <a:schemeClr val="tx1">
                  <a:lumMod val="50000"/>
                  <a:lumOff val="50000"/>
                </a:schemeClr>
              </a:buClr>
              <a:buSzPct val="117000"/>
              <a:buFont typeface="Arial"/>
              <a:buChar char="-"/>
              <a:tabLst/>
              <a:defRPr sz="2400" b="0" i="0">
                <a:latin typeface="Arial" panose="020B0604020202020204" pitchFamily="34" charset="0"/>
              </a:defRPr>
            </a:lvl3pPr>
          </a:lstStyle>
          <a:p>
            <a:pPr lvl="0"/>
            <a:r>
              <a:rPr lang="en-US"/>
              <a:t>Click to edit Master text styles</a:t>
            </a:r>
          </a:p>
          <a:p>
            <a:pPr lvl="1"/>
            <a:r>
              <a:rPr lang="en-US"/>
              <a:t>Second level</a:t>
            </a:r>
          </a:p>
          <a:p>
            <a:pPr marL="1071007" lvl="2" indent="-270927" algn="l" rtl="0" eaLnBrk="1" fontAlgn="base" hangingPunct="1">
              <a:lnSpc>
                <a:spcPct val="110000"/>
              </a:lnSpc>
              <a:spcBef>
                <a:spcPts val="800"/>
              </a:spcBef>
              <a:spcAft>
                <a:spcPts val="800"/>
              </a:spcAft>
              <a:buClr>
                <a:schemeClr val="tx1">
                  <a:lumMod val="50000"/>
                  <a:lumOff val="50000"/>
                </a:schemeClr>
              </a:buClr>
              <a:buSzPct val="117000"/>
              <a:buFont typeface="Arial"/>
              <a:buChar char="-"/>
              <a:tabLst/>
            </a:pPr>
            <a:r>
              <a:rPr lang="en-US"/>
              <a:t>Third level</a:t>
            </a:r>
          </a:p>
        </p:txBody>
      </p:sp>
      <p:sp>
        <p:nvSpPr>
          <p:cNvPr id="2" name="Slide Number Placeholder 1">
            <a:extLst>
              <a:ext uri="{FF2B5EF4-FFF2-40B4-BE49-F238E27FC236}">
                <a16:creationId xmlns:a16="http://schemas.microsoft.com/office/drawing/2014/main" id="{2635B42C-DD0D-DE4A-BD9C-F2749C3E7E62}"/>
              </a:ext>
            </a:extLst>
          </p:cNvPr>
          <p:cNvSpPr>
            <a:spLocks noGrp="1"/>
          </p:cNvSpPr>
          <p:nvPr>
            <p:ph type="sldNum" sz="quarter" idx="10"/>
          </p:nvPr>
        </p:nvSpPr>
        <p:spPr/>
        <p:txBody>
          <a:bodyPr/>
          <a:lstStyle/>
          <a:p>
            <a:fld id="{46FDB4EE-536A-4449-BF24-E81C662A4DA7}" type="slidenum">
              <a:rPr lang="en-US" smtClean="0"/>
              <a:t>‹nr.›</a:t>
            </a:fld>
            <a:endParaRPr lang="en-US"/>
          </a:p>
        </p:txBody>
      </p:sp>
    </p:spTree>
    <p:extLst>
      <p:ext uri="{BB962C8B-B14F-4D97-AF65-F5344CB8AC3E}">
        <p14:creationId xmlns:p14="http://schemas.microsoft.com/office/powerpoint/2010/main" val="33377340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Question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73302C9-9CCE-E444-BBCB-D9415F5DE49D}"/>
              </a:ext>
            </a:extLst>
          </p:cNvPr>
          <p:cNvSpPr>
            <a:spLocks noGrp="1"/>
          </p:cNvSpPr>
          <p:nvPr>
            <p:ph type="pic" sz="quarter" idx="12" hasCustomPrompt="1"/>
          </p:nvPr>
        </p:nvSpPr>
        <p:spPr>
          <a:xfrm>
            <a:off x="432599" y="2675238"/>
            <a:ext cx="4758591" cy="4182763"/>
          </a:xfrm>
          <a:custGeom>
            <a:avLst/>
            <a:gdLst>
              <a:gd name="connsiteX0" fmla="*/ 4757353 w 9514704"/>
              <a:gd name="connsiteY0" fmla="*/ 0 h 8365525"/>
              <a:gd name="connsiteX1" fmla="*/ 9514704 w 9514704"/>
              <a:gd name="connsiteY1" fmla="*/ 4757352 h 8365525"/>
              <a:gd name="connsiteX2" fmla="*/ 7956088 w 9514704"/>
              <a:gd name="connsiteY2" fmla="*/ 8278830 h 8365525"/>
              <a:gd name="connsiteX3" fmla="*/ 7856005 w 9514704"/>
              <a:gd name="connsiteY3" fmla="*/ 8365525 h 8365525"/>
              <a:gd name="connsiteX4" fmla="*/ 1658700 w 9514704"/>
              <a:gd name="connsiteY4" fmla="*/ 8365525 h 8365525"/>
              <a:gd name="connsiteX5" fmla="*/ 1558616 w 9514704"/>
              <a:gd name="connsiteY5" fmla="*/ 8278830 h 8365525"/>
              <a:gd name="connsiteX6" fmla="*/ 0 w 9514704"/>
              <a:gd name="connsiteY6" fmla="*/ 4757352 h 8365525"/>
              <a:gd name="connsiteX7" fmla="*/ 4757353 w 9514704"/>
              <a:gd name="connsiteY7" fmla="*/ 0 h 836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14704" h="8365525">
                <a:moveTo>
                  <a:pt x="4757353" y="0"/>
                </a:moveTo>
                <a:cubicBezTo>
                  <a:pt x="7384766" y="0"/>
                  <a:pt x="9514704" y="2129939"/>
                  <a:pt x="9514704" y="4757352"/>
                </a:cubicBezTo>
                <a:cubicBezTo>
                  <a:pt x="9514704" y="6153165"/>
                  <a:pt x="8913579" y="7408578"/>
                  <a:pt x="7956088" y="8278830"/>
                </a:cubicBezTo>
                <a:lnTo>
                  <a:pt x="7856005" y="8365525"/>
                </a:lnTo>
                <a:lnTo>
                  <a:pt x="1658700" y="8365525"/>
                </a:lnTo>
                <a:lnTo>
                  <a:pt x="1558616" y="8278830"/>
                </a:lnTo>
                <a:cubicBezTo>
                  <a:pt x="601126" y="7408578"/>
                  <a:pt x="0" y="6153165"/>
                  <a:pt x="0" y="4757352"/>
                </a:cubicBezTo>
                <a:cubicBezTo>
                  <a:pt x="0" y="2129939"/>
                  <a:pt x="2129939" y="0"/>
                  <a:pt x="4757353" y="0"/>
                </a:cubicBezTo>
                <a:close/>
              </a:path>
            </a:pathLst>
          </a:custGeom>
          <a:solidFill>
            <a:schemeClr val="bg2">
              <a:lumMod val="95000"/>
            </a:schemeClr>
          </a:solidFill>
        </p:spPr>
        <p:txBody>
          <a:bodyPr wrap="square" anchor="ctr">
            <a:noAutofit/>
          </a:bodyPr>
          <a:lstStyle>
            <a:lvl1pPr marL="0" indent="0" algn="ctr">
              <a:buNone/>
              <a:defRPr lang="en-US" sz="1200" dirty="0"/>
            </a:lvl1pPr>
          </a:lstStyle>
          <a:p>
            <a:pPr lvl="0"/>
            <a:r>
              <a:rPr lang="en-US"/>
              <a:t>Drag and drop picture</a:t>
            </a:r>
          </a:p>
        </p:txBody>
      </p:sp>
      <p:sp>
        <p:nvSpPr>
          <p:cNvPr id="3" name="Rectangle 2">
            <a:extLst>
              <a:ext uri="{FF2B5EF4-FFF2-40B4-BE49-F238E27FC236}">
                <a16:creationId xmlns:a16="http://schemas.microsoft.com/office/drawing/2014/main" id="{C9EB03A3-B96F-8C4F-9F30-DA1E7B30ABC7}"/>
              </a:ext>
            </a:extLst>
          </p:cNvPr>
          <p:cNvSpPr/>
          <p:nvPr userDrawn="1"/>
        </p:nvSpPr>
        <p:spPr>
          <a:xfrm>
            <a:off x="11046015" y="327074"/>
            <a:ext cx="464355" cy="3974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b="0" i="0">
              <a:latin typeface="Nunito Sans ExtraLight" pitchFamily="2" charset="77"/>
            </a:endParaRPr>
          </a:p>
        </p:txBody>
      </p:sp>
    </p:spTree>
    <p:extLst>
      <p:ext uri="{BB962C8B-B14F-4D97-AF65-F5344CB8AC3E}">
        <p14:creationId xmlns:p14="http://schemas.microsoft.com/office/powerpoint/2010/main" val="634771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Kun titel B">
    <p:bg>
      <p:bgRef idx="1001">
        <a:schemeClr val="bg1"/>
      </p:bgRef>
    </p:bg>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CE98ADFA-CB9F-4A89-812C-2547D23151A9}"/>
              </a:ext>
            </a:extLst>
          </p:cNvPr>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Title 1"/>
          <p:cNvSpPr>
            <a:spLocks noGrp="1"/>
          </p:cNvSpPr>
          <p:nvPr>
            <p:ph type="title" hasCustomPrompt="1"/>
          </p:nvPr>
        </p:nvSpPr>
        <p:spPr/>
        <p:txBody>
          <a:bodyPr/>
          <a:lstStyle>
            <a:lvl1pPr>
              <a:defRPr>
                <a:solidFill>
                  <a:schemeClr val="tx1"/>
                </a:solidFill>
              </a:defRPr>
            </a:lvl1pPr>
          </a:lstStyle>
          <a:p>
            <a:r>
              <a:rPr lang="da-DK" noProof="0"/>
              <a:t>Klik for at tilføje titel i maks. 2 linjer</a:t>
            </a:r>
            <a:endParaRPr lang="da-DK"/>
          </a:p>
        </p:txBody>
      </p:sp>
      <p:sp>
        <p:nvSpPr>
          <p:cNvPr id="6" name="Date Placeholder 5">
            <a:extLst>
              <a:ext uri="{FF2B5EF4-FFF2-40B4-BE49-F238E27FC236}">
                <a16:creationId xmlns:a16="http://schemas.microsoft.com/office/drawing/2014/main" id="{EE1E5F53-8FFE-46B4-AF41-E80143290941}"/>
              </a:ext>
            </a:extLst>
          </p:cNvPr>
          <p:cNvSpPr>
            <a:spLocks noGrp="1"/>
          </p:cNvSpPr>
          <p:nvPr>
            <p:ph type="dt" sz="half" idx="10"/>
          </p:nvPr>
        </p:nvSpPr>
        <p:spPr/>
        <p:txBody>
          <a:bodyPr/>
          <a:lstStyle/>
          <a:p>
            <a:fld id="{E431F34E-10D2-46EF-B923-DADB10E7ECFC}" type="datetime2">
              <a:rPr lang="da-DK" smtClean="0"/>
              <a:t>18. januar 2022</a:t>
            </a:fld>
            <a:endParaRPr lang="da-DK"/>
          </a:p>
        </p:txBody>
      </p:sp>
      <p:sp>
        <p:nvSpPr>
          <p:cNvPr id="7" name="Footer Placeholder 6">
            <a:extLst>
              <a:ext uri="{FF2B5EF4-FFF2-40B4-BE49-F238E27FC236}">
                <a16:creationId xmlns:a16="http://schemas.microsoft.com/office/drawing/2014/main" id="{DF1EA393-E2B1-4B66-9017-983E786A1B8C}"/>
              </a:ext>
            </a:extLst>
          </p:cNvPr>
          <p:cNvSpPr>
            <a:spLocks noGrp="1"/>
          </p:cNvSpPr>
          <p:nvPr>
            <p:ph type="ftr" sz="quarter" idx="11"/>
          </p:nvPr>
        </p:nvSpPr>
        <p:spPr/>
        <p:txBody>
          <a:bodyPr/>
          <a:lstStyle>
            <a:lvl1pPr>
              <a:defRPr>
                <a:solidFill>
                  <a:schemeClr val="tx1"/>
                </a:solidFill>
              </a:defRPr>
            </a:lvl1pPr>
          </a:lstStyle>
          <a:p>
            <a:endParaRPr lang="da-DK"/>
          </a:p>
        </p:txBody>
      </p:sp>
      <p:sp>
        <p:nvSpPr>
          <p:cNvPr id="8" name="Slide Number Placeholder 7">
            <a:extLst>
              <a:ext uri="{FF2B5EF4-FFF2-40B4-BE49-F238E27FC236}">
                <a16:creationId xmlns:a16="http://schemas.microsoft.com/office/drawing/2014/main" id="{B003DF23-4636-4FE6-88BB-890F3BD5246C}"/>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da-DK" smtClean="0"/>
              <a:pPr/>
              <a:t>‹nr.›</a:t>
            </a:fld>
            <a:endParaRPr lang="da-DK"/>
          </a:p>
        </p:txBody>
      </p:sp>
      <p:sp>
        <p:nvSpPr>
          <p:cNvPr id="4" name="Krone">
            <a:extLst>
              <a:ext uri="{FF2B5EF4-FFF2-40B4-BE49-F238E27FC236}">
                <a16:creationId xmlns:a16="http://schemas.microsoft.com/office/drawing/2014/main" id="{D8625B01-2145-4FC0-8679-3C242A41C7AB}"/>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tx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641849987"/>
      </p:ext>
    </p:extLst>
  </p:cSld>
  <p:clrMapOvr>
    <a:overrideClrMapping bg1="dk1" tx1="lt1" bg2="dk2" tx2="lt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CED8C3D0-EB9A-4DFE-AA85-2E3275FD1B70}"/>
              </a:ext>
            </a:extLst>
          </p:cNvPr>
          <p:cNvSpPr/>
          <p:nvPr userDrawn="1"/>
        </p:nvSpPr>
        <p:spPr>
          <a:xfrm>
            <a:off x="7826374" y="0"/>
            <a:ext cx="4366825"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Picture Placeholder 7"/>
          <p:cNvSpPr>
            <a:spLocks noGrp="1"/>
          </p:cNvSpPr>
          <p:nvPr>
            <p:ph type="pic" sz="quarter" idx="13" hasCustomPrompt="1"/>
          </p:nvPr>
        </p:nvSpPr>
        <p:spPr>
          <a:xfrm>
            <a:off x="6869114" y="647700"/>
            <a:ext cx="4183061" cy="5453064"/>
          </a:xfrm>
          <a:solidFill>
            <a:schemeClr val="bg1"/>
          </a:solidFill>
        </p:spPr>
        <p:txBody>
          <a:bodyPr lIns="0" tIns="900000" anchor="ctr" anchorCtr="0"/>
          <a:lstStyle>
            <a:lvl1pPr marL="0" indent="0" algn="ctr">
              <a:buNone/>
              <a:defRPr sz="1500">
                <a:solidFill>
                  <a:schemeClr val="accent1"/>
                </a:solidFill>
              </a:defRPr>
            </a:lvl1pPr>
          </a:lstStyle>
          <a:p>
            <a:r>
              <a:rPr lang="da-DK" noProof="0"/>
              <a:t>Klik på ikonet for at indsætte billede</a:t>
            </a:r>
          </a:p>
        </p:txBody>
      </p:sp>
      <p:sp>
        <p:nvSpPr>
          <p:cNvPr id="18" name="Pladsholder til dato 17">
            <a:extLst>
              <a:ext uri="{FF2B5EF4-FFF2-40B4-BE49-F238E27FC236}">
                <a16:creationId xmlns:a16="http://schemas.microsoft.com/office/drawing/2014/main" id="{107FEAA3-9AF2-44D3-9155-2AD9DDA40F12}"/>
              </a:ext>
            </a:extLst>
          </p:cNvPr>
          <p:cNvSpPr>
            <a:spLocks noGrp="1"/>
          </p:cNvSpPr>
          <p:nvPr>
            <p:ph type="dt" sz="half" idx="20"/>
          </p:nvPr>
        </p:nvSpPr>
        <p:spPr/>
        <p:txBody>
          <a:bodyPr/>
          <a:lstStyle/>
          <a:p>
            <a:pPr>
              <a:lnSpc>
                <a:spcPct val="92000"/>
              </a:lnSpc>
            </a:pPr>
            <a:fld id="{96D8DDAB-2EE4-4DAB-BC89-E2BB2B06AADF}"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p:txBody>
          <a:bodyPr/>
          <a:lstStyle/>
          <a:p>
            <a:pPr>
              <a:lnSpc>
                <a:spcPct val="92000"/>
              </a:lnSpc>
            </a:pPr>
            <a:endParaRPr lang="da-DK"/>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7" name="Content Placeholder 6">
            <a:extLst>
              <a:ext uri="{FF2B5EF4-FFF2-40B4-BE49-F238E27FC236}">
                <a16:creationId xmlns:a16="http://schemas.microsoft.com/office/drawing/2014/main" id="{C9398896-A5B3-4660-A7BF-B0F67E674C85}"/>
              </a:ext>
            </a:extLst>
          </p:cNvPr>
          <p:cNvSpPr>
            <a:spLocks noGrp="1"/>
          </p:cNvSpPr>
          <p:nvPr>
            <p:ph sz="quarter" idx="24" hasCustomPrompt="1"/>
          </p:nvPr>
        </p:nvSpPr>
        <p:spPr>
          <a:xfrm>
            <a:off x="539750" y="1270800"/>
            <a:ext cx="5373688" cy="4125599"/>
          </a:xfrm>
        </p:spPr>
        <p:txBody>
          <a:bodyPr/>
          <a:lstStyle>
            <a:lvl1pPr>
              <a:defRPr/>
            </a:lvl1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Tree>
    <p:extLst>
      <p:ext uri="{BB962C8B-B14F-4D97-AF65-F5344CB8AC3E}">
        <p14:creationId xmlns:p14="http://schemas.microsoft.com/office/powerpoint/2010/main" val="2009771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og highlight B">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69E18600-227F-4E4C-A542-AE6D679271E8}"/>
              </a:ext>
            </a:extLst>
          </p:cNvPr>
          <p:cNvSpPr/>
          <p:nvPr userDrawn="1"/>
        </p:nvSpPr>
        <p:spPr>
          <a:xfrm>
            <a:off x="6869114" y="0"/>
            <a:ext cx="5324086" cy="6861600"/>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3" name="Content Placeholder 6">
            <a:extLst>
              <a:ext uri="{FF2B5EF4-FFF2-40B4-BE49-F238E27FC236}">
                <a16:creationId xmlns:a16="http://schemas.microsoft.com/office/drawing/2014/main" id="{51BB2B32-7660-4CFA-B888-DDDE6C2765FA}"/>
              </a:ext>
            </a:extLst>
          </p:cNvPr>
          <p:cNvSpPr>
            <a:spLocks noGrp="1"/>
          </p:cNvSpPr>
          <p:nvPr>
            <p:ph sz="quarter" idx="25" hasCustomPrompt="1"/>
          </p:nvPr>
        </p:nvSpPr>
        <p:spPr>
          <a:xfrm>
            <a:off x="539750" y="1270800"/>
            <a:ext cx="5373688" cy="4125599"/>
          </a:xfrm>
        </p:spPr>
        <p:txBody>
          <a:bodyPr/>
          <a:lstStyle>
            <a:lvl1pPr>
              <a:defRPr/>
            </a:lvl1pPr>
            <a:lvl2pPr>
              <a:defRPr/>
            </a:lvl2pPr>
            <a:lvl3pPr>
              <a:defRPr/>
            </a:lvl3pPr>
            <a:lvl4pPr>
              <a:defRPr/>
            </a:lvl4pPr>
            <a:lvl5pPr>
              <a:defRPr/>
            </a:lvl5pPr>
          </a:lstStyle>
          <a:p>
            <a:pPr lvl="0"/>
            <a:r>
              <a:rPr lang="da-DK" noProof="0"/>
              <a:t>Klik tabel ikonet og indsæt tabel</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21" name="Pladsholder til tekst 25">
            <a:extLst>
              <a:ext uri="{FF2B5EF4-FFF2-40B4-BE49-F238E27FC236}">
                <a16:creationId xmlns:a16="http://schemas.microsoft.com/office/drawing/2014/main" id="{0D0C7679-B3C8-4435-821D-20376260C135}"/>
              </a:ext>
            </a:extLst>
          </p:cNvPr>
          <p:cNvSpPr>
            <a:spLocks noGrp="1"/>
          </p:cNvSpPr>
          <p:nvPr>
            <p:ph type="body" sz="quarter" idx="23" hasCustomPrompt="1"/>
          </p:nvPr>
        </p:nvSpPr>
        <p:spPr>
          <a:xfrm>
            <a:off x="7412039" y="989013"/>
            <a:ext cx="4235448" cy="3542091"/>
          </a:xfrm>
        </p:spPr>
        <p:txBody>
          <a:bodyPr anchor="b" anchorCtr="0"/>
          <a:lstStyle>
            <a:lvl1pPr marL="0" indent="0" algn="ctr">
              <a:lnSpc>
                <a:spcPct val="93000"/>
              </a:lnSpc>
              <a:buNone/>
              <a:defRPr sz="5000" spc="-100" baseline="0">
                <a:solidFill>
                  <a:schemeClr val="bg1"/>
                </a:solidFill>
                <a:latin typeface="+mj-lt"/>
              </a:defRPr>
            </a:lvl1pPr>
          </a:lstStyle>
          <a:p>
            <a:pPr lvl="0"/>
            <a:r>
              <a:rPr lang="da-DK"/>
              <a:t>Klik for at tilføje highlight tekst</a:t>
            </a:r>
          </a:p>
        </p:txBody>
      </p:sp>
      <p:sp>
        <p:nvSpPr>
          <p:cNvPr id="22" name="Pladsholder til tekst 27">
            <a:extLst>
              <a:ext uri="{FF2B5EF4-FFF2-40B4-BE49-F238E27FC236}">
                <a16:creationId xmlns:a16="http://schemas.microsoft.com/office/drawing/2014/main" id="{24E2C8F7-0A12-45CD-A85B-DBAD4B0DCB81}"/>
              </a:ext>
            </a:extLst>
          </p:cNvPr>
          <p:cNvSpPr>
            <a:spLocks noGrp="1"/>
          </p:cNvSpPr>
          <p:nvPr>
            <p:ph type="body" sz="quarter" idx="24" hasCustomPrompt="1"/>
          </p:nvPr>
        </p:nvSpPr>
        <p:spPr>
          <a:xfrm>
            <a:off x="7414710" y="4697715"/>
            <a:ext cx="4232778" cy="974424"/>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4 linjer</a:t>
            </a:r>
          </a:p>
        </p:txBody>
      </p:sp>
      <p:sp>
        <p:nvSpPr>
          <p:cNvPr id="15" name="Pladsholder til billede 14">
            <a:extLst>
              <a:ext uri="{FF2B5EF4-FFF2-40B4-BE49-F238E27FC236}">
                <a16:creationId xmlns:a16="http://schemas.microsoft.com/office/drawing/2014/main" id="{E6C5E9BA-5158-4FF2-974F-867683ABA770}"/>
              </a:ext>
            </a:extLst>
          </p:cNvPr>
          <p:cNvSpPr>
            <a:spLocks noGrp="1" noChangeAspect="1"/>
          </p:cNvSpPr>
          <p:nvPr>
            <p:ph type="pic" sz="quarter" idx="15" hasCustomPrompt="1"/>
          </p:nvPr>
        </p:nvSpPr>
        <p:spPr>
          <a:xfrm>
            <a:off x="8955155" y="989999"/>
            <a:ext cx="1152000" cy="1152000"/>
          </a:xfrm>
          <a:prstGeom prst="rect">
            <a:avLst/>
          </a:prstGeom>
          <a:noFill/>
        </p:spPr>
        <p:txBody>
          <a:bodyPr wrap="none" lIns="0" bIns="1260000" anchor="b" anchorCtr="0"/>
          <a:lstStyle>
            <a:lvl1pPr marL="0" indent="0" algn="ctr">
              <a:buFontTx/>
              <a:buNone/>
              <a:defRPr sz="1000">
                <a:solidFill>
                  <a:schemeClr val="bg1"/>
                </a:solidFill>
              </a:defRPr>
            </a:lvl1pPr>
          </a:lstStyle>
          <a:p>
            <a:pPr marL="216000" marR="0" lvl="0" indent="-216000" algn="l" defTabSz="914400" rtl="0" eaLnBrk="1" fontAlgn="auto" latinLnBrk="0" hangingPunct="1">
              <a:lnSpc>
                <a:spcPct val="110000"/>
              </a:lnSpc>
              <a:spcBef>
                <a:spcPts val="0"/>
              </a:spcBef>
              <a:spcAft>
                <a:spcPts val="0"/>
              </a:spcAft>
              <a:buClrTx/>
              <a:buSzTx/>
              <a:buFont typeface="Academy Sans Office" panose="020B0503030000000000" pitchFamily="34" charset="0"/>
              <a:buChar char="•"/>
              <a:tabLst/>
              <a:defRPr/>
            </a:pPr>
            <a:r>
              <a:rPr lang="da-DK" noProof="1"/>
              <a:t>Indsæt billede/ikon. Er ikonet beskåret? </a:t>
            </a:r>
            <a:br>
              <a:rPr lang="da-DK" noProof="1"/>
            </a:br>
            <a:r>
              <a:rPr lang="da-DK" noProof="1"/>
              <a:t>Vælg Grafikformat/ Beskær/Tilpas. </a:t>
            </a:r>
            <a:br>
              <a:rPr lang="da-DK" noProof="1"/>
            </a:br>
            <a:r>
              <a:rPr lang="da-DK" noProof="1"/>
              <a:t>Hold Shift + Ctrl, </a:t>
            </a:r>
            <a:br>
              <a:rPr lang="da-DK" noProof="1"/>
            </a:br>
            <a:r>
              <a:rPr lang="da-DK" noProof="1"/>
              <a:t>træk i hvidt rundt hjørne</a:t>
            </a:r>
          </a:p>
        </p:txBody>
      </p:sp>
      <p:sp>
        <p:nvSpPr>
          <p:cNvPr id="20" name="Pladsholder til slidenummer 19">
            <a:extLst>
              <a:ext uri="{FF2B5EF4-FFF2-40B4-BE49-F238E27FC236}">
                <a16:creationId xmlns:a16="http://schemas.microsoft.com/office/drawing/2014/main" id="{8DB70922-17B7-4ED8-B7BA-B4E3B25C827C}"/>
              </a:ext>
            </a:extLst>
          </p:cNvPr>
          <p:cNvSpPr>
            <a:spLocks noGrp="1"/>
          </p:cNvSpPr>
          <p:nvPr>
            <p:ph type="sldNum" sz="quarter" idx="22"/>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18" name="Pladsholder til dato 17">
            <a:extLst>
              <a:ext uri="{FF2B5EF4-FFF2-40B4-BE49-F238E27FC236}">
                <a16:creationId xmlns:a16="http://schemas.microsoft.com/office/drawing/2014/main" id="{107FEAA3-9AF2-44D3-9155-2AD9DDA40F12}"/>
              </a:ext>
            </a:extLst>
          </p:cNvPr>
          <p:cNvSpPr>
            <a:spLocks noGrp="1" noChangeAspect="1"/>
          </p:cNvSpPr>
          <p:nvPr>
            <p:ph type="dt" sz="half" idx="20"/>
          </p:nvPr>
        </p:nvSpPr>
        <p:spPr/>
        <p:txBody>
          <a:bodyPr/>
          <a:lstStyle/>
          <a:p>
            <a:pPr>
              <a:lnSpc>
                <a:spcPct val="92000"/>
              </a:lnSpc>
            </a:pPr>
            <a:fld id="{79545DEB-4A47-454F-BADF-9B2F3B5CF921}" type="datetime2">
              <a:rPr lang="da-DK" smtClean="0"/>
              <a:t>18. januar 2022</a:t>
            </a:fld>
            <a:endParaRPr lang="da-DK"/>
          </a:p>
        </p:txBody>
      </p:sp>
      <p:sp>
        <p:nvSpPr>
          <p:cNvPr id="19" name="Pladsholder til sidefod 18">
            <a:extLst>
              <a:ext uri="{FF2B5EF4-FFF2-40B4-BE49-F238E27FC236}">
                <a16:creationId xmlns:a16="http://schemas.microsoft.com/office/drawing/2014/main" id="{E7F00FDC-8063-4D61-9892-A4D76781309D}"/>
              </a:ext>
            </a:extLst>
          </p:cNvPr>
          <p:cNvSpPr>
            <a:spLocks noGrp="1"/>
          </p:cNvSpPr>
          <p:nvPr>
            <p:ph type="ftr" sz="quarter" idx="21"/>
          </p:nvPr>
        </p:nvSpPr>
        <p:spPr>
          <a:noFill/>
        </p:spPr>
        <p:txBody>
          <a:bodyPr/>
          <a:lstStyle>
            <a:lvl1pPr>
              <a:defRPr>
                <a:solidFill>
                  <a:schemeClr val="accent1"/>
                </a:solidFill>
              </a:defRPr>
            </a:lvl1pPr>
          </a:lstStyle>
          <a:p>
            <a:endParaRPr lang="da-DK">
              <a:solidFill>
                <a:schemeClr val="accent1"/>
              </a:solidFill>
            </a:endParaRPr>
          </a:p>
        </p:txBody>
      </p:sp>
    </p:spTree>
    <p:extLst>
      <p:ext uri="{BB962C8B-B14F-4D97-AF65-F5344CB8AC3E}">
        <p14:creationId xmlns:p14="http://schemas.microsoft.com/office/powerpoint/2010/main" val="82957575"/>
      </p:ext>
    </p:extLst>
  </p:cSld>
  <p:clrMapOvr>
    <a:masterClrMapping/>
  </p:clrMapOvr>
  <p:extLst>
    <p:ext uri="{DCECCB84-F9BA-43D5-87BE-67443E8EF086}">
      <p15:sldGuideLst xmlns:p15="http://schemas.microsoft.com/office/powerpoint/2012/main">
        <p15:guide id="1" pos="4669" userDrawn="1">
          <p15:clr>
            <a:srgbClr val="F26B43"/>
          </p15:clr>
        </p15:guide>
        <p15:guide id="2" orient="horz" pos="623" userDrawn="1">
          <p15:clr>
            <a:srgbClr val="000000"/>
          </p15:clr>
        </p15:guide>
        <p15:guide id="3" orient="horz" pos="3573" userDrawn="1">
          <p15:clr>
            <a:srgbClr val="00000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Tom (sidefod)">
    <p:spTree>
      <p:nvGrpSpPr>
        <p:cNvPr id="1" name=""/>
        <p:cNvGrpSpPr/>
        <p:nvPr/>
      </p:nvGrpSpPr>
      <p:grpSpPr>
        <a:xfrm>
          <a:off x="0" y="0"/>
          <a:ext cx="0" cy="0"/>
          <a:chOff x="0" y="0"/>
          <a:chExt cx="0" cy="0"/>
        </a:xfrm>
      </p:grpSpPr>
      <p:sp>
        <p:nvSpPr>
          <p:cNvPr id="5" name="Pladsholder til dato 4">
            <a:extLst>
              <a:ext uri="{FF2B5EF4-FFF2-40B4-BE49-F238E27FC236}">
                <a16:creationId xmlns:a16="http://schemas.microsoft.com/office/drawing/2014/main" id="{BAAFAF0F-3659-4911-B7AE-77656B8BE361}"/>
              </a:ext>
            </a:extLst>
          </p:cNvPr>
          <p:cNvSpPr>
            <a:spLocks noGrp="1"/>
          </p:cNvSpPr>
          <p:nvPr>
            <p:ph type="dt" sz="half" idx="10"/>
          </p:nvPr>
        </p:nvSpPr>
        <p:spPr/>
        <p:txBody>
          <a:bodyPr/>
          <a:lstStyle/>
          <a:p>
            <a:fld id="{0EB8853E-D6FB-4173-9125-4D0D0EFC7EDD}" type="datetime2">
              <a:rPr lang="da-DK" smtClean="0"/>
              <a:t>18. januar 2022</a:t>
            </a:fld>
            <a:endParaRPr lang="da-DK"/>
          </a:p>
        </p:txBody>
      </p:sp>
      <p:sp>
        <p:nvSpPr>
          <p:cNvPr id="6" name="Pladsholder til sidefod 5">
            <a:extLst>
              <a:ext uri="{FF2B5EF4-FFF2-40B4-BE49-F238E27FC236}">
                <a16:creationId xmlns:a16="http://schemas.microsoft.com/office/drawing/2014/main" id="{DC16EBAB-7232-47BA-835B-C36905EFBD1B}"/>
              </a:ext>
            </a:extLst>
          </p:cNvPr>
          <p:cNvSpPr>
            <a:spLocks noGrp="1"/>
          </p:cNvSpPr>
          <p:nvPr>
            <p:ph type="ftr" sz="quarter" idx="11"/>
          </p:nvPr>
        </p:nvSpPr>
        <p:spPr/>
        <p:txBody>
          <a:bodyPr/>
          <a:lstStyle/>
          <a:p>
            <a:r>
              <a:rPr lang="da-DK"/>
              <a:t>Indsæt præsentationens titel via Sidefod</a:t>
            </a:r>
          </a:p>
        </p:txBody>
      </p:sp>
      <p:sp>
        <p:nvSpPr>
          <p:cNvPr id="7" name="Pladsholder til slidenummer 6">
            <a:extLst>
              <a:ext uri="{FF2B5EF4-FFF2-40B4-BE49-F238E27FC236}">
                <a16:creationId xmlns:a16="http://schemas.microsoft.com/office/drawing/2014/main" id="{19256C37-8FF7-4672-A8A4-7670C8BA3BD7}"/>
              </a:ext>
            </a:extLst>
          </p:cNvPr>
          <p:cNvSpPr>
            <a:spLocks noGrp="1"/>
          </p:cNvSpPr>
          <p:nvPr>
            <p:ph type="sldNum" sz="quarter" idx="12"/>
          </p:nvPr>
        </p:nvSpPr>
        <p:spPr/>
        <p:txBody>
          <a:bodyPr/>
          <a:lstStyle/>
          <a:p>
            <a:r>
              <a:rPr lang="da-DK"/>
              <a:t>Side </a:t>
            </a:r>
            <a:fld id="{24C8C45C-947F-4981-8B3F-4F32E973C901}" type="slidenum">
              <a:rPr lang="da-DK" smtClean="0"/>
              <a:pPr/>
              <a:t>‹nr.›</a:t>
            </a:fld>
            <a:endParaRPr lang="da-DK"/>
          </a:p>
        </p:txBody>
      </p:sp>
    </p:spTree>
    <p:extLst>
      <p:ext uri="{BB962C8B-B14F-4D97-AF65-F5344CB8AC3E}">
        <p14:creationId xmlns:p14="http://schemas.microsoft.com/office/powerpoint/2010/main" val="31453257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39678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0" tIns="432000" anchor="t" anchorCtr="0"/>
          <a:lstStyle>
            <a:lvl1pPr marL="0" indent="0" algn="ctr">
              <a:buNone/>
              <a:defRPr>
                <a:solidFill>
                  <a:schemeClr val="bg1"/>
                </a:solidFill>
              </a:defRPr>
            </a:lvl1pPr>
          </a:lstStyle>
          <a:p>
            <a:r>
              <a:rPr lang="da-DK"/>
              <a:t>Klik her på billedpladsholderen for at tilføje baggrundsbillede eller grafik via Indsæt-fanen / Billeder</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4800" cy="846000"/>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fld id="{BA1EAE91-B0E4-44D6-8053-8ED78232D673}" type="datetime2">
              <a:rPr lang="da-DK" smtClean="0"/>
              <a:t>18. januar 2022</a:t>
            </a:fld>
            <a:endParaRPr lang="da-DK"/>
          </a:p>
        </p:txBody>
      </p:sp>
      <p:sp>
        <p:nvSpPr>
          <p:cNvPr id="11" name="Footer Placeholder 10">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Indsæt præsentationens titel via Sidefod</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Text Placeholder 15">
            <a:extLst>
              <a:ext uri="{FF2B5EF4-FFF2-40B4-BE49-F238E27FC236}">
                <a16:creationId xmlns:a16="http://schemas.microsoft.com/office/drawing/2014/main" id="{C1DBEDD0-A0D1-4C00-BE19-D0E86E6D9E83}"/>
              </a:ext>
            </a:extLst>
          </p:cNvPr>
          <p:cNvSpPr>
            <a:spLocks noGrp="1"/>
          </p:cNvSpPr>
          <p:nvPr userDrawn="1">
            <p:ph type="body" sz="quarter" idx="16"/>
          </p:nvPr>
        </p:nvSpPr>
        <p:spPr>
          <a:xfrm>
            <a:off x="539750" y="2689073"/>
            <a:ext cx="8922905" cy="1089366"/>
          </a:xfrm>
          <a:custGeom>
            <a:avLst/>
            <a:gdLst>
              <a:gd name="connsiteX0" fmla="*/ 22213902 w 23589852"/>
              <a:gd name="connsiteY0" fmla="*/ 0 h 2880000"/>
              <a:gd name="connsiteX1" fmla="*/ 23589852 w 23589852"/>
              <a:gd name="connsiteY1" fmla="*/ 1441307 h 2880000"/>
              <a:gd name="connsiteX2" fmla="*/ 22213902 w 23589852"/>
              <a:gd name="connsiteY2" fmla="*/ 2880000 h 2880000"/>
              <a:gd name="connsiteX3" fmla="*/ 21778198 w 23589852"/>
              <a:gd name="connsiteY3" fmla="*/ 2437325 h 2880000"/>
              <a:gd name="connsiteX4" fmla="*/ 22442210 w 23589852"/>
              <a:gd name="connsiteY4" fmla="*/ 1798584 h 2880000"/>
              <a:gd name="connsiteX5" fmla="*/ 0 w 23589852"/>
              <a:gd name="connsiteY5" fmla="*/ 1798584 h 2880000"/>
              <a:gd name="connsiteX6" fmla="*/ 0 w 23589852"/>
              <a:gd name="connsiteY6" fmla="*/ 1084030 h 2880000"/>
              <a:gd name="connsiteX7" fmla="*/ 22453538 w 23589852"/>
              <a:gd name="connsiteY7" fmla="*/ 1084030 h 2880000"/>
              <a:gd name="connsiteX8" fmla="*/ 21778198 w 23589852"/>
              <a:gd name="connsiteY8" fmla="*/ 445289 h 28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89852" h="2880000">
                <a:moveTo>
                  <a:pt x="22213902" y="0"/>
                </a:moveTo>
                <a:lnTo>
                  <a:pt x="23589852" y="1441307"/>
                </a:lnTo>
                <a:lnTo>
                  <a:pt x="22213902" y="2880000"/>
                </a:lnTo>
                <a:lnTo>
                  <a:pt x="21778198" y="2437325"/>
                </a:lnTo>
                <a:lnTo>
                  <a:pt x="22442210" y="1798584"/>
                </a:lnTo>
                <a:lnTo>
                  <a:pt x="0" y="1798584"/>
                </a:lnTo>
                <a:lnTo>
                  <a:pt x="0" y="1084030"/>
                </a:lnTo>
                <a:lnTo>
                  <a:pt x="22453538" y="1084030"/>
                </a:lnTo>
                <a:lnTo>
                  <a:pt x="21778198" y="445289"/>
                </a:lnTo>
                <a:close/>
              </a:path>
            </a:pathLst>
          </a:custGeom>
          <a:solidFill>
            <a:srgbClr val="1C69B9"/>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1007623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49DD170B-02DA-412D-B770-B0461E5D4C3F}"/>
              </a:ext>
            </a:extLst>
          </p:cNvPr>
          <p:cNvSpPr/>
          <p:nvPr userDrawn="1"/>
        </p:nvSpPr>
        <p:spPr>
          <a:xfrm>
            <a:off x="-5961" y="0"/>
            <a:ext cx="4963724"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7" name="Text Placeholder 2"/>
          <p:cNvSpPr>
            <a:spLocks noGrp="1"/>
          </p:cNvSpPr>
          <p:nvPr>
            <p:ph type="body" sz="quarter" idx="13" hasCustomPrompt="1"/>
          </p:nvPr>
        </p:nvSpPr>
        <p:spPr>
          <a:xfrm>
            <a:off x="5913437" y="989013"/>
            <a:ext cx="5735637" cy="4676776"/>
          </a:xfrm>
        </p:spPr>
        <p:txBody>
          <a:bodyPr anchor="ctr" anchorCtr="0"/>
          <a:lstStyle>
            <a:lvl1pPr marL="288000" indent="-288000">
              <a:spcAft>
                <a:spcPts val="850"/>
              </a:spcAft>
              <a:buFont typeface="Academy Sans Office" panose="020B0503030000000000" pitchFamily="34" charset="0"/>
              <a:buChar char="•"/>
              <a:defRPr sz="1800"/>
            </a:lvl1pPr>
            <a:lvl2pPr marL="576000" indent="-288000">
              <a:lnSpc>
                <a:spcPct val="110000"/>
              </a:lnSpc>
              <a:spcBef>
                <a:spcPts val="0"/>
              </a:spcBef>
              <a:spcAft>
                <a:spcPts val="850"/>
              </a:spcAft>
              <a:buFont typeface="Academy Sans Office" panose="020B0503030000000000" pitchFamily="34" charset="0"/>
              <a:buChar char="•"/>
              <a:defRPr sz="1800" b="0"/>
            </a:lvl2pPr>
            <a:lvl3pPr marL="0" indent="0">
              <a:lnSpc>
                <a:spcPct val="110000"/>
              </a:lnSpc>
              <a:spcBef>
                <a:spcPts val="0"/>
              </a:spcBef>
              <a:spcAft>
                <a:spcPts val="850"/>
              </a:spcAft>
              <a:buFont typeface="Arial" panose="020B0604020202020204" pitchFamily="34" charset="0"/>
              <a:buChar char="​"/>
              <a:defRPr sz="1800" b="1"/>
            </a:lvl3pPr>
            <a:lvl4pPr marL="0" indent="0">
              <a:lnSpc>
                <a:spcPct val="110000"/>
              </a:lnSpc>
              <a:spcBef>
                <a:spcPts val="0"/>
              </a:spcBef>
              <a:spcAft>
                <a:spcPts val="850"/>
              </a:spcAft>
              <a:buFont typeface="Arial" panose="020B0604020202020204" pitchFamily="34" charset="0"/>
              <a:buChar char="​"/>
              <a:defRPr sz="1800"/>
            </a:lvl4pPr>
            <a:lvl5pPr marL="0" indent="0">
              <a:lnSpc>
                <a:spcPct val="110000"/>
              </a:lnSpc>
              <a:spcBef>
                <a:spcPts val="0"/>
              </a:spcBef>
              <a:spcAft>
                <a:spcPts val="850"/>
              </a:spcAft>
              <a:buFont typeface="Arial" panose="020B0604020202020204" pitchFamily="34" charset="0"/>
              <a:buChar char="​"/>
              <a:defRPr sz="1800"/>
            </a:lvl5pPr>
            <a:lvl6pPr marL="0" indent="0">
              <a:lnSpc>
                <a:spcPct val="110000"/>
              </a:lnSpc>
              <a:spcBef>
                <a:spcPts val="0"/>
              </a:spcBef>
              <a:spcAft>
                <a:spcPts val="850"/>
              </a:spcAft>
              <a:buFont typeface="Arial" panose="020B0604020202020204" pitchFamily="34" charset="0"/>
              <a:buChar char="​"/>
              <a:defRPr sz="1800"/>
            </a:lvl6pPr>
            <a:lvl7pPr marL="0" indent="0">
              <a:lnSpc>
                <a:spcPct val="110000"/>
              </a:lnSpc>
              <a:spcBef>
                <a:spcPts val="0"/>
              </a:spcBef>
              <a:spcAft>
                <a:spcPts val="850"/>
              </a:spcAft>
              <a:buFont typeface="Arial" panose="020B0604020202020204" pitchFamily="34" charset="0"/>
              <a:buChar char="​"/>
              <a:defRPr sz="1800"/>
            </a:lvl7pPr>
            <a:lvl8pPr marL="0" indent="0">
              <a:lnSpc>
                <a:spcPct val="110000"/>
              </a:lnSpc>
              <a:spcBef>
                <a:spcPts val="0"/>
              </a:spcBef>
              <a:spcAft>
                <a:spcPts val="850"/>
              </a:spcAft>
              <a:buFont typeface="Arial" panose="020B0604020202020204" pitchFamily="34" charset="0"/>
              <a:buChar char="​"/>
              <a:defRPr sz="1800"/>
            </a:lvl8pPr>
            <a:lvl9pPr marL="0" indent="0">
              <a:lnSpc>
                <a:spcPct val="110000"/>
              </a:lnSpc>
              <a:spcBef>
                <a:spcPts val="0"/>
              </a:spcBef>
              <a:spcAft>
                <a:spcPts val="850"/>
              </a:spcAft>
              <a:buFont typeface="Arial" panose="020B0604020202020204" pitchFamily="34" charset="0"/>
              <a:buChar char="​"/>
              <a:defRPr sz="1800"/>
            </a:lvl9pPr>
          </a:lstStyle>
          <a:p>
            <a:pPr lvl="0"/>
            <a:r>
              <a:rPr lang="da-DK" noProof="0"/>
              <a:t>Klik for at tilføje agendapunk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endParaRPr lang="da-DK" noProof="0"/>
          </a:p>
        </p:txBody>
      </p:sp>
      <p:sp>
        <p:nvSpPr>
          <p:cNvPr id="9" name="Pladsholder til tekst 25">
            <a:extLst>
              <a:ext uri="{FF2B5EF4-FFF2-40B4-BE49-F238E27FC236}">
                <a16:creationId xmlns:a16="http://schemas.microsoft.com/office/drawing/2014/main" id="{5A72A27F-1B55-49FD-B8D4-F9C6A2C933FF}"/>
              </a:ext>
            </a:extLst>
          </p:cNvPr>
          <p:cNvSpPr>
            <a:spLocks noGrp="1"/>
          </p:cNvSpPr>
          <p:nvPr>
            <p:ph type="body" sz="quarter" idx="23" hasCustomPrompt="1"/>
          </p:nvPr>
        </p:nvSpPr>
        <p:spPr>
          <a:xfrm>
            <a:off x="539750" y="989013"/>
            <a:ext cx="3822439" cy="3373215"/>
          </a:xfrm>
        </p:spPr>
        <p:txBody>
          <a:bodyPr anchor="b" anchorCtr="0"/>
          <a:lstStyle>
            <a:lvl1pPr marL="0" indent="0" algn="ctr">
              <a:lnSpc>
                <a:spcPct val="83000"/>
              </a:lnSpc>
              <a:buNone/>
              <a:defRPr sz="10200" spc="-100" baseline="0">
                <a:solidFill>
                  <a:schemeClr val="bg1"/>
                </a:solidFill>
                <a:latin typeface="+mj-lt"/>
              </a:defRPr>
            </a:lvl1pPr>
          </a:lstStyle>
          <a:p>
            <a:pPr lvl="0"/>
            <a:r>
              <a:rPr lang="da-DK"/>
              <a:t>0,0 </a:t>
            </a:r>
            <a:r>
              <a:rPr lang="da-DK" err="1"/>
              <a:t>mio</a:t>
            </a:r>
            <a:endParaRPr lang="da-DK"/>
          </a:p>
        </p:txBody>
      </p:sp>
      <p:sp>
        <p:nvSpPr>
          <p:cNvPr id="13" name="Pladsholder til tekst 27">
            <a:extLst>
              <a:ext uri="{FF2B5EF4-FFF2-40B4-BE49-F238E27FC236}">
                <a16:creationId xmlns:a16="http://schemas.microsoft.com/office/drawing/2014/main" id="{9614AED7-F377-40E0-BE41-7A67EB31CA09}"/>
              </a:ext>
            </a:extLst>
          </p:cNvPr>
          <p:cNvSpPr>
            <a:spLocks noGrp="1"/>
          </p:cNvSpPr>
          <p:nvPr>
            <p:ph type="body" sz="quarter" idx="24" hasCustomPrompt="1"/>
          </p:nvPr>
        </p:nvSpPr>
        <p:spPr>
          <a:xfrm>
            <a:off x="542421" y="4415394"/>
            <a:ext cx="3820029" cy="1250395"/>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4 linjer</a:t>
            </a:r>
          </a:p>
        </p:txBody>
      </p:sp>
      <p:sp>
        <p:nvSpPr>
          <p:cNvPr id="10" name="Date Placeholder 9">
            <a:extLst>
              <a:ext uri="{FF2B5EF4-FFF2-40B4-BE49-F238E27FC236}">
                <a16:creationId xmlns:a16="http://schemas.microsoft.com/office/drawing/2014/main" id="{CA384D5C-1E1B-4056-AED3-E977E45C6306}"/>
              </a:ext>
            </a:extLst>
          </p:cNvPr>
          <p:cNvSpPr>
            <a:spLocks noGrp="1"/>
          </p:cNvSpPr>
          <p:nvPr>
            <p:ph type="dt" sz="half" idx="14"/>
          </p:nvPr>
        </p:nvSpPr>
        <p:spPr/>
        <p:txBody>
          <a:bodyPr/>
          <a:lstStyle/>
          <a:p>
            <a:fld id="{D694B8E8-0E47-4E30-AB19-D7856C461426}" type="datetime2">
              <a:rPr lang="da-DK" smtClean="0"/>
              <a:t>18. januar 2022</a:t>
            </a:fld>
            <a:endParaRPr lang="da-DK"/>
          </a:p>
        </p:txBody>
      </p:sp>
      <p:sp>
        <p:nvSpPr>
          <p:cNvPr id="11" name="Footer Placeholder 10">
            <a:extLst>
              <a:ext uri="{FF2B5EF4-FFF2-40B4-BE49-F238E27FC236}">
                <a16:creationId xmlns:a16="http://schemas.microsoft.com/office/drawing/2014/main" id="{3884BC9E-E7F8-4012-B10B-7243BBDF1150}"/>
              </a:ext>
            </a:extLst>
          </p:cNvPr>
          <p:cNvSpPr>
            <a:spLocks noGrp="1"/>
          </p:cNvSpPr>
          <p:nvPr>
            <p:ph type="ftr" sz="quarter" idx="15"/>
          </p:nvPr>
        </p:nvSpPr>
        <p:spPr/>
        <p:txBody>
          <a:bodyPr/>
          <a:lstStyle>
            <a:lvl1pPr>
              <a:defRPr>
                <a:solidFill>
                  <a:schemeClr val="bg2"/>
                </a:solidFill>
              </a:defRPr>
            </a:lvl1pPr>
          </a:lstStyle>
          <a:p>
            <a:endParaRPr lang="da-DK"/>
          </a:p>
        </p:txBody>
      </p:sp>
      <p:sp>
        <p:nvSpPr>
          <p:cNvPr id="12" name="Slide Number Placeholder 11">
            <a:extLst>
              <a:ext uri="{FF2B5EF4-FFF2-40B4-BE49-F238E27FC236}">
                <a16:creationId xmlns:a16="http://schemas.microsoft.com/office/drawing/2014/main" id="{0C492816-FE6F-4DEB-B911-73C6A530A78C}"/>
              </a:ext>
            </a:extLst>
          </p:cNvPr>
          <p:cNvSpPr>
            <a:spLocks noGrp="1"/>
          </p:cNvSpPr>
          <p:nvPr>
            <p:ph type="sldNum" sz="quarter" idx="16"/>
          </p:nvPr>
        </p:nvSpPr>
        <p:spPr/>
        <p:txBody>
          <a:bodyPr/>
          <a:lstStyle/>
          <a:p>
            <a:fld id="{24C8C45C-947F-4981-8B3F-4F32E973C901}" type="slidenum">
              <a:rPr lang="da-DK" smtClean="0"/>
              <a:pPr/>
              <a:t>‹nr.›</a:t>
            </a:fld>
            <a:endParaRPr lang="da-DK"/>
          </a:p>
        </p:txBody>
      </p:sp>
      <p:sp>
        <p:nvSpPr>
          <p:cNvPr id="8" name="Krone">
            <a:extLst>
              <a:ext uri="{FF2B5EF4-FFF2-40B4-BE49-F238E27FC236}">
                <a16:creationId xmlns:a16="http://schemas.microsoft.com/office/drawing/2014/main" id="{80A2D6BF-B268-4797-A7BD-E085616A8671}"/>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198317535"/>
      </p:ext>
    </p:extLst>
  </p:cSld>
  <p:clrMapOvr>
    <a:masterClrMapping/>
  </p:clrMapOvr>
  <p:extLst>
    <p:ext uri="{DCECCB84-F9BA-43D5-87BE-67443E8EF086}">
      <p15:sldGuideLst xmlns:p15="http://schemas.microsoft.com/office/powerpoint/2012/main">
        <p15:guide id="1" orient="horz" pos="3569" userDrawn="1">
          <p15:clr>
            <a:srgbClr val="000000"/>
          </p15:clr>
        </p15:guide>
        <p15:guide id="2" orient="horz" pos="623" userDrawn="1">
          <p15:clr>
            <a:srgbClr val="000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B">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49DD170B-02DA-412D-B770-B0461E5D4C3F}"/>
              </a:ext>
            </a:extLst>
          </p:cNvPr>
          <p:cNvSpPr/>
          <p:nvPr userDrawn="1"/>
        </p:nvSpPr>
        <p:spPr>
          <a:xfrm>
            <a:off x="-5961" y="0"/>
            <a:ext cx="4368411"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4" name="Background">
            <a:extLst>
              <a:ext uri="{FF2B5EF4-FFF2-40B4-BE49-F238E27FC236}">
                <a16:creationId xmlns:a16="http://schemas.microsoft.com/office/drawing/2014/main" id="{E6D1C5B9-456F-4379-B575-CE43D97FA913}"/>
              </a:ext>
            </a:extLst>
          </p:cNvPr>
          <p:cNvSpPr/>
          <p:nvPr userDrawn="1"/>
        </p:nvSpPr>
        <p:spPr>
          <a:xfrm>
            <a:off x="1135063" y="989013"/>
            <a:ext cx="3822700" cy="4676776"/>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7" name="Text Placeholder 2"/>
          <p:cNvSpPr>
            <a:spLocks noGrp="1"/>
          </p:cNvSpPr>
          <p:nvPr>
            <p:ph type="body" sz="quarter" idx="13" hasCustomPrompt="1"/>
          </p:nvPr>
        </p:nvSpPr>
        <p:spPr>
          <a:xfrm>
            <a:off x="5913437" y="989013"/>
            <a:ext cx="5735637" cy="4676776"/>
          </a:xfrm>
        </p:spPr>
        <p:txBody>
          <a:bodyPr anchor="ctr" anchorCtr="0"/>
          <a:lstStyle>
            <a:lvl1pPr marL="360000" indent="-360000">
              <a:lnSpc>
                <a:spcPct val="94000"/>
              </a:lnSpc>
              <a:spcAft>
                <a:spcPts val="1701"/>
              </a:spcAft>
              <a:buFont typeface="Academy Sans Office" panose="020B0503030000000000" pitchFamily="34" charset="0"/>
              <a:buChar char="•"/>
              <a:defRPr sz="2200"/>
            </a:lvl1pPr>
            <a:lvl2pPr marL="720000" indent="-360000">
              <a:lnSpc>
                <a:spcPct val="94000"/>
              </a:lnSpc>
              <a:spcBef>
                <a:spcPts val="0"/>
              </a:spcBef>
              <a:spcAft>
                <a:spcPts val="1701"/>
              </a:spcAft>
              <a:buFont typeface="Academy Sans Office" panose="020B0503030000000000" pitchFamily="34" charset="0"/>
              <a:buChar char="•"/>
              <a:defRPr sz="2200" b="0"/>
            </a:lvl2pPr>
            <a:lvl3pPr marL="0" indent="0">
              <a:lnSpc>
                <a:spcPct val="94000"/>
              </a:lnSpc>
              <a:spcBef>
                <a:spcPts val="0"/>
              </a:spcBef>
              <a:spcAft>
                <a:spcPts val="1701"/>
              </a:spcAft>
              <a:buFont typeface="Arial" panose="020B0604020202020204" pitchFamily="34" charset="0"/>
              <a:buChar char="​"/>
              <a:defRPr sz="2200" b="1"/>
            </a:lvl3pPr>
            <a:lvl4pPr marL="0" indent="0">
              <a:lnSpc>
                <a:spcPct val="110000"/>
              </a:lnSpc>
              <a:spcBef>
                <a:spcPts val="0"/>
              </a:spcBef>
              <a:spcAft>
                <a:spcPts val="850"/>
              </a:spcAft>
              <a:buFont typeface="Arial" panose="020B0604020202020204" pitchFamily="34" charset="0"/>
              <a:buChar char="​"/>
              <a:defRPr sz="1800"/>
            </a:lvl4pPr>
            <a:lvl5pPr marL="0" indent="0">
              <a:lnSpc>
                <a:spcPct val="110000"/>
              </a:lnSpc>
              <a:spcBef>
                <a:spcPts val="0"/>
              </a:spcBef>
              <a:spcAft>
                <a:spcPts val="850"/>
              </a:spcAft>
              <a:buFont typeface="Arial" panose="020B0604020202020204" pitchFamily="34" charset="0"/>
              <a:buChar char="​"/>
              <a:defRPr sz="1800"/>
            </a:lvl5pPr>
            <a:lvl6pPr marL="0" indent="0">
              <a:lnSpc>
                <a:spcPct val="110000"/>
              </a:lnSpc>
              <a:spcBef>
                <a:spcPts val="0"/>
              </a:spcBef>
              <a:spcAft>
                <a:spcPts val="850"/>
              </a:spcAft>
              <a:buFont typeface="Arial" panose="020B0604020202020204" pitchFamily="34" charset="0"/>
              <a:buChar char="​"/>
              <a:defRPr sz="1800"/>
            </a:lvl6pPr>
            <a:lvl7pPr marL="0" indent="0">
              <a:lnSpc>
                <a:spcPct val="110000"/>
              </a:lnSpc>
              <a:spcBef>
                <a:spcPts val="0"/>
              </a:spcBef>
              <a:spcAft>
                <a:spcPts val="850"/>
              </a:spcAft>
              <a:buFont typeface="Arial" panose="020B0604020202020204" pitchFamily="34" charset="0"/>
              <a:buChar char="​"/>
              <a:defRPr sz="1800"/>
            </a:lvl7pPr>
            <a:lvl8pPr marL="0" indent="0">
              <a:lnSpc>
                <a:spcPct val="110000"/>
              </a:lnSpc>
              <a:spcBef>
                <a:spcPts val="0"/>
              </a:spcBef>
              <a:spcAft>
                <a:spcPts val="850"/>
              </a:spcAft>
              <a:buFont typeface="Arial" panose="020B0604020202020204" pitchFamily="34" charset="0"/>
              <a:buChar char="​"/>
              <a:defRPr sz="1800"/>
            </a:lvl8pPr>
            <a:lvl9pPr marL="0" indent="0">
              <a:lnSpc>
                <a:spcPct val="110000"/>
              </a:lnSpc>
              <a:spcBef>
                <a:spcPts val="0"/>
              </a:spcBef>
              <a:spcAft>
                <a:spcPts val="850"/>
              </a:spcAft>
              <a:buFont typeface="Arial" panose="020B0604020202020204" pitchFamily="34" charset="0"/>
              <a:buChar char="​"/>
              <a:defRPr sz="1800"/>
            </a:lvl9pPr>
          </a:lstStyle>
          <a:p>
            <a:pPr lvl="0"/>
            <a:r>
              <a:rPr lang="da-DK" noProof="0"/>
              <a:t>Klik for at tilføje agendapunk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endParaRPr lang="da-DK" noProof="0"/>
          </a:p>
        </p:txBody>
      </p:sp>
      <p:sp>
        <p:nvSpPr>
          <p:cNvPr id="9" name="Pladsholder til tekst 25">
            <a:extLst>
              <a:ext uri="{FF2B5EF4-FFF2-40B4-BE49-F238E27FC236}">
                <a16:creationId xmlns:a16="http://schemas.microsoft.com/office/drawing/2014/main" id="{5A72A27F-1B55-49FD-B8D4-F9C6A2C933FF}"/>
              </a:ext>
            </a:extLst>
          </p:cNvPr>
          <p:cNvSpPr>
            <a:spLocks noGrp="1"/>
          </p:cNvSpPr>
          <p:nvPr>
            <p:ph type="body" sz="quarter" idx="23" hasCustomPrompt="1"/>
          </p:nvPr>
        </p:nvSpPr>
        <p:spPr>
          <a:xfrm>
            <a:off x="1735138" y="1529013"/>
            <a:ext cx="2627050" cy="2833215"/>
          </a:xfrm>
        </p:spPr>
        <p:txBody>
          <a:bodyPr anchor="b" anchorCtr="0"/>
          <a:lstStyle>
            <a:lvl1pPr marL="0" indent="0" algn="ctr">
              <a:lnSpc>
                <a:spcPct val="83000"/>
              </a:lnSpc>
              <a:buNone/>
              <a:defRPr sz="10200" spc="-100" baseline="0">
                <a:solidFill>
                  <a:schemeClr val="bg1"/>
                </a:solidFill>
                <a:latin typeface="+mj-lt"/>
              </a:defRPr>
            </a:lvl1pPr>
          </a:lstStyle>
          <a:p>
            <a:pPr lvl="0"/>
            <a:r>
              <a:rPr lang="da-DK"/>
              <a:t>0,0 </a:t>
            </a:r>
            <a:r>
              <a:rPr lang="da-DK" err="1"/>
              <a:t>mio</a:t>
            </a:r>
            <a:endParaRPr lang="da-DK"/>
          </a:p>
        </p:txBody>
      </p:sp>
      <p:sp>
        <p:nvSpPr>
          <p:cNvPr id="13" name="Pladsholder til tekst 27">
            <a:extLst>
              <a:ext uri="{FF2B5EF4-FFF2-40B4-BE49-F238E27FC236}">
                <a16:creationId xmlns:a16="http://schemas.microsoft.com/office/drawing/2014/main" id="{9614AED7-F377-40E0-BE41-7A67EB31CA09}"/>
              </a:ext>
            </a:extLst>
          </p:cNvPr>
          <p:cNvSpPr>
            <a:spLocks noGrp="1"/>
          </p:cNvSpPr>
          <p:nvPr>
            <p:ph type="body" sz="quarter" idx="24" hasCustomPrompt="1"/>
          </p:nvPr>
        </p:nvSpPr>
        <p:spPr>
          <a:xfrm>
            <a:off x="1735138" y="4415395"/>
            <a:ext cx="2627312" cy="759532"/>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3 linjer</a:t>
            </a:r>
          </a:p>
        </p:txBody>
      </p:sp>
      <p:sp>
        <p:nvSpPr>
          <p:cNvPr id="10" name="Date Placeholder 9">
            <a:extLst>
              <a:ext uri="{FF2B5EF4-FFF2-40B4-BE49-F238E27FC236}">
                <a16:creationId xmlns:a16="http://schemas.microsoft.com/office/drawing/2014/main" id="{CA384D5C-1E1B-4056-AED3-E977E45C6306}"/>
              </a:ext>
            </a:extLst>
          </p:cNvPr>
          <p:cNvSpPr>
            <a:spLocks noGrp="1"/>
          </p:cNvSpPr>
          <p:nvPr>
            <p:ph type="dt" sz="half" idx="14"/>
          </p:nvPr>
        </p:nvSpPr>
        <p:spPr/>
        <p:txBody>
          <a:bodyPr/>
          <a:lstStyle/>
          <a:p>
            <a:fld id="{B0CD0F98-EC63-4B8F-8D0F-169048BF053A}" type="datetime2">
              <a:rPr lang="da-DK" smtClean="0"/>
              <a:t>18. januar 2022</a:t>
            </a:fld>
            <a:endParaRPr lang="da-DK"/>
          </a:p>
        </p:txBody>
      </p:sp>
      <p:sp>
        <p:nvSpPr>
          <p:cNvPr id="11" name="Footer Placeholder 10">
            <a:extLst>
              <a:ext uri="{FF2B5EF4-FFF2-40B4-BE49-F238E27FC236}">
                <a16:creationId xmlns:a16="http://schemas.microsoft.com/office/drawing/2014/main" id="{3884BC9E-E7F8-4012-B10B-7243BBDF1150}"/>
              </a:ext>
            </a:extLst>
          </p:cNvPr>
          <p:cNvSpPr>
            <a:spLocks noGrp="1"/>
          </p:cNvSpPr>
          <p:nvPr>
            <p:ph type="ftr" sz="quarter" idx="15"/>
          </p:nvPr>
        </p:nvSpPr>
        <p:spPr/>
        <p:txBody>
          <a:bodyPr/>
          <a:lstStyle>
            <a:lvl1pPr>
              <a:defRPr>
                <a:solidFill>
                  <a:schemeClr val="bg2"/>
                </a:solidFill>
              </a:defRPr>
            </a:lvl1pPr>
          </a:lstStyle>
          <a:p>
            <a:endParaRPr lang="da-DK"/>
          </a:p>
        </p:txBody>
      </p:sp>
      <p:sp>
        <p:nvSpPr>
          <p:cNvPr id="12" name="Slide Number Placeholder 11">
            <a:extLst>
              <a:ext uri="{FF2B5EF4-FFF2-40B4-BE49-F238E27FC236}">
                <a16:creationId xmlns:a16="http://schemas.microsoft.com/office/drawing/2014/main" id="{0C492816-FE6F-4DEB-B911-73C6A530A78C}"/>
              </a:ext>
            </a:extLst>
          </p:cNvPr>
          <p:cNvSpPr>
            <a:spLocks noGrp="1"/>
          </p:cNvSpPr>
          <p:nvPr>
            <p:ph type="sldNum" sz="quarter" idx="16"/>
          </p:nvPr>
        </p:nvSpPr>
        <p:spPr/>
        <p:txBody>
          <a:bodyPr/>
          <a:lstStyle/>
          <a:p>
            <a:fld id="{24C8C45C-947F-4981-8B3F-4F32E973C901}" type="slidenum">
              <a:rPr lang="da-DK" smtClean="0"/>
              <a:pPr/>
              <a:t>‹nr.›</a:t>
            </a:fld>
            <a:endParaRPr lang="da-DK"/>
          </a:p>
        </p:txBody>
      </p:sp>
      <p:sp>
        <p:nvSpPr>
          <p:cNvPr id="8" name="Krone">
            <a:extLst>
              <a:ext uri="{FF2B5EF4-FFF2-40B4-BE49-F238E27FC236}">
                <a16:creationId xmlns:a16="http://schemas.microsoft.com/office/drawing/2014/main" id="{80A2D6BF-B268-4797-A7BD-E085616A8671}"/>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3306243777"/>
      </p:ext>
    </p:extLst>
  </p:cSld>
  <p:clrMapOvr>
    <a:masterClrMapping/>
  </p:clrMapOvr>
  <p:extLst>
    <p:ext uri="{DCECCB84-F9BA-43D5-87BE-67443E8EF086}">
      <p15:sldGuideLst xmlns:p15="http://schemas.microsoft.com/office/powerpoint/2012/main">
        <p15:guide id="1" orient="horz" pos="3569" userDrawn="1">
          <p15:clr>
            <a:srgbClr val="000000"/>
          </p15:clr>
        </p15:guide>
        <p15:guide id="2" orient="horz" pos="623" userDrawn="1">
          <p15:clr>
            <a:srgbClr val="000000"/>
          </p15:clr>
        </p15:guide>
        <p15:guide id="3" pos="1093" userDrawn="1">
          <p15:clr>
            <a:srgbClr val="FDE53C"/>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17" name="Background">
            <a:extLst>
              <a:ext uri="{FF2B5EF4-FFF2-40B4-BE49-F238E27FC236}">
                <a16:creationId xmlns:a16="http://schemas.microsoft.com/office/drawing/2014/main" id="{10AE0365-9955-4F77-AA90-1F39310C2CF5}"/>
              </a:ext>
            </a:extLst>
          </p:cNvPr>
          <p:cNvSpPr/>
          <p:nvPr userDrawn="1"/>
        </p:nvSpPr>
        <p:spPr>
          <a:xfrm>
            <a:off x="-5961" y="0"/>
            <a:ext cx="4963724"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5" name="Picture Placeholder 7">
            <a:extLst>
              <a:ext uri="{FF2B5EF4-FFF2-40B4-BE49-F238E27FC236}">
                <a16:creationId xmlns:a16="http://schemas.microsoft.com/office/drawing/2014/main" id="{5051A278-2513-4B68-B36A-EB0A7DC453E3}"/>
              </a:ext>
            </a:extLst>
          </p:cNvPr>
          <p:cNvSpPr>
            <a:spLocks noGrp="1"/>
          </p:cNvSpPr>
          <p:nvPr>
            <p:ph type="pic" sz="quarter" idx="13" hasCustomPrompt="1"/>
          </p:nvPr>
        </p:nvSpPr>
        <p:spPr>
          <a:xfrm>
            <a:off x="4957762" y="0"/>
            <a:ext cx="7234237" cy="6858000"/>
          </a:xfrm>
          <a:solidFill>
            <a:schemeClr val="bg1">
              <a:lumMod val="95000"/>
            </a:schemeClr>
          </a:solidFill>
        </p:spPr>
        <p:txBody>
          <a:bodyPr lIns="0" tIns="0" bIns="720000" anchor="ctr" anchorCtr="0"/>
          <a:lstStyle>
            <a:lvl1pPr marL="0" indent="0" algn="ctr">
              <a:buNone/>
              <a:defRPr sz="1500">
                <a:solidFill>
                  <a:schemeClr val="accent1"/>
                </a:solidFill>
              </a:defRPr>
            </a:lvl1pPr>
          </a:lstStyle>
          <a:p>
            <a:r>
              <a:rPr lang="da-DK" noProof="0"/>
              <a:t>Klik på ikonet for at indsætte billede</a:t>
            </a:r>
          </a:p>
        </p:txBody>
      </p:sp>
      <p:sp>
        <p:nvSpPr>
          <p:cNvPr id="6" name="Titel 5">
            <a:extLst>
              <a:ext uri="{FF2B5EF4-FFF2-40B4-BE49-F238E27FC236}">
                <a16:creationId xmlns:a16="http://schemas.microsoft.com/office/drawing/2014/main" id="{0B62E4E3-08C7-4594-BC1A-A13DA9DFF924}"/>
              </a:ext>
            </a:extLst>
          </p:cNvPr>
          <p:cNvSpPr>
            <a:spLocks noGrp="1"/>
          </p:cNvSpPr>
          <p:nvPr>
            <p:ph type="title" hasCustomPrompt="1"/>
          </p:nvPr>
        </p:nvSpPr>
        <p:spPr>
          <a:xfrm>
            <a:off x="538570" y="989012"/>
            <a:ext cx="3877200" cy="1980987"/>
          </a:xfrm>
          <a:noFill/>
        </p:spPr>
        <p:txBody>
          <a:bodyPr lIns="0" tIns="0" rIns="0" bIns="0" anchor="ctr" anchorCtr="0"/>
          <a:lstStyle>
            <a:lvl1pPr algn="ctr">
              <a:lnSpc>
                <a:spcPct val="110000"/>
              </a:lnSpc>
              <a:defRPr sz="3000" b="1">
                <a:solidFill>
                  <a:schemeClr val="bg1"/>
                </a:solidFill>
                <a:latin typeface="+mn-lt"/>
              </a:defRPr>
            </a:lvl1pPr>
          </a:lstStyle>
          <a:p>
            <a:r>
              <a:rPr lang="da-DK"/>
              <a:t>“Klik for at indsætte citat, husk citationstegn”</a:t>
            </a:r>
          </a:p>
        </p:txBody>
      </p:sp>
      <p:sp>
        <p:nvSpPr>
          <p:cNvPr id="9" name="Pladsholder til tekst 25">
            <a:extLst>
              <a:ext uri="{FF2B5EF4-FFF2-40B4-BE49-F238E27FC236}">
                <a16:creationId xmlns:a16="http://schemas.microsoft.com/office/drawing/2014/main" id="{5A72A27F-1B55-49FD-B8D4-F9C6A2C933FF}"/>
              </a:ext>
            </a:extLst>
          </p:cNvPr>
          <p:cNvSpPr>
            <a:spLocks noGrp="1"/>
          </p:cNvSpPr>
          <p:nvPr>
            <p:ph type="body" sz="quarter" idx="23" hasCustomPrompt="1"/>
          </p:nvPr>
        </p:nvSpPr>
        <p:spPr>
          <a:xfrm>
            <a:off x="3406775" y="3977555"/>
            <a:ext cx="4419600" cy="2880446"/>
          </a:xfrm>
          <a:solidFill>
            <a:srgbClr val="1C69B9"/>
          </a:solidFill>
        </p:spPr>
        <p:txBody>
          <a:bodyPr wrap="none" lIns="594000" tIns="0" rIns="594000" bIns="1296000" anchor="b" anchorCtr="0">
            <a:noAutofit/>
          </a:bodyPr>
          <a:lstStyle>
            <a:lvl1pPr marL="0" indent="0" algn="ctr">
              <a:lnSpc>
                <a:spcPct val="83000"/>
              </a:lnSpc>
              <a:buNone/>
              <a:defRPr sz="6200" spc="-100" baseline="0">
                <a:solidFill>
                  <a:schemeClr val="bg1"/>
                </a:solidFill>
                <a:latin typeface="+mj-lt"/>
              </a:defRPr>
            </a:lvl1pPr>
          </a:lstStyle>
          <a:p>
            <a:pPr lvl="0"/>
            <a:r>
              <a:rPr lang="da-DK"/>
              <a:t>0,0 </a:t>
            </a:r>
            <a:r>
              <a:rPr lang="da-DK" err="1"/>
              <a:t>mio</a:t>
            </a:r>
            <a:endParaRPr lang="da-DK"/>
          </a:p>
        </p:txBody>
      </p:sp>
      <p:sp>
        <p:nvSpPr>
          <p:cNvPr id="13" name="Pladsholder til tekst 27">
            <a:extLst>
              <a:ext uri="{FF2B5EF4-FFF2-40B4-BE49-F238E27FC236}">
                <a16:creationId xmlns:a16="http://schemas.microsoft.com/office/drawing/2014/main" id="{9614AED7-F377-40E0-BE41-7A67EB31CA09}"/>
              </a:ext>
            </a:extLst>
          </p:cNvPr>
          <p:cNvSpPr>
            <a:spLocks noGrp="1"/>
          </p:cNvSpPr>
          <p:nvPr>
            <p:ph type="body" sz="quarter" idx="24" hasCustomPrompt="1"/>
          </p:nvPr>
        </p:nvSpPr>
        <p:spPr>
          <a:xfrm>
            <a:off x="4002088" y="5715002"/>
            <a:ext cx="3224406" cy="600940"/>
          </a:xfrm>
        </p:spPr>
        <p:txBody>
          <a:bodyPr/>
          <a:lstStyle>
            <a:lvl1pPr algn="ct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da-DK"/>
              <a:t>Klik for at tilføje tekst i maks. 2 linjer</a:t>
            </a:r>
          </a:p>
        </p:txBody>
      </p:sp>
      <p:sp>
        <p:nvSpPr>
          <p:cNvPr id="10" name="Date Placeholder 9">
            <a:extLst>
              <a:ext uri="{FF2B5EF4-FFF2-40B4-BE49-F238E27FC236}">
                <a16:creationId xmlns:a16="http://schemas.microsoft.com/office/drawing/2014/main" id="{CA384D5C-1E1B-4056-AED3-E977E45C6306}"/>
              </a:ext>
            </a:extLst>
          </p:cNvPr>
          <p:cNvSpPr>
            <a:spLocks noGrp="1"/>
          </p:cNvSpPr>
          <p:nvPr>
            <p:ph type="dt" sz="half" idx="14"/>
          </p:nvPr>
        </p:nvSpPr>
        <p:spPr/>
        <p:txBody>
          <a:bodyPr/>
          <a:lstStyle/>
          <a:p>
            <a:fld id="{4AA63BD5-F984-46AC-8FB6-6F8DF106ECA9}" type="datetime2">
              <a:rPr lang="da-DK" smtClean="0"/>
              <a:t>18. januar 2022</a:t>
            </a:fld>
            <a:endParaRPr lang="da-DK"/>
          </a:p>
        </p:txBody>
      </p:sp>
      <p:sp>
        <p:nvSpPr>
          <p:cNvPr id="11" name="Footer Placeholder 10">
            <a:extLst>
              <a:ext uri="{FF2B5EF4-FFF2-40B4-BE49-F238E27FC236}">
                <a16:creationId xmlns:a16="http://schemas.microsoft.com/office/drawing/2014/main" id="{3884BC9E-E7F8-4012-B10B-7243BBDF1150}"/>
              </a:ext>
            </a:extLst>
          </p:cNvPr>
          <p:cNvSpPr>
            <a:spLocks noGrp="1"/>
          </p:cNvSpPr>
          <p:nvPr>
            <p:ph type="ftr" sz="quarter" idx="15"/>
          </p:nvPr>
        </p:nvSpPr>
        <p:spPr/>
        <p:txBody>
          <a:bodyPr/>
          <a:lstStyle>
            <a:lvl1pPr>
              <a:defRPr>
                <a:solidFill>
                  <a:schemeClr val="bg2"/>
                </a:solidFill>
              </a:defRPr>
            </a:lvl1pPr>
          </a:lstStyle>
          <a:p>
            <a:endParaRPr lang="da-DK"/>
          </a:p>
        </p:txBody>
      </p:sp>
      <p:sp>
        <p:nvSpPr>
          <p:cNvPr id="12" name="Slide Number Placeholder 11">
            <a:extLst>
              <a:ext uri="{FF2B5EF4-FFF2-40B4-BE49-F238E27FC236}">
                <a16:creationId xmlns:a16="http://schemas.microsoft.com/office/drawing/2014/main" id="{0C492816-FE6F-4DEB-B911-73C6A530A78C}"/>
              </a:ext>
            </a:extLst>
          </p:cNvPr>
          <p:cNvSpPr>
            <a:spLocks noGrp="1"/>
          </p:cNvSpPr>
          <p:nvPr>
            <p:ph type="sldNum" sz="quarter" idx="16"/>
          </p:nvPr>
        </p:nvSpPr>
        <p:spPr/>
        <p:txBody>
          <a:bodyPr/>
          <a:lstStyle>
            <a:lvl1pPr>
              <a:defRPr>
                <a:solidFill>
                  <a:schemeClr val="bg1"/>
                </a:solidFill>
              </a:defRPr>
            </a:lvl1pPr>
          </a:lstStyle>
          <a:p>
            <a:fld id="{24C8C45C-947F-4981-8B3F-4F32E973C901}" type="slidenum">
              <a:rPr lang="da-DK" smtClean="0"/>
              <a:pPr/>
              <a:t>‹nr.›</a:t>
            </a:fld>
            <a:endParaRPr lang="da-DK"/>
          </a:p>
        </p:txBody>
      </p:sp>
      <p:sp>
        <p:nvSpPr>
          <p:cNvPr id="2" name="Krone">
            <a:extLst>
              <a:ext uri="{FF2B5EF4-FFF2-40B4-BE49-F238E27FC236}">
                <a16:creationId xmlns:a16="http://schemas.microsoft.com/office/drawing/2014/main" id="{13E999C5-A18E-4288-A36A-D69D163AAE99}"/>
              </a:ext>
            </a:extLst>
          </p:cNvPr>
          <p:cNvSpPr/>
          <p:nvPr userDrawn="1">
            <p:custDataLst>
              <p:tags r:id="rId1"/>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2281786067"/>
      </p:ext>
    </p:extLst>
  </p:cSld>
  <p:clrMapOvr>
    <a:masterClrMapping/>
  </p:clrMapOvr>
  <p:extLst>
    <p:ext uri="{DCECCB84-F9BA-43D5-87BE-67443E8EF086}">
      <p15:sldGuideLst xmlns:p15="http://schemas.microsoft.com/office/powerpoint/2012/main">
        <p15:guide id="1" orient="horz" pos="3569" userDrawn="1">
          <p15:clr>
            <a:srgbClr val="F26B43"/>
          </p15:clr>
        </p15:guide>
        <p15:guide id="2" orient="horz" pos="623" userDrawn="1">
          <p15:clr>
            <a:srgbClr val="F26B43"/>
          </p15:clr>
        </p15:guide>
        <p15:guide id="3" pos="1093" userDrawn="1">
          <p15:clr>
            <a:srgbClr val="FDE53C"/>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 afslutning">
    <p:spTree>
      <p:nvGrpSpPr>
        <p:cNvPr id="1" name=""/>
        <p:cNvGrpSpPr/>
        <p:nvPr/>
      </p:nvGrpSpPr>
      <p:grpSpPr>
        <a:xfrm>
          <a:off x="0" y="0"/>
          <a:ext cx="0" cy="0"/>
          <a:chOff x="0" y="0"/>
          <a:chExt cx="0" cy="0"/>
        </a:xfrm>
      </p:grpSpPr>
      <p:sp>
        <p:nvSpPr>
          <p:cNvPr id="7" name="Baggr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14" name="Picture Placeholder 13">
            <a:extLst>
              <a:ext uri="{FF2B5EF4-FFF2-40B4-BE49-F238E27FC236}">
                <a16:creationId xmlns:a16="http://schemas.microsoft.com/office/drawing/2014/main" id="{1F6E5B2F-CC3D-4D86-99BE-8EA3E717668B}"/>
              </a:ext>
            </a:extLst>
          </p:cNvPr>
          <p:cNvSpPr>
            <a:spLocks noGrp="1"/>
          </p:cNvSpPr>
          <p:nvPr>
            <p:ph type="pic" sz="quarter" idx="17" hasCustomPrompt="1"/>
          </p:nvPr>
        </p:nvSpPr>
        <p:spPr>
          <a:xfrm>
            <a:off x="0" y="0"/>
            <a:ext cx="12192000" cy="6858000"/>
          </a:xfrm>
          <a:solidFill>
            <a:schemeClr val="tx1"/>
          </a:solidFill>
        </p:spPr>
        <p:txBody>
          <a:bodyPr lIns="0" tIns="432000" anchor="t" anchorCtr="0"/>
          <a:lstStyle>
            <a:lvl1pPr marL="0" indent="0" algn="ctr">
              <a:buNone/>
              <a:defRPr>
                <a:solidFill>
                  <a:schemeClr val="bg1"/>
                </a:solidFill>
              </a:defRPr>
            </a:lvl1pPr>
          </a:lstStyle>
          <a:p>
            <a:r>
              <a:rPr lang="da-DK"/>
              <a:t>Klik her på billedpladsholderen for at tilføje baggrundsbillede eller grafik via Indsæt-fanen / Billeder</a:t>
            </a:r>
          </a:p>
        </p:txBody>
      </p:sp>
      <p:sp>
        <p:nvSpPr>
          <p:cNvPr id="2" name="Title 1"/>
          <p:cNvSpPr>
            <a:spLocks noGrp="1"/>
          </p:cNvSpPr>
          <p:nvPr>
            <p:ph type="ctrTitle" hasCustomPrompt="1"/>
          </p:nvPr>
        </p:nvSpPr>
        <p:spPr>
          <a:xfrm>
            <a:off x="539749" y="814665"/>
            <a:ext cx="7288214" cy="2039815"/>
          </a:xfrm>
        </p:spPr>
        <p:txBody>
          <a:bodyPr anchor="b">
            <a:normAutofit/>
          </a:bodyPr>
          <a:lstStyle>
            <a:lvl1pPr algn="l">
              <a:defRPr sz="5200">
                <a:solidFill>
                  <a:schemeClr val="bg1"/>
                </a:solidFill>
              </a:defRPr>
            </a:lvl1pPr>
          </a:lstStyle>
          <a:p>
            <a:r>
              <a:rPr lang="da-DK"/>
              <a:t>Klik for at tilføje titel</a:t>
            </a:r>
          </a:p>
        </p:txBody>
      </p:sp>
      <p:sp>
        <p:nvSpPr>
          <p:cNvPr id="3" name="Subtitle 2"/>
          <p:cNvSpPr>
            <a:spLocks noGrp="1"/>
          </p:cNvSpPr>
          <p:nvPr>
            <p:ph type="subTitle" idx="1" hasCustomPrompt="1"/>
          </p:nvPr>
        </p:nvSpPr>
        <p:spPr>
          <a:xfrm>
            <a:off x="539750" y="3718762"/>
            <a:ext cx="5374800" cy="1010126"/>
          </a:xfrm>
        </p:spPr>
        <p:txBody>
          <a:bodyPr/>
          <a:lstStyle>
            <a:lvl1pPr marL="0" indent="0" algn="l">
              <a:lnSpc>
                <a:spcPct val="100000"/>
              </a:lnSpc>
              <a:spcBef>
                <a:spcPts val="0"/>
              </a:spcBef>
              <a:buFont typeface="Arial" panose="020B0604020202020204" pitchFamily="34" charset="0"/>
              <a:buChar char="​"/>
              <a:defRPr sz="2000">
                <a:solidFill>
                  <a:schemeClr val="bg1"/>
                </a:solidFill>
              </a:defRPr>
            </a:lvl1pPr>
            <a:lvl2pPr marL="0" indent="0" algn="l">
              <a:lnSpc>
                <a:spcPct val="100000"/>
              </a:lnSpc>
              <a:buFont typeface="Arial" panose="020B0604020202020204" pitchFamily="34" charset="0"/>
              <a:buNone/>
              <a:defRPr sz="2000">
                <a:solidFill>
                  <a:schemeClr val="bg1"/>
                </a:solidFill>
              </a:defRPr>
            </a:lvl2pPr>
            <a:lvl3pPr marL="0" indent="0" algn="l">
              <a:lnSpc>
                <a:spcPct val="100000"/>
              </a:lnSpc>
              <a:buFont typeface="Arial" panose="020B0604020202020204" pitchFamily="34" charset="0"/>
              <a:buChar char="​"/>
              <a:defRPr sz="2000">
                <a:solidFill>
                  <a:schemeClr val="bg1"/>
                </a:solidFill>
              </a:defRPr>
            </a:lvl3pPr>
            <a:lvl4pPr marL="0" indent="0" algn="l">
              <a:lnSpc>
                <a:spcPct val="100000"/>
              </a:lnSpc>
              <a:buFont typeface="Arial" panose="020B0604020202020204" pitchFamily="34" charset="0"/>
              <a:buChar char="​"/>
              <a:defRPr sz="2000">
                <a:solidFill>
                  <a:schemeClr val="bg1"/>
                </a:solidFill>
              </a:defRPr>
            </a:lvl4pPr>
            <a:lvl5pPr marL="0" indent="0" algn="l">
              <a:lnSpc>
                <a:spcPct val="100000"/>
              </a:lnSpc>
              <a:buFont typeface="Arial" panose="020B0604020202020204" pitchFamily="34" charset="0"/>
              <a:buChar char="​"/>
              <a:defRPr sz="2000">
                <a:solidFill>
                  <a:schemeClr val="bg1"/>
                </a:solidFill>
              </a:defRPr>
            </a:lvl5pPr>
            <a:lvl6pPr marL="0" indent="0" algn="l">
              <a:lnSpc>
                <a:spcPct val="100000"/>
              </a:lnSpc>
              <a:buFont typeface="Arial" panose="020B0604020202020204" pitchFamily="34" charset="0"/>
              <a:buChar char="​"/>
              <a:defRPr sz="2000">
                <a:solidFill>
                  <a:schemeClr val="bg1"/>
                </a:solidFill>
              </a:defRPr>
            </a:lvl6pPr>
            <a:lvl7pPr marL="0" indent="0" algn="l">
              <a:lnSpc>
                <a:spcPct val="100000"/>
              </a:lnSpc>
              <a:buFont typeface="Arial" panose="020B0604020202020204" pitchFamily="34" charset="0"/>
              <a:buChar char="​"/>
              <a:defRPr sz="2000">
                <a:solidFill>
                  <a:schemeClr val="bg1"/>
                </a:solidFill>
              </a:defRPr>
            </a:lvl7pPr>
            <a:lvl8pPr marL="0" indent="0" algn="l">
              <a:lnSpc>
                <a:spcPct val="100000"/>
              </a:lnSpc>
              <a:buFont typeface="Arial" panose="020B0604020202020204" pitchFamily="34" charset="0"/>
              <a:buChar char="​"/>
              <a:defRPr sz="2000">
                <a:solidFill>
                  <a:schemeClr val="bg1"/>
                </a:solidFill>
              </a:defRPr>
            </a:lvl8pPr>
            <a:lvl9pPr marL="0" indent="0" algn="l">
              <a:lnSpc>
                <a:spcPct val="100000"/>
              </a:lnSpc>
              <a:buFont typeface="Arial" panose="020B0604020202020204" pitchFamily="34" charset="0"/>
              <a:buChar char="​"/>
              <a:tabLst/>
              <a:defRPr sz="2000">
                <a:solidFill>
                  <a:schemeClr val="bg1"/>
                </a:solidFill>
              </a:defRPr>
            </a:lvl9pPr>
          </a:lstStyle>
          <a:p>
            <a:r>
              <a:rPr lang="da-DK"/>
              <a:t>Klik for at tilføje underoverskrift i flere linjer</a:t>
            </a:r>
          </a:p>
        </p:txBody>
      </p:sp>
      <p:sp>
        <p:nvSpPr>
          <p:cNvPr id="10" name="Date Placeholder 9" hidden="1">
            <a:extLst>
              <a:ext uri="{FF2B5EF4-FFF2-40B4-BE49-F238E27FC236}">
                <a16:creationId xmlns:a16="http://schemas.microsoft.com/office/drawing/2014/main" id="{F37FCB1C-BAA5-4AD0-A596-1E19BB8CFC52}"/>
              </a:ext>
            </a:extLst>
          </p:cNvPr>
          <p:cNvSpPr>
            <a:spLocks noGrp="1"/>
          </p:cNvSpPr>
          <p:nvPr>
            <p:ph type="dt" sz="half" idx="10"/>
          </p:nvPr>
        </p:nvSpPr>
        <p:spPr/>
        <p:txBody>
          <a:bodyPr/>
          <a:lstStyle>
            <a:lvl1pPr>
              <a:defRPr>
                <a:solidFill>
                  <a:schemeClr val="bg1"/>
                </a:solidFill>
              </a:defRPr>
            </a:lvl1pPr>
          </a:lstStyle>
          <a:p>
            <a:fld id="{BA1EAE91-B0E4-44D6-8053-8ED78232D673}" type="datetime2">
              <a:rPr lang="da-DK" smtClean="0"/>
              <a:t>18. januar 2022</a:t>
            </a:fld>
            <a:endParaRPr lang="da-DK"/>
          </a:p>
        </p:txBody>
      </p:sp>
      <p:sp>
        <p:nvSpPr>
          <p:cNvPr id="11" name="Footer Placeholder 10" hidden="1">
            <a:extLst>
              <a:ext uri="{FF2B5EF4-FFF2-40B4-BE49-F238E27FC236}">
                <a16:creationId xmlns:a16="http://schemas.microsoft.com/office/drawing/2014/main" id="{64B2E2A9-DAAF-417C-8959-E5C42D13159C}"/>
              </a:ext>
            </a:extLst>
          </p:cNvPr>
          <p:cNvSpPr>
            <a:spLocks noGrp="1"/>
          </p:cNvSpPr>
          <p:nvPr>
            <p:ph type="ftr" sz="quarter" idx="11"/>
          </p:nvPr>
        </p:nvSpPr>
        <p:spPr/>
        <p:txBody>
          <a:bodyPr/>
          <a:lstStyle>
            <a:lvl1pPr>
              <a:defRPr>
                <a:solidFill>
                  <a:schemeClr val="bg1"/>
                </a:solidFill>
              </a:defRPr>
            </a:lvl1pPr>
          </a:lstStyle>
          <a:p>
            <a:r>
              <a:rPr lang="da-DK"/>
              <a:t>Indsæt præsentationens titel via Sidefod</a:t>
            </a:r>
          </a:p>
        </p:txBody>
      </p:sp>
      <p:sp>
        <p:nvSpPr>
          <p:cNvPr id="12" name="Slide Number Placeholder 11">
            <a:extLst>
              <a:ext uri="{FF2B5EF4-FFF2-40B4-BE49-F238E27FC236}">
                <a16:creationId xmlns:a16="http://schemas.microsoft.com/office/drawing/2014/main" id="{0E371C9F-ADA4-4BAA-8125-BEED3FADD19E}"/>
              </a:ext>
            </a:extLst>
          </p:cNvPr>
          <p:cNvSpPr>
            <a:spLocks noGrp="1"/>
          </p:cNvSpPr>
          <p:nvPr>
            <p:ph type="sldNum" sz="quarter" idx="12"/>
          </p:nvPr>
        </p:nvSpPr>
        <p:spPr/>
        <p:txBody>
          <a:bodyPr/>
          <a:lstStyle>
            <a:lvl1pPr>
              <a:defRPr>
                <a:solidFill>
                  <a:schemeClr val="bg1"/>
                </a:solidFill>
              </a:defRPr>
            </a:lvl1pPr>
          </a:lstStyle>
          <a:p>
            <a:r>
              <a:rPr lang="da-DK"/>
              <a:t>Side </a:t>
            </a:r>
            <a:fld id="{24C8C45C-947F-4981-8B3F-4F32E973C901}" type="slidenum">
              <a:rPr lang="da-DK" smtClean="0"/>
              <a:pPr/>
              <a:t>‹nr.›</a:t>
            </a:fld>
            <a:endParaRPr lang="da-DK"/>
          </a:p>
        </p:txBody>
      </p:sp>
      <p:sp>
        <p:nvSpPr>
          <p:cNvPr id="5" name="Krone">
            <a:extLst>
              <a:ext uri="{FF2B5EF4-FFF2-40B4-BE49-F238E27FC236}">
                <a16:creationId xmlns:a16="http://schemas.microsoft.com/office/drawing/2014/main" id="{BF531D83-06D7-4122-82CA-B776865B9471}"/>
              </a:ext>
            </a:extLst>
          </p:cNvPr>
          <p:cNvSpPr>
            <a:spLocks noGrp="1"/>
          </p:cNvSpPr>
          <p:nvPr>
            <p:ph type="body" sz="quarter" idx="18"/>
          </p:nvPr>
        </p:nvSpPr>
        <p:spPr>
          <a:xfrm>
            <a:off x="540000" y="6310800"/>
            <a:ext cx="248400" cy="244800"/>
          </a:xfrm>
          <a:blipFill>
            <a:blip r:embed="rId2"/>
            <a:stretch>
              <a:fillRect/>
            </a:stretch>
          </a:blipFill>
        </p:spPr>
        <p:txBody>
          <a:bodyPr/>
          <a:lstStyle>
            <a:lvl1pPr marL="0" indent="0">
              <a:buNone/>
              <a:defRPr sz="100">
                <a:noFill/>
              </a:defRPr>
            </a:lvl1pPr>
            <a:lvl2pPr marL="216000" indent="0">
              <a:buNone/>
              <a:defRPr sz="100">
                <a:noFill/>
              </a:defRPr>
            </a:lvl2pPr>
            <a:lvl3pPr marL="432000" indent="0">
              <a:buNone/>
              <a:defRPr sz="100">
                <a:noFill/>
              </a:defRPr>
            </a:lvl3pPr>
            <a:lvl4pPr>
              <a:buNone/>
              <a:defRPr sz="100">
                <a:noFill/>
              </a:defRPr>
            </a:lvl4pPr>
            <a:lvl5pPr>
              <a:buNone/>
              <a:defRPr sz="100">
                <a:noFill/>
              </a:defRPr>
            </a:lvl5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16" name="Text Placeholder 15">
            <a:extLst>
              <a:ext uri="{FF2B5EF4-FFF2-40B4-BE49-F238E27FC236}">
                <a16:creationId xmlns:a16="http://schemas.microsoft.com/office/drawing/2014/main" id="{C1DBEDD0-A0D1-4C00-BE19-D0E86E6D9E83}"/>
              </a:ext>
            </a:extLst>
          </p:cNvPr>
          <p:cNvSpPr>
            <a:spLocks noGrp="1"/>
          </p:cNvSpPr>
          <p:nvPr userDrawn="1">
            <p:ph type="body" sz="quarter" idx="16"/>
          </p:nvPr>
        </p:nvSpPr>
        <p:spPr>
          <a:xfrm>
            <a:off x="539750" y="2689073"/>
            <a:ext cx="8922905" cy="1089366"/>
          </a:xfrm>
          <a:custGeom>
            <a:avLst/>
            <a:gdLst>
              <a:gd name="connsiteX0" fmla="*/ 22213902 w 23589852"/>
              <a:gd name="connsiteY0" fmla="*/ 0 h 2880000"/>
              <a:gd name="connsiteX1" fmla="*/ 23589852 w 23589852"/>
              <a:gd name="connsiteY1" fmla="*/ 1441307 h 2880000"/>
              <a:gd name="connsiteX2" fmla="*/ 22213902 w 23589852"/>
              <a:gd name="connsiteY2" fmla="*/ 2880000 h 2880000"/>
              <a:gd name="connsiteX3" fmla="*/ 21778198 w 23589852"/>
              <a:gd name="connsiteY3" fmla="*/ 2437325 h 2880000"/>
              <a:gd name="connsiteX4" fmla="*/ 22442210 w 23589852"/>
              <a:gd name="connsiteY4" fmla="*/ 1798584 h 2880000"/>
              <a:gd name="connsiteX5" fmla="*/ 0 w 23589852"/>
              <a:gd name="connsiteY5" fmla="*/ 1798584 h 2880000"/>
              <a:gd name="connsiteX6" fmla="*/ 0 w 23589852"/>
              <a:gd name="connsiteY6" fmla="*/ 1084030 h 2880000"/>
              <a:gd name="connsiteX7" fmla="*/ 22453538 w 23589852"/>
              <a:gd name="connsiteY7" fmla="*/ 1084030 h 2880000"/>
              <a:gd name="connsiteX8" fmla="*/ 21778198 w 23589852"/>
              <a:gd name="connsiteY8" fmla="*/ 445289 h 28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89852" h="2880000">
                <a:moveTo>
                  <a:pt x="22213902" y="0"/>
                </a:moveTo>
                <a:lnTo>
                  <a:pt x="23589852" y="1441307"/>
                </a:lnTo>
                <a:lnTo>
                  <a:pt x="22213902" y="2880000"/>
                </a:lnTo>
                <a:lnTo>
                  <a:pt x="21778198" y="2437325"/>
                </a:lnTo>
                <a:lnTo>
                  <a:pt x="22442210" y="1798584"/>
                </a:lnTo>
                <a:lnTo>
                  <a:pt x="0" y="1798584"/>
                </a:lnTo>
                <a:lnTo>
                  <a:pt x="0" y="1084030"/>
                </a:lnTo>
                <a:lnTo>
                  <a:pt x="22453538" y="1084030"/>
                </a:lnTo>
                <a:lnTo>
                  <a:pt x="21778198" y="445289"/>
                </a:lnTo>
                <a:close/>
              </a:path>
            </a:pathLst>
          </a:custGeom>
          <a:solidFill>
            <a:srgbClr val="1C69B9"/>
          </a:solidFill>
        </p:spPr>
        <p:txBody>
          <a:bodyPr wrap="square">
            <a:noAutofit/>
          </a:bodyPr>
          <a:lstStyle>
            <a:lvl1pPr marL="0" indent="0">
              <a:buNone/>
              <a:defRPr sz="100">
                <a:noFill/>
              </a:defRPr>
            </a:lvl1pPr>
          </a:lstStyle>
          <a:p>
            <a:pPr lvl="0"/>
            <a:r>
              <a:rPr lang="da-DK"/>
              <a:t>Klik for at redigere teksttypografierne i masteren</a:t>
            </a:r>
          </a:p>
        </p:txBody>
      </p:sp>
    </p:spTree>
    <p:extLst>
      <p:ext uri="{BB962C8B-B14F-4D97-AF65-F5344CB8AC3E}">
        <p14:creationId xmlns:p14="http://schemas.microsoft.com/office/powerpoint/2010/main" val="18209986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ags" Target="../tags/tag2.xml"/><Relationship Id="rId55" Type="http://schemas.openxmlformats.org/officeDocument/2006/relationships/tags" Target="../tags/tag7.xml"/><Relationship Id="rId63" Type="http://schemas.openxmlformats.org/officeDocument/2006/relationships/tags" Target="../tags/tag15.xml"/><Relationship Id="rId68" Type="http://schemas.openxmlformats.org/officeDocument/2006/relationships/tags" Target="../tags/tag20.xml"/><Relationship Id="rId7" Type="http://schemas.openxmlformats.org/officeDocument/2006/relationships/slideLayout" Target="../slideLayouts/slideLayout7.xml"/><Relationship Id="rId71" Type="http://schemas.openxmlformats.org/officeDocument/2006/relationships/tags" Target="../tags/tag2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ags" Target="../tags/tag5.xml"/><Relationship Id="rId58" Type="http://schemas.openxmlformats.org/officeDocument/2006/relationships/tags" Target="../tags/tag10.xml"/><Relationship Id="rId66" Type="http://schemas.openxmlformats.org/officeDocument/2006/relationships/tags" Target="../tags/tag1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1.xml"/><Relationship Id="rId57" Type="http://schemas.openxmlformats.org/officeDocument/2006/relationships/tags" Target="../tags/tag9.xml"/><Relationship Id="rId61" Type="http://schemas.openxmlformats.org/officeDocument/2006/relationships/tags" Target="../tags/tag1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4.xml"/><Relationship Id="rId60" Type="http://schemas.openxmlformats.org/officeDocument/2006/relationships/tags" Target="../tags/tag12.xml"/><Relationship Id="rId65" Type="http://schemas.openxmlformats.org/officeDocument/2006/relationships/tags" Target="../tags/tag17.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56" Type="http://schemas.openxmlformats.org/officeDocument/2006/relationships/tags" Target="../tags/tag8.xml"/><Relationship Id="rId64" Type="http://schemas.openxmlformats.org/officeDocument/2006/relationships/tags" Target="../tags/tag16.xml"/><Relationship Id="rId69" Type="http://schemas.openxmlformats.org/officeDocument/2006/relationships/tags" Target="../tags/tag21.xml"/><Relationship Id="rId8" Type="http://schemas.openxmlformats.org/officeDocument/2006/relationships/slideLayout" Target="../slideLayouts/slideLayout8.xml"/><Relationship Id="rId51" Type="http://schemas.openxmlformats.org/officeDocument/2006/relationships/tags" Target="../tags/tag3.xml"/><Relationship Id="rId72" Type="http://schemas.openxmlformats.org/officeDocument/2006/relationships/tags" Target="../tags/tag24.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11.xml"/><Relationship Id="rId67" Type="http://schemas.openxmlformats.org/officeDocument/2006/relationships/tags" Target="../tags/tag1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6.xml"/><Relationship Id="rId62" Type="http://schemas.openxmlformats.org/officeDocument/2006/relationships/tags" Target="../tags/tag14.xml"/><Relationship Id="rId70" Type="http://schemas.openxmlformats.org/officeDocument/2006/relationships/tags" Target="../tags/tag22.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tags" Target="../tags/tag54.xml"/><Relationship Id="rId26" Type="http://schemas.openxmlformats.org/officeDocument/2006/relationships/tags" Target="../tags/tag62.xml"/><Relationship Id="rId3" Type="http://schemas.openxmlformats.org/officeDocument/2006/relationships/theme" Target="../theme/theme2.xml"/><Relationship Id="rId21" Type="http://schemas.openxmlformats.org/officeDocument/2006/relationships/tags" Target="../tags/tag57.xml"/><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tags" Target="../tags/tag53.xml"/><Relationship Id="rId25" Type="http://schemas.openxmlformats.org/officeDocument/2006/relationships/tags" Target="../tags/tag61.xml"/><Relationship Id="rId2" Type="http://schemas.openxmlformats.org/officeDocument/2006/relationships/slideLayout" Target="../slideLayouts/slideLayout49.xml"/><Relationship Id="rId16" Type="http://schemas.openxmlformats.org/officeDocument/2006/relationships/tags" Target="../tags/tag52.xml"/><Relationship Id="rId20" Type="http://schemas.openxmlformats.org/officeDocument/2006/relationships/tags" Target="../tags/tag56.xml"/><Relationship Id="rId29" Type="http://schemas.openxmlformats.org/officeDocument/2006/relationships/tags" Target="../tags/tag65.xml"/><Relationship Id="rId1" Type="http://schemas.openxmlformats.org/officeDocument/2006/relationships/slideLayout" Target="../slideLayouts/slideLayout48.x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tags" Target="../tags/tag60.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tags" Target="../tags/tag59.xml"/><Relationship Id="rId28" Type="http://schemas.openxmlformats.org/officeDocument/2006/relationships/tags" Target="../tags/tag64.xml"/><Relationship Id="rId10" Type="http://schemas.openxmlformats.org/officeDocument/2006/relationships/tags" Target="../tags/tag46.xml"/><Relationship Id="rId19" Type="http://schemas.openxmlformats.org/officeDocument/2006/relationships/tags" Target="../tags/tag55.xml"/><Relationship Id="rId31" Type="http://schemas.openxmlformats.org/officeDocument/2006/relationships/image" Target="../media/image12.emf"/><Relationship Id="rId4" Type="http://schemas.openxmlformats.org/officeDocument/2006/relationships/vmlDrawing" Target="../drawings/vmlDrawing1.v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tags" Target="../tags/tag58.xml"/><Relationship Id="rId27" Type="http://schemas.openxmlformats.org/officeDocument/2006/relationships/tags" Target="../tags/tag63.xml"/><Relationship Id="rId30"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slideLayout" Target="../slideLayouts/slideLayout52.xml"/><Relationship Id="rId7" Type="http://schemas.openxmlformats.org/officeDocument/2006/relationships/oleObject" Target="../embeddings/oleObject2.bin"/><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ags" Target="../tags/tag67.xml"/><Relationship Id="rId5" Type="http://schemas.openxmlformats.org/officeDocument/2006/relationships/vmlDrawing" Target="../drawings/vmlDrawing2.vml"/><Relationship Id="rId4" Type="http://schemas.openxmlformats.org/officeDocument/2006/relationships/theme" Target="../theme/theme3.xml"/><Relationship Id="rId9"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9749" y="2112963"/>
            <a:ext cx="11109325" cy="3987800"/>
          </a:xfrm>
          <a:prstGeom prst="rect">
            <a:avLst/>
          </a:prstGeom>
        </p:spPr>
        <p:txBody>
          <a:bodyPr vert="horz" lIns="0" tIns="0" rIns="0" bIns="0" rtlCol="0">
            <a:noAutofit/>
          </a:bodyPr>
          <a:lstStyle/>
          <a:p>
            <a:pPr lvl="0"/>
            <a:r>
              <a:rPr lang="da-DK" noProof="0"/>
              <a:t>Level 1, Bullet body 15</a:t>
            </a:r>
          </a:p>
          <a:p>
            <a:pPr lvl="1"/>
            <a:r>
              <a:rPr lang="da-DK" noProof="0"/>
              <a:t>Level 2, Bullet body 15</a:t>
            </a:r>
          </a:p>
          <a:p>
            <a:pPr lvl="2"/>
            <a:r>
              <a:rPr lang="da-DK" noProof="0"/>
              <a:t>Level 3, Bullet body 15</a:t>
            </a:r>
          </a:p>
          <a:p>
            <a:pPr lvl="3"/>
            <a:r>
              <a:rPr lang="da-DK" noProof="0"/>
              <a:t>Level 4, Header bold 15</a:t>
            </a:r>
          </a:p>
          <a:p>
            <a:pPr lvl="4"/>
            <a:r>
              <a:rPr lang="da-DK" noProof="0"/>
              <a:t>Level 5, Bullet body bold 15</a:t>
            </a:r>
          </a:p>
          <a:p>
            <a:pPr lvl="5"/>
            <a:r>
              <a:rPr lang="da-DK" noProof="0"/>
              <a:t>Level 6, Bullet Body 18</a:t>
            </a:r>
          </a:p>
          <a:p>
            <a:pPr lvl="6"/>
            <a:r>
              <a:rPr lang="da-DK" noProof="0"/>
              <a:t>Level 7, Bullet bold pil 18</a:t>
            </a:r>
          </a:p>
          <a:p>
            <a:pPr lvl="7"/>
            <a:r>
              <a:rPr lang="da-DK" noProof="0"/>
              <a:t>Level 8, Note body</a:t>
            </a:r>
          </a:p>
          <a:p>
            <a:pPr lvl="8"/>
            <a:r>
              <a:rPr lang="da-DK" noProof="0"/>
              <a:t>Level 9, Infografik 62</a:t>
            </a:r>
          </a:p>
        </p:txBody>
      </p:sp>
      <p:sp>
        <p:nvSpPr>
          <p:cNvPr id="6" name="Slide Number Placeholder 5"/>
          <p:cNvSpPr>
            <a:spLocks noGrp="1"/>
          </p:cNvSpPr>
          <p:nvPr>
            <p:ph type="sldNum" sz="quarter" idx="4"/>
          </p:nvPr>
        </p:nvSpPr>
        <p:spPr>
          <a:xfrm>
            <a:off x="11052175" y="6267373"/>
            <a:ext cx="596899" cy="307878"/>
          </a:xfrm>
          <a:prstGeom prst="rect">
            <a:avLst/>
          </a:prstGeom>
        </p:spPr>
        <p:txBody>
          <a:bodyPr vert="horz" lIns="0" tIns="0" rIns="0" bIns="0" rtlCol="0" anchor="b" anchorCtr="0"/>
          <a:lstStyle>
            <a:lvl1pPr algn="r">
              <a:lnSpc>
                <a:spcPct val="92000"/>
              </a:lnSpc>
              <a:defRPr sz="900">
                <a:solidFill>
                  <a:schemeClr val="accent1"/>
                </a:solidFill>
              </a:defRPr>
            </a:lvl1pPr>
          </a:lstStyle>
          <a:p>
            <a:pPr>
              <a:lnSpc>
                <a:spcPct val="92000"/>
              </a:lnSpc>
            </a:pPr>
            <a:fld id="{24C8C45C-947F-4981-8B3F-4F32E973C901}" type="slidenum">
              <a:rPr lang="da-DK" smtClean="0"/>
              <a:pPr>
                <a:lnSpc>
                  <a:spcPct val="92000"/>
                </a:lnSpc>
              </a:pPr>
              <a:t>‹nr.›</a:t>
            </a:fld>
            <a:endParaRPr lang="da-DK"/>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69688"/>
            <a:ext cx="9196388" cy="1152000"/>
          </a:xfrm>
          <a:prstGeom prst="rect">
            <a:avLst/>
          </a:prstGeom>
        </p:spPr>
        <p:txBody>
          <a:bodyPr vert="horz" lIns="0" tIns="0" rIns="0" bIns="0" rtlCol="0" anchor="t" anchorCtr="0">
            <a:noAutofit/>
          </a:bodyPr>
          <a:lstStyle/>
          <a:p>
            <a:endParaRPr lang="da-DK"/>
          </a:p>
        </p:txBody>
      </p:sp>
      <p:sp>
        <p:nvSpPr>
          <p:cNvPr id="2" name="Date Placeholder 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lnSpc>
                <a:spcPct val="92000"/>
              </a:lnSpc>
              <a:defRPr sz="100">
                <a:noFill/>
              </a:defRPr>
            </a:lvl1pPr>
          </a:lstStyle>
          <a:p>
            <a:pPr>
              <a:lnSpc>
                <a:spcPct val="92000"/>
              </a:lnSpc>
            </a:pPr>
            <a:fld id="{1E5A653B-FA7D-46E3-9F21-ACB02735751A}" type="datetime2">
              <a:rPr lang="da-DK" smtClean="0"/>
              <a:t>18. januar 2022</a:t>
            </a:fld>
            <a:endParaRPr lang="da-DK"/>
          </a:p>
        </p:txBody>
      </p:sp>
      <p:sp>
        <p:nvSpPr>
          <p:cNvPr id="8" name="Footer Placeholder 7">
            <a:extLst>
              <a:ext uri="{FF2B5EF4-FFF2-40B4-BE49-F238E27FC236}">
                <a16:creationId xmlns:a16="http://schemas.microsoft.com/office/drawing/2014/main" id="{3D397FDF-4480-4092-8EF3-23AF214F4831}"/>
              </a:ext>
            </a:extLst>
          </p:cNvPr>
          <p:cNvSpPr>
            <a:spLocks noGrp="1"/>
          </p:cNvSpPr>
          <p:nvPr>
            <p:ph type="ftr" sz="quarter" idx="3"/>
          </p:nvPr>
        </p:nvSpPr>
        <p:spPr>
          <a:xfrm>
            <a:off x="1135064" y="6267373"/>
            <a:ext cx="1316038" cy="307878"/>
          </a:xfrm>
          <a:prstGeom prst="rect">
            <a:avLst/>
          </a:prstGeom>
        </p:spPr>
        <p:txBody>
          <a:bodyPr vert="horz" lIns="0" tIns="0" rIns="0" bIns="0" rtlCol="0" anchor="b" anchorCtr="0"/>
          <a:lstStyle>
            <a:lvl1pPr algn="l">
              <a:lnSpc>
                <a:spcPct val="92000"/>
              </a:lnSpc>
              <a:defRPr sz="900">
                <a:solidFill>
                  <a:schemeClr val="accent1"/>
                </a:solidFill>
              </a:defRPr>
            </a:lvl1pPr>
          </a:lstStyle>
          <a:p>
            <a:pPr>
              <a:lnSpc>
                <a:spcPct val="92000"/>
              </a:lnSpc>
            </a:pPr>
            <a:endParaRPr lang="da-DK"/>
          </a:p>
        </p:txBody>
      </p:sp>
      <p:sp>
        <p:nvSpPr>
          <p:cNvPr id="9" name="[WorkArea]" descr="&lt;?xml version=&quot;1.0&quot; encoding=&quot;utf-16&quot;?&gt;&#10;&lt;GridTheme xmlns:xsi=&quot;http://www.w3.org/2001/XMLSchema-instance&quot; xmlns:xsd=&quot;http://www.w3.org/2001/XMLSchema&quot;&gt;&#10;  &lt;GuideLines /&gt;&#10;  &lt;SubGrids&gt;&#10;    &lt;SubGrid&gt;&#10;      &lt;Left&gt;89.43307&lt;/Left&gt;&#10;      &lt;Top&gt;51.02362&lt;/Top&gt;&#10;      &lt;Width&gt;28.3464565&lt;/Width&gt;&#10;      &lt;Height&gt;429.448822&lt;/Height&gt;&#10;    &lt;/SubGrid&gt;&#10;    &lt;SubGrid&gt;&#10;      &lt;Left&gt;42.5196838&lt;/Left&gt;&#10;      &lt;Top&gt;51.02362&lt;/Top&gt;&#10;      &lt;Width&gt;46.9133873&lt;/Width&gt;&#10;      &lt;Height&gt;429.448822&lt;/Height&gt;&#10;    &lt;/SubGrid&gt;&#10;    &lt;SubGrid&gt;&#10;      &lt;Left&gt;164.692917&lt;/Left&gt;&#10;      &lt;Top&gt;51.02362&lt;/Top&gt;&#10;      &lt;Width&gt;28.3464565&lt;/Width&gt;&#10;      &lt;Height&gt;429.448822&lt;/Height&gt;&#10;    &lt;/SubGrid&gt;&#10;    &lt;SubGrid&gt;&#10;      &lt;Left&gt;117.779526&lt;/Left&gt;&#10;      &lt;Top&gt;51.02362&lt;/Top&gt;&#10;      &lt;Width&gt;46.9133873&lt;/Width&gt;&#10;      &lt;Height&gt;429.448822&lt;/Height&gt;&#10;    &lt;/SubGrid&gt;&#10;    &lt;SubGrid&gt;&#10;      &lt;Left&gt;193.039368&lt;/Left&gt;&#10;      &lt;Top&gt;51.02362&lt;/Top&gt;&#10;      &lt;Width&gt;46.9133873&lt;/Width&gt;&#10;      &lt;Height&gt;429.448822&lt;/Height&gt;&#10;    &lt;/SubGrid&gt;&#10;    &lt;SubGrid&gt;&#10;      &lt;Left&gt;239.952759&lt;/Left&gt;&#10;      &lt;Top&gt;51.02362&lt;/Top&gt;&#10;      &lt;Width&gt;28.3464565&lt;/Width&gt;&#10;      &lt;Height&gt;429.448822&lt;/Height&gt;&#10;    &lt;/SubGrid&gt;&#10;    &lt;SubGrid&gt;&#10;      &lt;Left&gt;268.299225&lt;/Left&gt;&#10;      &lt;Top&gt;51.02362&lt;/Top&gt;&#10;      &lt;Width&gt;46.9133873&lt;/Width&gt;&#10;      &lt;Height&gt;429.448822&lt;/Height&gt;&#10;    &lt;/SubGrid&gt;&#10;    &lt;SubGrid&gt;&#10;      &lt;Left&gt;315.2126&lt;/Left&gt;&#10;      &lt;Top&gt;51.02362&lt;/Top&gt;&#10;      &lt;Width&gt;28.3464565&lt;/Width&gt;&#10;      &lt;Height&gt;429.448822&lt;/Height&gt;&#10;    &lt;/SubGrid&gt;&#10;    &lt;SubGrid&gt;&#10;      &lt;Left&gt;390.472443&lt;/Left&gt;&#10;      &lt;Top&gt;51.02362&lt;/Top&gt;&#10;      &lt;Width&gt;28.3464565&lt;/Width&gt;&#10;      &lt;Height&gt;429.448822&lt;/Height&gt;&#10;    &lt;/SubGrid&gt;&#10;    &lt;SubGrid&gt;&#10;      &lt;Left&gt;343.559052&lt;/Left&gt;&#10;      &lt;Top&gt;51.02362&lt;/Top&gt;&#10;      &lt;Width&gt;46.9133873&lt;/Width&gt;&#10;      &lt;Height&gt;429.448822&lt;/Height&gt;&#10;    &lt;/SubGrid&gt;&#10;    &lt;SubGrid&gt;&#10;      &lt;Left&gt;418.8189&lt;/Left&gt;&#10;      &lt;Top&gt;51.02362&lt;/Top&gt;&#10;      &lt;Width&gt;46.9133873&lt;/Width&gt;&#10;      &lt;Height&gt;429.448822&lt;/Height&gt;&#10;    &lt;/SubGrid&gt;&#10;    &lt;SubGrid&gt;&#10;      &lt;Left&gt;465.732269&lt;/Left&gt;&#10;      &lt;Top&gt;51.02362&lt;/Top&gt;&#10;      &lt;Width&gt;28.3464565&lt;/Width&gt;&#10;      &lt;Height&gt;429.448822&lt;/Height&gt;&#10;    &lt;/SubGrid&gt;&#10;    &lt;SubGrid&gt;&#10;      &lt;Left&gt;494.078735&lt;/Left&gt;&#10;      &lt;Top&gt;51.02362&lt;/Top&gt;&#10;      &lt;Width&gt;46.9133873&lt;/Width&gt;&#10;      &lt;Height&gt;429.448822&lt;/Height&gt;&#10;    &lt;/SubGrid&gt;&#10;    &lt;SubGrid&gt;&#10;      &lt;Left&gt;540.9921&lt;/Left&gt;&#10;      &lt;Top&gt;51.02362&lt;/Top&gt;&#10;      &lt;Width&gt;28.3464565&lt;/Width&gt;&#10;      &lt;Height&gt;429.448822&lt;/Height&gt;&#10;    &lt;/SubGrid&gt;&#10;    &lt;SubGrid&gt;&#10;      &lt;Left&gt;569.338562&lt;/Left&gt;&#10;      &lt;Top&gt;51.02362&lt;/Top&gt;&#10;      &lt;Width&gt;46.9133873&lt;/Width&gt;&#10;      &lt;Height&gt;429.448822&lt;/Height&gt;&#10;    &lt;/SubGrid&gt;&#10;    &lt;SubGrid&gt;&#10;      &lt;Left&gt;616.251953&lt;/Left&gt;&#10;      &lt;Top&gt;51.02362&lt;/Top&gt;&#10;      &lt;Width&gt;28.3464565&lt;/Width&gt;&#10;      &lt;Height&gt;429.448822&lt;/Height&gt;&#10;    &lt;/SubGrid&gt;&#10;    &lt;SubGrid&gt;&#10;      &lt;Left&gt;644.5804&lt;/Left&gt;&#10;      &lt;Top&gt;51.02362&lt;/Top&gt;&#10;      &lt;Width&gt;46.9133873&lt;/Width&gt;&#10;      &lt;Height&gt;429.448822&lt;/Height&gt;&#10;    &lt;/SubGrid&gt;&#10;    &lt;SubGrid&gt;&#10;      &lt;Left&gt;691.4938&lt;/Left&gt;&#10;      &lt;Top&gt;51.02362&lt;/Top&gt;&#10;      &lt;Width&gt;28.3464565&lt;/Width&gt;&#10;      &lt;Height&gt;429.448822&lt;/Height&gt;&#10;    &lt;/SubGrid&gt;&#10;    &lt;SubGrid&gt;&#10;      &lt;Left&gt;719.8222&lt;/Left&gt;&#10;      &lt;Top&gt;51.02362&lt;/Top&gt;&#10;      &lt;Width&gt;46.9133873&lt;/Width&gt;&#10;      &lt;Height&gt;429.448822&lt;/Height&gt;&#10;    &lt;/SubGrid&gt;&#10;    &lt;SubGrid&gt;&#10;      &lt;Left&gt;766.7356&lt;/Left&gt;&#10;      &lt;Top&gt;51.02362&lt;/Top&gt;&#10;      &lt;Width&gt;28.3464565&lt;/Width&gt;&#10;      &lt;Height&gt;429.448822&lt;/Height&gt;&#10;    &lt;/SubGrid&gt;&#10;    &lt;SubGrid&gt;&#10;      &lt;Left&gt;795.064&lt;/Left&gt;&#10;      &lt;Top&gt;51.02362&lt;/Top&gt;&#10;      &lt;Width&gt;46.9133873&lt;/Width&gt;&#10;      &lt;Height&gt;429.448822&lt;/Height&gt;&#10;    &lt;/SubGrid&gt;&#10;    &lt;SubGrid&gt;&#10;      &lt;Left&gt;841.9774&lt;/Left&gt;&#10;      &lt;Top&gt;51.02362&lt;/Top&gt;&#10;      &lt;Width&gt;28.3464565&lt;/Width&gt;&#10;      &lt;Height&gt;429.448822&lt;/Height&gt;&#10;    &lt;/SubGrid&gt;&#10;    &lt;SubGrid&gt;&#10;      &lt;Left&gt;870.305847&lt;/Left&gt;&#10;      &lt;Top&gt;51.02362&lt;/Top&gt;&#10;      &lt;Width&gt;46.9133873&lt;/Width&gt;&#10;      &lt;Height&gt;429.448822&lt;/Height&gt;&#10;    &lt;/SubGrid&gt;&#10;  &lt;/SubGrids&gt;&#10;  &lt;WorkArea&gt;&#10;    &lt;Top&gt;51.02362&lt;/Top&gt;&#10;    &lt;Left&gt;42.5196838&lt;/Left&gt;&#10;    &lt;Width&gt;874.960632&lt;/Width&gt;&#10;    &lt;Height&gt;429.448822&lt;/Height&gt;&#10;  &lt;/WorkArea&gt;&#10;  &lt;AspectW&gt;16&lt;/AspectW&gt;&#10;  &lt;AspectH&gt;9&lt;/AspectH&gt;&#10;  &lt;Width&gt;960&lt;/Width&gt;&#10;  &lt;Height&gt;540&lt;/Height&gt;&#10;  &lt;HGap&gt;10&lt;/HGap&gt;&#10;  &lt;VGap&gt;10&lt;/VGap&gt;&#10;  &lt;OfficeVersion&gt;16&lt;/OfficeVersion&gt;&#10;&lt;/GridTheme&gt;" hidden="1">
            <a:extLst>
              <a:ext uri="{FF2B5EF4-FFF2-40B4-BE49-F238E27FC236}">
                <a16:creationId xmlns:a16="http://schemas.microsoft.com/office/drawing/2014/main" id="{2DC854E0-CA26-4983-8F3A-FD9043AD9EB4}"/>
              </a:ext>
            </a:extLst>
          </p:cNvPr>
          <p:cNvSpPr/>
          <p:nvPr userDrawn="1"/>
        </p:nvSpPr>
        <p:spPr>
          <a:xfrm>
            <a:off x="540000" y="648000"/>
            <a:ext cx="11112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0" name="Rectangle 9" hidden="1">
            <a:extLst>
              <a:ext uri="{FF2B5EF4-FFF2-40B4-BE49-F238E27FC236}">
                <a16:creationId xmlns:a16="http://schemas.microsoft.com/office/drawing/2014/main" id="{39AE5296-22FA-4B22-8DA7-E1D03FBD4D6B}"/>
              </a:ext>
            </a:extLst>
          </p:cNvPr>
          <p:cNvSpPr/>
          <p:nvPr userDrawn="1">
            <p:custDataLst>
              <p:tags r:id="rId49"/>
            </p:custDataLst>
          </p:nvPr>
        </p:nvSpPr>
        <p:spPr>
          <a:xfrm>
            <a:off x="11358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1" name="Rectangle 10" hidden="1">
            <a:extLst>
              <a:ext uri="{FF2B5EF4-FFF2-40B4-BE49-F238E27FC236}">
                <a16:creationId xmlns:a16="http://schemas.microsoft.com/office/drawing/2014/main" id="{5C92EC9C-2F7B-484C-A02C-E5F249A7A172}"/>
              </a:ext>
            </a:extLst>
          </p:cNvPr>
          <p:cNvSpPr/>
          <p:nvPr userDrawn="1">
            <p:custDataLst>
              <p:tags r:id="rId50"/>
            </p:custDataLst>
          </p:nvPr>
        </p:nvSpPr>
        <p:spPr>
          <a:xfrm>
            <a:off x="5400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2" name="Rectangle 11" hidden="1">
            <a:extLst>
              <a:ext uri="{FF2B5EF4-FFF2-40B4-BE49-F238E27FC236}">
                <a16:creationId xmlns:a16="http://schemas.microsoft.com/office/drawing/2014/main" id="{B77F2FCA-A3EA-4427-84A0-89232F9E7EE6}"/>
              </a:ext>
            </a:extLst>
          </p:cNvPr>
          <p:cNvSpPr/>
          <p:nvPr userDrawn="1">
            <p:custDataLst>
              <p:tags r:id="rId51"/>
            </p:custDataLst>
          </p:nvPr>
        </p:nvSpPr>
        <p:spPr>
          <a:xfrm>
            <a:off x="20916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3" name="Rectangle 12" hidden="1">
            <a:extLst>
              <a:ext uri="{FF2B5EF4-FFF2-40B4-BE49-F238E27FC236}">
                <a16:creationId xmlns:a16="http://schemas.microsoft.com/office/drawing/2014/main" id="{172AAD46-03FD-4776-B768-5F7A834A4D10}"/>
              </a:ext>
            </a:extLst>
          </p:cNvPr>
          <p:cNvSpPr/>
          <p:nvPr userDrawn="1">
            <p:custDataLst>
              <p:tags r:id="rId52"/>
            </p:custDataLst>
          </p:nvPr>
        </p:nvSpPr>
        <p:spPr>
          <a:xfrm>
            <a:off x="14958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4" name="Rectangle 13" hidden="1">
            <a:extLst>
              <a:ext uri="{FF2B5EF4-FFF2-40B4-BE49-F238E27FC236}">
                <a16:creationId xmlns:a16="http://schemas.microsoft.com/office/drawing/2014/main" id="{6C4B6540-0453-4EC4-985C-4DA271EE7378}"/>
              </a:ext>
            </a:extLst>
          </p:cNvPr>
          <p:cNvSpPr/>
          <p:nvPr userDrawn="1">
            <p:custDataLst>
              <p:tags r:id="rId53"/>
            </p:custDataLst>
          </p:nvPr>
        </p:nvSpPr>
        <p:spPr>
          <a:xfrm>
            <a:off x="24516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5" name="Rectangle 14" hidden="1">
            <a:extLst>
              <a:ext uri="{FF2B5EF4-FFF2-40B4-BE49-F238E27FC236}">
                <a16:creationId xmlns:a16="http://schemas.microsoft.com/office/drawing/2014/main" id="{2E4BC63E-4199-4F39-987B-12289DEF9810}"/>
              </a:ext>
            </a:extLst>
          </p:cNvPr>
          <p:cNvSpPr/>
          <p:nvPr userDrawn="1">
            <p:custDataLst>
              <p:tags r:id="rId54"/>
            </p:custDataLst>
          </p:nvPr>
        </p:nvSpPr>
        <p:spPr>
          <a:xfrm>
            <a:off x="30474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6" name="Rectangle 15" hidden="1">
            <a:extLst>
              <a:ext uri="{FF2B5EF4-FFF2-40B4-BE49-F238E27FC236}">
                <a16:creationId xmlns:a16="http://schemas.microsoft.com/office/drawing/2014/main" id="{A6084645-B8C3-464E-B1ED-76F6A5D93858}"/>
              </a:ext>
            </a:extLst>
          </p:cNvPr>
          <p:cNvSpPr/>
          <p:nvPr userDrawn="1">
            <p:custDataLst>
              <p:tags r:id="rId55"/>
            </p:custDataLst>
          </p:nvPr>
        </p:nvSpPr>
        <p:spPr>
          <a:xfrm>
            <a:off x="34074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7" name="Rectangle 16" hidden="1">
            <a:extLst>
              <a:ext uri="{FF2B5EF4-FFF2-40B4-BE49-F238E27FC236}">
                <a16:creationId xmlns:a16="http://schemas.microsoft.com/office/drawing/2014/main" id="{DB0D547D-226E-4C76-BA08-5EC8DF99BD1B}"/>
              </a:ext>
            </a:extLst>
          </p:cNvPr>
          <p:cNvSpPr/>
          <p:nvPr userDrawn="1">
            <p:custDataLst>
              <p:tags r:id="rId56"/>
            </p:custDataLst>
          </p:nvPr>
        </p:nvSpPr>
        <p:spPr>
          <a:xfrm>
            <a:off x="40032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8" name="Rectangle 17" hidden="1">
            <a:extLst>
              <a:ext uri="{FF2B5EF4-FFF2-40B4-BE49-F238E27FC236}">
                <a16:creationId xmlns:a16="http://schemas.microsoft.com/office/drawing/2014/main" id="{4D63EB0A-4C7F-4FB4-A89D-55F7910339CF}"/>
              </a:ext>
            </a:extLst>
          </p:cNvPr>
          <p:cNvSpPr/>
          <p:nvPr userDrawn="1">
            <p:custDataLst>
              <p:tags r:id="rId57"/>
            </p:custDataLst>
          </p:nvPr>
        </p:nvSpPr>
        <p:spPr>
          <a:xfrm>
            <a:off x="49590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9" name="Rectangle 18" hidden="1">
            <a:extLst>
              <a:ext uri="{FF2B5EF4-FFF2-40B4-BE49-F238E27FC236}">
                <a16:creationId xmlns:a16="http://schemas.microsoft.com/office/drawing/2014/main" id="{0081FEE4-77DA-4841-BB07-91C0AB44AD92}"/>
              </a:ext>
            </a:extLst>
          </p:cNvPr>
          <p:cNvSpPr/>
          <p:nvPr userDrawn="1">
            <p:custDataLst>
              <p:tags r:id="rId58"/>
            </p:custDataLst>
          </p:nvPr>
        </p:nvSpPr>
        <p:spPr>
          <a:xfrm>
            <a:off x="43632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0" name="Rectangle 19" hidden="1">
            <a:extLst>
              <a:ext uri="{FF2B5EF4-FFF2-40B4-BE49-F238E27FC236}">
                <a16:creationId xmlns:a16="http://schemas.microsoft.com/office/drawing/2014/main" id="{19B3D595-3943-4F74-914E-7A1247EA474D}"/>
              </a:ext>
            </a:extLst>
          </p:cNvPr>
          <p:cNvSpPr/>
          <p:nvPr userDrawn="1">
            <p:custDataLst>
              <p:tags r:id="rId59"/>
            </p:custDataLst>
          </p:nvPr>
        </p:nvSpPr>
        <p:spPr>
          <a:xfrm>
            <a:off x="53190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1" name="Rectangle 20" hidden="1">
            <a:extLst>
              <a:ext uri="{FF2B5EF4-FFF2-40B4-BE49-F238E27FC236}">
                <a16:creationId xmlns:a16="http://schemas.microsoft.com/office/drawing/2014/main" id="{6946497E-24E0-495E-AC9F-286EFC043D1A}"/>
              </a:ext>
            </a:extLst>
          </p:cNvPr>
          <p:cNvSpPr/>
          <p:nvPr userDrawn="1">
            <p:custDataLst>
              <p:tags r:id="rId60"/>
            </p:custDataLst>
          </p:nvPr>
        </p:nvSpPr>
        <p:spPr>
          <a:xfrm>
            <a:off x="59148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2" name="Rectangle 21" hidden="1">
            <a:extLst>
              <a:ext uri="{FF2B5EF4-FFF2-40B4-BE49-F238E27FC236}">
                <a16:creationId xmlns:a16="http://schemas.microsoft.com/office/drawing/2014/main" id="{F48ED210-4A17-4161-B138-F8483249CC86}"/>
              </a:ext>
            </a:extLst>
          </p:cNvPr>
          <p:cNvSpPr/>
          <p:nvPr userDrawn="1">
            <p:custDataLst>
              <p:tags r:id="rId61"/>
            </p:custDataLst>
          </p:nvPr>
        </p:nvSpPr>
        <p:spPr>
          <a:xfrm>
            <a:off x="62748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3" name="Rectangle 22" hidden="1">
            <a:extLst>
              <a:ext uri="{FF2B5EF4-FFF2-40B4-BE49-F238E27FC236}">
                <a16:creationId xmlns:a16="http://schemas.microsoft.com/office/drawing/2014/main" id="{E2A68053-6E5B-43A7-A753-AB4254509A2F}"/>
              </a:ext>
            </a:extLst>
          </p:cNvPr>
          <p:cNvSpPr/>
          <p:nvPr userDrawn="1">
            <p:custDataLst>
              <p:tags r:id="rId62"/>
            </p:custDataLst>
          </p:nvPr>
        </p:nvSpPr>
        <p:spPr>
          <a:xfrm>
            <a:off x="68706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4" name="Rectangle 23" hidden="1">
            <a:extLst>
              <a:ext uri="{FF2B5EF4-FFF2-40B4-BE49-F238E27FC236}">
                <a16:creationId xmlns:a16="http://schemas.microsoft.com/office/drawing/2014/main" id="{0892B547-7E88-45AF-94FF-941FC9FBE722}"/>
              </a:ext>
            </a:extLst>
          </p:cNvPr>
          <p:cNvSpPr/>
          <p:nvPr userDrawn="1">
            <p:custDataLst>
              <p:tags r:id="rId63"/>
            </p:custDataLst>
          </p:nvPr>
        </p:nvSpPr>
        <p:spPr>
          <a:xfrm>
            <a:off x="72306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5" name="Rectangle 24" hidden="1">
            <a:extLst>
              <a:ext uri="{FF2B5EF4-FFF2-40B4-BE49-F238E27FC236}">
                <a16:creationId xmlns:a16="http://schemas.microsoft.com/office/drawing/2014/main" id="{9F45B906-7707-4087-94DA-544D073FE4B4}"/>
              </a:ext>
            </a:extLst>
          </p:cNvPr>
          <p:cNvSpPr/>
          <p:nvPr userDrawn="1">
            <p:custDataLst>
              <p:tags r:id="rId64"/>
            </p:custDataLst>
          </p:nvPr>
        </p:nvSpPr>
        <p:spPr>
          <a:xfrm>
            <a:off x="78264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6" name="Rectangle 25" hidden="1">
            <a:extLst>
              <a:ext uri="{FF2B5EF4-FFF2-40B4-BE49-F238E27FC236}">
                <a16:creationId xmlns:a16="http://schemas.microsoft.com/office/drawing/2014/main" id="{187107F5-603C-4B56-8CCC-AE7D1D5487F0}"/>
              </a:ext>
            </a:extLst>
          </p:cNvPr>
          <p:cNvSpPr/>
          <p:nvPr userDrawn="1">
            <p:custDataLst>
              <p:tags r:id="rId65"/>
            </p:custDataLst>
          </p:nvPr>
        </p:nvSpPr>
        <p:spPr>
          <a:xfrm>
            <a:off x="8186171"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7" name="Rectangle 26" hidden="1">
            <a:extLst>
              <a:ext uri="{FF2B5EF4-FFF2-40B4-BE49-F238E27FC236}">
                <a16:creationId xmlns:a16="http://schemas.microsoft.com/office/drawing/2014/main" id="{6DAD9D0A-FB77-4B67-A2E9-4BF7D1BA9BE9}"/>
              </a:ext>
            </a:extLst>
          </p:cNvPr>
          <p:cNvSpPr/>
          <p:nvPr userDrawn="1">
            <p:custDataLst>
              <p:tags r:id="rId66"/>
            </p:custDataLst>
          </p:nvPr>
        </p:nvSpPr>
        <p:spPr>
          <a:xfrm>
            <a:off x="8781971"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8" name="Rectangle 27" hidden="1">
            <a:extLst>
              <a:ext uri="{FF2B5EF4-FFF2-40B4-BE49-F238E27FC236}">
                <a16:creationId xmlns:a16="http://schemas.microsoft.com/office/drawing/2014/main" id="{1BC17295-DC59-44A6-B4B2-4E050D7A788B}"/>
              </a:ext>
            </a:extLst>
          </p:cNvPr>
          <p:cNvSpPr/>
          <p:nvPr userDrawn="1">
            <p:custDataLst>
              <p:tags r:id="rId67"/>
            </p:custDataLst>
          </p:nvPr>
        </p:nvSpPr>
        <p:spPr>
          <a:xfrm>
            <a:off x="9141742"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9" name="Rectangle 28" hidden="1">
            <a:extLst>
              <a:ext uri="{FF2B5EF4-FFF2-40B4-BE49-F238E27FC236}">
                <a16:creationId xmlns:a16="http://schemas.microsoft.com/office/drawing/2014/main" id="{1BA74B38-C53F-4A17-AE1B-FA8CCFD7931E}"/>
              </a:ext>
            </a:extLst>
          </p:cNvPr>
          <p:cNvSpPr/>
          <p:nvPr userDrawn="1">
            <p:custDataLst>
              <p:tags r:id="rId68"/>
            </p:custDataLst>
          </p:nvPr>
        </p:nvSpPr>
        <p:spPr>
          <a:xfrm>
            <a:off x="9737542"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0" name="Rectangle 29" hidden="1">
            <a:extLst>
              <a:ext uri="{FF2B5EF4-FFF2-40B4-BE49-F238E27FC236}">
                <a16:creationId xmlns:a16="http://schemas.microsoft.com/office/drawing/2014/main" id="{A137F3A0-E69C-4D7E-B14E-5DBC900C2B9F}"/>
              </a:ext>
            </a:extLst>
          </p:cNvPr>
          <p:cNvSpPr/>
          <p:nvPr userDrawn="1">
            <p:custDataLst>
              <p:tags r:id="rId69"/>
            </p:custDataLst>
          </p:nvPr>
        </p:nvSpPr>
        <p:spPr>
          <a:xfrm>
            <a:off x="10097313"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1" name="Rectangle 30" hidden="1">
            <a:extLst>
              <a:ext uri="{FF2B5EF4-FFF2-40B4-BE49-F238E27FC236}">
                <a16:creationId xmlns:a16="http://schemas.microsoft.com/office/drawing/2014/main" id="{8AAC89CF-02FA-4732-9AEE-C4E786000957}"/>
              </a:ext>
            </a:extLst>
          </p:cNvPr>
          <p:cNvSpPr/>
          <p:nvPr userDrawn="1">
            <p:custDataLst>
              <p:tags r:id="rId70"/>
            </p:custDataLst>
          </p:nvPr>
        </p:nvSpPr>
        <p:spPr>
          <a:xfrm>
            <a:off x="10693113"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2" name="Rectangle 31" hidden="1">
            <a:extLst>
              <a:ext uri="{FF2B5EF4-FFF2-40B4-BE49-F238E27FC236}">
                <a16:creationId xmlns:a16="http://schemas.microsoft.com/office/drawing/2014/main" id="{3DBF91E9-D4B5-4392-857C-F2D5AB8DA206}"/>
              </a:ext>
            </a:extLst>
          </p:cNvPr>
          <p:cNvSpPr/>
          <p:nvPr userDrawn="1">
            <p:custDataLst>
              <p:tags r:id="rId71"/>
            </p:custDataLst>
          </p:nvPr>
        </p:nvSpPr>
        <p:spPr>
          <a:xfrm>
            <a:off x="11052884"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4" name="Krone">
            <a:extLst>
              <a:ext uri="{FF2B5EF4-FFF2-40B4-BE49-F238E27FC236}">
                <a16:creationId xmlns:a16="http://schemas.microsoft.com/office/drawing/2014/main" id="{D7C840AD-B7C6-4413-89CC-A1273C1AE4FE}"/>
              </a:ext>
            </a:extLst>
          </p:cNvPr>
          <p:cNvSpPr/>
          <p:nvPr userDrawn="1">
            <p:custDataLst>
              <p:tags r:id="rId72"/>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14143C"/>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63" r:id="rId3"/>
    <p:sldLayoutId id="2147483764" r:id="rId4"/>
    <p:sldLayoutId id="2147483765" r:id="rId5"/>
    <p:sldLayoutId id="2147483737" r:id="rId6"/>
    <p:sldLayoutId id="2147483766" r:id="rId7"/>
    <p:sldLayoutId id="2147483767" r:id="rId8"/>
    <p:sldLayoutId id="2147483791" r:id="rId9"/>
    <p:sldLayoutId id="2147483755" r:id="rId10"/>
    <p:sldLayoutId id="2147483768" r:id="rId11"/>
    <p:sldLayoutId id="2147483769" r:id="rId12"/>
    <p:sldLayoutId id="2147483771" r:id="rId13"/>
    <p:sldLayoutId id="2147483773" r:id="rId14"/>
    <p:sldLayoutId id="2147483774" r:id="rId15"/>
    <p:sldLayoutId id="2147483772" r:id="rId16"/>
    <p:sldLayoutId id="2147483770" r:id="rId17"/>
    <p:sldLayoutId id="2147483739"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32" r:id="rId33"/>
    <p:sldLayoutId id="2147483789" r:id="rId34"/>
    <p:sldLayoutId id="2147483790" r:id="rId35"/>
    <p:sldLayoutId id="2147483743" r:id="rId36"/>
    <p:sldLayoutId id="2147483744" r:id="rId37"/>
    <p:sldLayoutId id="2147483759" r:id="rId38"/>
    <p:sldLayoutId id="2147483753" r:id="rId39"/>
    <p:sldLayoutId id="2147483792" r:id="rId40"/>
    <p:sldLayoutId id="2147483793" r:id="rId41"/>
    <p:sldLayoutId id="2147483794" r:id="rId42"/>
    <p:sldLayoutId id="2147483877" r:id="rId43"/>
    <p:sldLayoutId id="2147483878" r:id="rId44"/>
    <p:sldLayoutId id="2147483879" r:id="rId45"/>
    <p:sldLayoutId id="2147483880" r:id="rId46"/>
    <p:sldLayoutId id="2147483881" r:id="rId47"/>
  </p:sldLayoutIdLst>
  <p:hf hdr="0"/>
  <p:txStyles>
    <p:titleStyle>
      <a:lvl1pPr algn="l" defTabSz="914400" rtl="0" eaLnBrk="1" latinLnBrk="0" hangingPunct="1">
        <a:lnSpc>
          <a:spcPct val="93000"/>
        </a:lnSpc>
        <a:spcBef>
          <a:spcPct val="0"/>
        </a:spcBef>
        <a:buNone/>
        <a:defRPr sz="4000" kern="1200">
          <a:solidFill>
            <a:schemeClr val="accent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Font typeface="Arial" panose="020B0604020202020204" pitchFamily="34" charset="0"/>
        <a:buChar char="​"/>
        <a:defRPr sz="1500" b="1"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0"/>
        </a:spcAft>
        <a:buFont typeface="Academy Sans Office" panose="020B0503030000000000" pitchFamily="34" charset="0"/>
        <a:buChar char="→"/>
        <a:tabLst/>
        <a:defRPr sz="1500" b="1" kern="1200">
          <a:solidFill>
            <a:schemeClr val="tx1"/>
          </a:solidFill>
          <a:latin typeface="+mn-lt"/>
          <a:ea typeface="+mn-ea"/>
          <a:cs typeface="+mn-cs"/>
        </a:defRPr>
      </a:lvl5pPr>
      <a:lvl6pPr marL="288000" indent="-288000" algn="l" defTabSz="914400" rtl="0" eaLnBrk="1" latinLnBrk="0" hangingPunct="1">
        <a:lnSpc>
          <a:spcPct val="110000"/>
        </a:lnSpc>
        <a:spcBef>
          <a:spcPts val="0"/>
        </a:spcBef>
        <a:spcAft>
          <a:spcPts val="850"/>
        </a:spcAft>
        <a:buFont typeface="Academy Sans Office" panose="020B0503030000000000" pitchFamily="34" charset="0"/>
        <a:buChar char="•"/>
        <a:defRPr sz="1800" kern="1200">
          <a:solidFill>
            <a:schemeClr val="tx1"/>
          </a:solidFill>
          <a:latin typeface="+mn-lt"/>
          <a:ea typeface="+mn-ea"/>
          <a:cs typeface="+mn-cs"/>
        </a:defRPr>
      </a:lvl6pPr>
      <a:lvl7pPr marL="288000" indent="-288000" algn="l" defTabSz="914400" rtl="0" eaLnBrk="1" latinLnBrk="0" hangingPunct="1">
        <a:lnSpc>
          <a:spcPct val="110000"/>
        </a:lnSpc>
        <a:spcBef>
          <a:spcPts val="0"/>
        </a:spcBef>
        <a:spcAft>
          <a:spcPts val="850"/>
        </a:spcAft>
        <a:buFont typeface="Academy Sans Office" panose="020B0503030000000000" pitchFamily="34" charset="0"/>
        <a:buChar char="→"/>
        <a:defRPr sz="1800" b="1" kern="1200" baseline="0">
          <a:solidFill>
            <a:schemeClr val="tx1"/>
          </a:solidFill>
          <a:latin typeface="+mn-lt"/>
          <a:ea typeface="+mn-ea"/>
          <a:cs typeface="+mn-cs"/>
        </a:defRPr>
      </a:lvl7pPr>
      <a:lvl8pPr marL="0" indent="0" algn="l" defTabSz="914400" rtl="0" eaLnBrk="1" latinLnBrk="0" hangingPunct="1">
        <a:lnSpc>
          <a:spcPct val="92000"/>
        </a:lnSpc>
        <a:spcBef>
          <a:spcPts val="0"/>
        </a:spcBef>
        <a:spcAft>
          <a:spcPts val="0"/>
        </a:spcAft>
        <a:buFont typeface="Arial" panose="020B0604020202020204" pitchFamily="34" charset="0"/>
        <a:buChar char="​"/>
        <a:defRPr sz="900" kern="1200">
          <a:solidFill>
            <a:schemeClr val="tx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200" kern="1200" baseline="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48" userDrawn="1">
          <p15:clr>
            <a:srgbClr val="F26B43"/>
          </p15:clr>
        </p15:guide>
        <p15:guide id="2" pos="3123" userDrawn="1">
          <p15:clr>
            <a:srgbClr val="F26B43"/>
          </p15:clr>
        </p15:guide>
        <p15:guide id="3" orient="horz" pos="408" userDrawn="1">
          <p15:clr>
            <a:srgbClr val="F26B43"/>
          </p15:clr>
        </p15:guide>
        <p15:guide id="4" orient="horz" pos="3843" userDrawn="1">
          <p15:clr>
            <a:srgbClr val="F26B43"/>
          </p15:clr>
        </p15:guide>
        <p15:guide id="5" pos="6360" userDrawn="1">
          <p15:clr>
            <a:srgbClr val="F26B43"/>
          </p15:clr>
        </p15:guide>
        <p15:guide id="6" pos="6735" userDrawn="1">
          <p15:clr>
            <a:srgbClr val="F26B43"/>
          </p15:clr>
        </p15:guide>
        <p15:guide id="7" pos="3350" userDrawn="1">
          <p15:clr>
            <a:srgbClr val="F26B43"/>
          </p15:clr>
        </p15:guide>
        <p15:guide id="8" pos="3725" userDrawn="1">
          <p15:clr>
            <a:srgbClr val="F26B43"/>
          </p15:clr>
        </p15:guide>
        <p15:guide id="9" pos="2146" userDrawn="1">
          <p15:clr>
            <a:srgbClr val="F26B43"/>
          </p15:clr>
        </p15:guide>
        <p15:guide id="10" pos="2521" userDrawn="1">
          <p15:clr>
            <a:srgbClr val="F26B43"/>
          </p15:clr>
        </p15:guide>
        <p15:guide id="11" pos="5156" userDrawn="1">
          <p15:clr>
            <a:srgbClr val="F26B43"/>
          </p15:clr>
        </p15:guide>
        <p15:guide id="12" pos="5531" userDrawn="1">
          <p15:clr>
            <a:srgbClr val="F26B43"/>
          </p15:clr>
        </p15:guide>
        <p15:guide id="13" pos="6962" userDrawn="1">
          <p15:clr>
            <a:srgbClr val="F26B43"/>
          </p15:clr>
        </p15:guide>
        <p15:guide id="14" pos="7337" userDrawn="1">
          <p15:clr>
            <a:srgbClr val="F26B43"/>
          </p15:clr>
        </p15:guide>
        <p15:guide id="15" pos="4554" userDrawn="1">
          <p15:clr>
            <a:srgbClr val="F26B43"/>
          </p15:clr>
        </p15:guide>
        <p15:guide id="16" pos="4930" userDrawn="1">
          <p15:clr>
            <a:srgbClr val="F26B43"/>
          </p15:clr>
        </p15:guide>
        <p15:guide id="17" pos="340" userDrawn="1">
          <p15:clr>
            <a:srgbClr val="F26B43"/>
          </p15:clr>
        </p15:guide>
        <p15:guide id="18" pos="715" userDrawn="1">
          <p15:clr>
            <a:srgbClr val="F26B43"/>
          </p15:clr>
        </p15:guide>
        <p15:guide id="19" pos="3952" userDrawn="1">
          <p15:clr>
            <a:srgbClr val="F26B43"/>
          </p15:clr>
        </p15:guide>
        <p15:guide id="20" pos="4327" userDrawn="1">
          <p15:clr>
            <a:srgbClr val="F26B43"/>
          </p15:clr>
        </p15:guide>
        <p15:guide id="21" pos="942" userDrawn="1">
          <p15:clr>
            <a:srgbClr val="F26B43"/>
          </p15:clr>
        </p15:guide>
        <p15:guide id="22" pos="1317" userDrawn="1">
          <p15:clr>
            <a:srgbClr val="F26B43"/>
          </p15:clr>
        </p15:guide>
        <p15:guide id="23" pos="5758" userDrawn="1">
          <p15:clr>
            <a:srgbClr val="F26B43"/>
          </p15:clr>
        </p15:guide>
        <p15:guide id="24" pos="6133" userDrawn="1">
          <p15:clr>
            <a:srgbClr val="F26B43"/>
          </p15:clr>
        </p15:guide>
        <p15:guide id="25" pos="1544" userDrawn="1">
          <p15:clr>
            <a:srgbClr val="F26B43"/>
          </p15:clr>
        </p15:guide>
        <p15:guide id="26" pos="1919" userDrawn="1">
          <p15:clr>
            <a:srgbClr val="F26B43"/>
          </p15:clr>
        </p15:guide>
        <p15:guide id="27" orient="horz" pos="4127" userDrawn="1">
          <p15:clr>
            <a:srgbClr val="A4A3A4"/>
          </p15:clr>
        </p15:guide>
        <p15:guide id="28" orient="horz" pos="358" userDrawn="1">
          <p15:clr>
            <a:srgbClr val="A4A3A4"/>
          </p15:clr>
        </p15:guide>
        <p15:guide id="29" orient="horz" pos="1331"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A7CFC86-837C-4B98-B13F-7DA2F6A44EA4}"/>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7" name="think-cell Slide" r:id="rId30" imgW="353" imgH="353" progId="TCLayout.ActiveDocument.1">
                  <p:embed/>
                </p:oleObj>
              </mc:Choice>
              <mc:Fallback>
                <p:oleObj name="think-cell Slide" r:id="rId30" imgW="353" imgH="353" progId="TCLayout.ActiveDocument.1">
                  <p:embed/>
                  <p:pic>
                    <p:nvPicPr>
                      <p:cNvPr id="5" name="Objekt 4" hidden="1">
                        <a:extLst>
                          <a:ext uri="{FF2B5EF4-FFF2-40B4-BE49-F238E27FC236}">
                            <a16:creationId xmlns:a16="http://schemas.microsoft.com/office/drawing/2014/main" id="{8A7CFC86-837C-4B98-B13F-7DA2F6A44EA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539749" y="2112963"/>
            <a:ext cx="11109325" cy="3987800"/>
          </a:xfrm>
          <a:prstGeom prst="rect">
            <a:avLst/>
          </a:prstGeom>
        </p:spPr>
        <p:txBody>
          <a:bodyPr vert="horz" lIns="0" tIns="0" rIns="0" bIns="0" rtlCol="0">
            <a:noAutofit/>
          </a:bodyPr>
          <a:lstStyle/>
          <a:p>
            <a:pPr lvl="0"/>
            <a:r>
              <a:rPr lang="da-DK" noProof="0"/>
              <a:t>Level 1, Bullet body 15</a:t>
            </a:r>
          </a:p>
          <a:p>
            <a:pPr lvl="1"/>
            <a:r>
              <a:rPr lang="da-DK" noProof="0"/>
              <a:t>Level 2, Bullet body 15</a:t>
            </a:r>
          </a:p>
          <a:p>
            <a:pPr lvl="2"/>
            <a:r>
              <a:rPr lang="da-DK" noProof="0"/>
              <a:t>Level 3, Bullet body 15</a:t>
            </a:r>
          </a:p>
          <a:p>
            <a:pPr lvl="3"/>
            <a:r>
              <a:rPr lang="da-DK" noProof="0"/>
              <a:t>Level 4, Header bold 15</a:t>
            </a:r>
          </a:p>
          <a:p>
            <a:pPr lvl="4"/>
            <a:r>
              <a:rPr lang="da-DK" noProof="0"/>
              <a:t>Level 5, Bullet body bold 15</a:t>
            </a:r>
          </a:p>
          <a:p>
            <a:pPr lvl="5"/>
            <a:r>
              <a:rPr lang="da-DK" noProof="0"/>
              <a:t>Level 6, Bullet Body 18</a:t>
            </a:r>
          </a:p>
          <a:p>
            <a:pPr lvl="6"/>
            <a:r>
              <a:rPr lang="da-DK" noProof="0"/>
              <a:t>Level 7, Bullet bold pil 18</a:t>
            </a:r>
          </a:p>
          <a:p>
            <a:pPr lvl="7"/>
            <a:r>
              <a:rPr lang="da-DK" noProof="0"/>
              <a:t>Level 8, Note body</a:t>
            </a:r>
          </a:p>
          <a:p>
            <a:pPr lvl="8"/>
            <a:r>
              <a:rPr lang="da-DK" noProof="0"/>
              <a:t>Level 9, Infografik 62</a:t>
            </a:r>
          </a:p>
        </p:txBody>
      </p:sp>
      <p:sp>
        <p:nvSpPr>
          <p:cNvPr id="6" name="Slide Number Placeholder 5"/>
          <p:cNvSpPr>
            <a:spLocks noGrp="1"/>
          </p:cNvSpPr>
          <p:nvPr>
            <p:ph type="sldNum" sz="quarter" idx="4"/>
          </p:nvPr>
        </p:nvSpPr>
        <p:spPr>
          <a:xfrm>
            <a:off x="11052175" y="6267373"/>
            <a:ext cx="596899" cy="307878"/>
          </a:xfrm>
          <a:prstGeom prst="rect">
            <a:avLst/>
          </a:prstGeom>
        </p:spPr>
        <p:txBody>
          <a:bodyPr vert="horz" lIns="0" tIns="0" rIns="0" bIns="0" rtlCol="0" anchor="b" anchorCtr="0"/>
          <a:lstStyle>
            <a:lvl1pPr algn="r">
              <a:lnSpc>
                <a:spcPct val="92000"/>
              </a:lnSpc>
              <a:defRPr sz="900">
                <a:solidFill>
                  <a:schemeClr val="accent1"/>
                </a:solidFill>
              </a:defRPr>
            </a:lvl1pPr>
          </a:lstStyle>
          <a:p>
            <a:pPr>
              <a:lnSpc>
                <a:spcPct val="92000"/>
              </a:lnSpc>
            </a:pPr>
            <a:fld id="{24C8C45C-947F-4981-8B3F-4F32E973C901}" type="slidenum">
              <a:rPr lang="da-DK" smtClean="0"/>
              <a:pPr>
                <a:lnSpc>
                  <a:spcPct val="92000"/>
                </a:lnSpc>
              </a:pPr>
              <a:t>‹nr.›</a:t>
            </a:fld>
            <a:endParaRPr lang="da-DK"/>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69688"/>
            <a:ext cx="9196388" cy="1152000"/>
          </a:xfrm>
          <a:prstGeom prst="rect">
            <a:avLst/>
          </a:prstGeom>
        </p:spPr>
        <p:txBody>
          <a:bodyPr vert="horz" lIns="0" tIns="0" rIns="0" bIns="0" rtlCol="0" anchor="t" anchorCtr="0">
            <a:noAutofit/>
          </a:bodyPr>
          <a:lstStyle/>
          <a:p>
            <a:endParaRPr lang="da-DK"/>
          </a:p>
        </p:txBody>
      </p:sp>
      <p:sp>
        <p:nvSpPr>
          <p:cNvPr id="2" name="Date Placeholder 1">
            <a:extLst>
              <a:ext uri="{FF2B5EF4-FFF2-40B4-BE49-F238E27FC236}">
                <a16:creationId xmlns:a16="http://schemas.microsoft.com/office/drawing/2014/main" id="{6DAF2562-DFA4-49A4-9C2A-FBAD02376BBC}"/>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lnSpc>
                <a:spcPct val="92000"/>
              </a:lnSpc>
              <a:defRPr sz="100">
                <a:noFill/>
              </a:defRPr>
            </a:lvl1pPr>
          </a:lstStyle>
          <a:p>
            <a:pPr>
              <a:lnSpc>
                <a:spcPct val="92000"/>
              </a:lnSpc>
            </a:pPr>
            <a:fld id="{1E5A653B-FA7D-46E3-9F21-ACB02735751A}" type="datetime2">
              <a:rPr lang="da-DK" smtClean="0"/>
              <a:t>18. januar 2022</a:t>
            </a:fld>
            <a:endParaRPr lang="da-DK"/>
          </a:p>
        </p:txBody>
      </p:sp>
      <p:sp>
        <p:nvSpPr>
          <p:cNvPr id="8" name="Footer Placeholder 7">
            <a:extLst>
              <a:ext uri="{FF2B5EF4-FFF2-40B4-BE49-F238E27FC236}">
                <a16:creationId xmlns:a16="http://schemas.microsoft.com/office/drawing/2014/main" id="{3D397FDF-4480-4092-8EF3-23AF214F4831}"/>
              </a:ext>
            </a:extLst>
          </p:cNvPr>
          <p:cNvSpPr>
            <a:spLocks noGrp="1"/>
          </p:cNvSpPr>
          <p:nvPr>
            <p:ph type="ftr" sz="quarter" idx="3"/>
          </p:nvPr>
        </p:nvSpPr>
        <p:spPr>
          <a:xfrm>
            <a:off x="1135064" y="6267373"/>
            <a:ext cx="1316038" cy="307878"/>
          </a:xfrm>
          <a:prstGeom prst="rect">
            <a:avLst/>
          </a:prstGeom>
        </p:spPr>
        <p:txBody>
          <a:bodyPr vert="horz" lIns="0" tIns="0" rIns="0" bIns="0" rtlCol="0" anchor="b" anchorCtr="0"/>
          <a:lstStyle>
            <a:lvl1pPr algn="l">
              <a:lnSpc>
                <a:spcPct val="92000"/>
              </a:lnSpc>
              <a:defRPr sz="900">
                <a:solidFill>
                  <a:schemeClr val="accent1"/>
                </a:solidFill>
              </a:defRPr>
            </a:lvl1pPr>
          </a:lstStyle>
          <a:p>
            <a:pPr>
              <a:lnSpc>
                <a:spcPct val="92000"/>
              </a:lnSpc>
            </a:pPr>
            <a:endParaRPr lang="da-DK"/>
          </a:p>
        </p:txBody>
      </p:sp>
      <p:sp>
        <p:nvSpPr>
          <p:cNvPr id="9" name="[WorkArea]" descr="&lt;?xml version=&quot;1.0&quot; encoding=&quot;utf-16&quot;?&gt;&#10;&lt;GridTheme xmlns:xsi=&quot;http://www.w3.org/2001/XMLSchema-instance&quot; xmlns:xsd=&quot;http://www.w3.org/2001/XMLSchema&quot;&gt;&#10;  &lt;GuideLines /&gt;&#10;  &lt;SubGrids&gt;&#10;    &lt;SubGrid&gt;&#10;      &lt;Left&gt;89.43307&lt;/Left&gt;&#10;      &lt;Top&gt;51.02362&lt;/Top&gt;&#10;      &lt;Width&gt;28.3464565&lt;/Width&gt;&#10;      &lt;Height&gt;429.448822&lt;/Height&gt;&#10;    &lt;/SubGrid&gt;&#10;    &lt;SubGrid&gt;&#10;      &lt;Left&gt;42.5196838&lt;/Left&gt;&#10;      &lt;Top&gt;51.02362&lt;/Top&gt;&#10;      &lt;Width&gt;46.9133873&lt;/Width&gt;&#10;      &lt;Height&gt;429.448822&lt;/Height&gt;&#10;    &lt;/SubGrid&gt;&#10;    &lt;SubGrid&gt;&#10;      &lt;Left&gt;164.692917&lt;/Left&gt;&#10;      &lt;Top&gt;51.02362&lt;/Top&gt;&#10;      &lt;Width&gt;28.3464565&lt;/Width&gt;&#10;      &lt;Height&gt;429.448822&lt;/Height&gt;&#10;    &lt;/SubGrid&gt;&#10;    &lt;SubGrid&gt;&#10;      &lt;Left&gt;117.779526&lt;/Left&gt;&#10;      &lt;Top&gt;51.02362&lt;/Top&gt;&#10;      &lt;Width&gt;46.9133873&lt;/Width&gt;&#10;      &lt;Height&gt;429.448822&lt;/Height&gt;&#10;    &lt;/SubGrid&gt;&#10;    &lt;SubGrid&gt;&#10;      &lt;Left&gt;193.039368&lt;/Left&gt;&#10;      &lt;Top&gt;51.02362&lt;/Top&gt;&#10;      &lt;Width&gt;46.9133873&lt;/Width&gt;&#10;      &lt;Height&gt;429.448822&lt;/Height&gt;&#10;    &lt;/SubGrid&gt;&#10;    &lt;SubGrid&gt;&#10;      &lt;Left&gt;239.952759&lt;/Left&gt;&#10;      &lt;Top&gt;51.02362&lt;/Top&gt;&#10;      &lt;Width&gt;28.3464565&lt;/Width&gt;&#10;      &lt;Height&gt;429.448822&lt;/Height&gt;&#10;    &lt;/SubGrid&gt;&#10;    &lt;SubGrid&gt;&#10;      &lt;Left&gt;268.299225&lt;/Left&gt;&#10;      &lt;Top&gt;51.02362&lt;/Top&gt;&#10;      &lt;Width&gt;46.9133873&lt;/Width&gt;&#10;      &lt;Height&gt;429.448822&lt;/Height&gt;&#10;    &lt;/SubGrid&gt;&#10;    &lt;SubGrid&gt;&#10;      &lt;Left&gt;315.2126&lt;/Left&gt;&#10;      &lt;Top&gt;51.02362&lt;/Top&gt;&#10;      &lt;Width&gt;28.3464565&lt;/Width&gt;&#10;      &lt;Height&gt;429.448822&lt;/Height&gt;&#10;    &lt;/SubGrid&gt;&#10;    &lt;SubGrid&gt;&#10;      &lt;Left&gt;390.472443&lt;/Left&gt;&#10;      &lt;Top&gt;51.02362&lt;/Top&gt;&#10;      &lt;Width&gt;28.3464565&lt;/Width&gt;&#10;      &lt;Height&gt;429.448822&lt;/Height&gt;&#10;    &lt;/SubGrid&gt;&#10;    &lt;SubGrid&gt;&#10;      &lt;Left&gt;343.559052&lt;/Left&gt;&#10;      &lt;Top&gt;51.02362&lt;/Top&gt;&#10;      &lt;Width&gt;46.9133873&lt;/Width&gt;&#10;      &lt;Height&gt;429.448822&lt;/Height&gt;&#10;    &lt;/SubGrid&gt;&#10;    &lt;SubGrid&gt;&#10;      &lt;Left&gt;418.8189&lt;/Left&gt;&#10;      &lt;Top&gt;51.02362&lt;/Top&gt;&#10;      &lt;Width&gt;46.9133873&lt;/Width&gt;&#10;      &lt;Height&gt;429.448822&lt;/Height&gt;&#10;    &lt;/SubGrid&gt;&#10;    &lt;SubGrid&gt;&#10;      &lt;Left&gt;465.732269&lt;/Left&gt;&#10;      &lt;Top&gt;51.02362&lt;/Top&gt;&#10;      &lt;Width&gt;28.3464565&lt;/Width&gt;&#10;      &lt;Height&gt;429.448822&lt;/Height&gt;&#10;    &lt;/SubGrid&gt;&#10;    &lt;SubGrid&gt;&#10;      &lt;Left&gt;494.078735&lt;/Left&gt;&#10;      &lt;Top&gt;51.02362&lt;/Top&gt;&#10;      &lt;Width&gt;46.9133873&lt;/Width&gt;&#10;      &lt;Height&gt;429.448822&lt;/Height&gt;&#10;    &lt;/SubGrid&gt;&#10;    &lt;SubGrid&gt;&#10;      &lt;Left&gt;540.9921&lt;/Left&gt;&#10;      &lt;Top&gt;51.02362&lt;/Top&gt;&#10;      &lt;Width&gt;28.3464565&lt;/Width&gt;&#10;      &lt;Height&gt;429.448822&lt;/Height&gt;&#10;    &lt;/SubGrid&gt;&#10;    &lt;SubGrid&gt;&#10;      &lt;Left&gt;569.338562&lt;/Left&gt;&#10;      &lt;Top&gt;51.02362&lt;/Top&gt;&#10;      &lt;Width&gt;46.9133873&lt;/Width&gt;&#10;      &lt;Height&gt;429.448822&lt;/Height&gt;&#10;    &lt;/SubGrid&gt;&#10;    &lt;SubGrid&gt;&#10;      &lt;Left&gt;616.251953&lt;/Left&gt;&#10;      &lt;Top&gt;51.02362&lt;/Top&gt;&#10;      &lt;Width&gt;28.3464565&lt;/Width&gt;&#10;      &lt;Height&gt;429.448822&lt;/Height&gt;&#10;    &lt;/SubGrid&gt;&#10;    &lt;SubGrid&gt;&#10;      &lt;Left&gt;644.5804&lt;/Left&gt;&#10;      &lt;Top&gt;51.02362&lt;/Top&gt;&#10;      &lt;Width&gt;46.9133873&lt;/Width&gt;&#10;      &lt;Height&gt;429.448822&lt;/Height&gt;&#10;    &lt;/SubGrid&gt;&#10;    &lt;SubGrid&gt;&#10;      &lt;Left&gt;691.4938&lt;/Left&gt;&#10;      &lt;Top&gt;51.02362&lt;/Top&gt;&#10;      &lt;Width&gt;28.3464565&lt;/Width&gt;&#10;      &lt;Height&gt;429.448822&lt;/Height&gt;&#10;    &lt;/SubGrid&gt;&#10;    &lt;SubGrid&gt;&#10;      &lt;Left&gt;719.8222&lt;/Left&gt;&#10;      &lt;Top&gt;51.02362&lt;/Top&gt;&#10;      &lt;Width&gt;46.9133873&lt;/Width&gt;&#10;      &lt;Height&gt;429.448822&lt;/Height&gt;&#10;    &lt;/SubGrid&gt;&#10;    &lt;SubGrid&gt;&#10;      &lt;Left&gt;766.7356&lt;/Left&gt;&#10;      &lt;Top&gt;51.02362&lt;/Top&gt;&#10;      &lt;Width&gt;28.3464565&lt;/Width&gt;&#10;      &lt;Height&gt;429.448822&lt;/Height&gt;&#10;    &lt;/SubGrid&gt;&#10;    &lt;SubGrid&gt;&#10;      &lt;Left&gt;795.064&lt;/Left&gt;&#10;      &lt;Top&gt;51.02362&lt;/Top&gt;&#10;      &lt;Width&gt;46.9133873&lt;/Width&gt;&#10;      &lt;Height&gt;429.448822&lt;/Height&gt;&#10;    &lt;/SubGrid&gt;&#10;    &lt;SubGrid&gt;&#10;      &lt;Left&gt;841.9774&lt;/Left&gt;&#10;      &lt;Top&gt;51.02362&lt;/Top&gt;&#10;      &lt;Width&gt;28.3464565&lt;/Width&gt;&#10;      &lt;Height&gt;429.448822&lt;/Height&gt;&#10;    &lt;/SubGrid&gt;&#10;    &lt;SubGrid&gt;&#10;      &lt;Left&gt;870.305847&lt;/Left&gt;&#10;      &lt;Top&gt;51.02362&lt;/Top&gt;&#10;      &lt;Width&gt;46.9133873&lt;/Width&gt;&#10;      &lt;Height&gt;429.448822&lt;/Height&gt;&#10;    &lt;/SubGrid&gt;&#10;  &lt;/SubGrids&gt;&#10;  &lt;WorkArea&gt;&#10;    &lt;Top&gt;51.02362&lt;/Top&gt;&#10;    &lt;Left&gt;42.5196838&lt;/Left&gt;&#10;    &lt;Width&gt;874.960632&lt;/Width&gt;&#10;    &lt;Height&gt;429.448822&lt;/Height&gt;&#10;  &lt;/WorkArea&gt;&#10;  &lt;AspectW&gt;16&lt;/AspectW&gt;&#10;  &lt;AspectH&gt;9&lt;/AspectH&gt;&#10;  &lt;Width&gt;960&lt;/Width&gt;&#10;  &lt;Height&gt;540&lt;/Height&gt;&#10;  &lt;HGap&gt;10&lt;/HGap&gt;&#10;  &lt;VGap&gt;10&lt;/VGap&gt;&#10;  &lt;OfficeVersion&gt;16&lt;/OfficeVersion&gt;&#10;&lt;/GridTheme&gt;" hidden="1">
            <a:extLst>
              <a:ext uri="{FF2B5EF4-FFF2-40B4-BE49-F238E27FC236}">
                <a16:creationId xmlns:a16="http://schemas.microsoft.com/office/drawing/2014/main" id="{2DC854E0-CA26-4983-8F3A-FD9043AD9EB4}"/>
              </a:ext>
            </a:extLst>
          </p:cNvPr>
          <p:cNvSpPr/>
          <p:nvPr userDrawn="1"/>
        </p:nvSpPr>
        <p:spPr>
          <a:xfrm>
            <a:off x="540000" y="648000"/>
            <a:ext cx="11112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0" name="Rectangle 9" hidden="1">
            <a:extLst>
              <a:ext uri="{FF2B5EF4-FFF2-40B4-BE49-F238E27FC236}">
                <a16:creationId xmlns:a16="http://schemas.microsoft.com/office/drawing/2014/main" id="{39AE5296-22FA-4B22-8DA7-E1D03FBD4D6B}"/>
              </a:ext>
            </a:extLst>
          </p:cNvPr>
          <p:cNvSpPr/>
          <p:nvPr userDrawn="1">
            <p:custDataLst>
              <p:tags r:id="rId6"/>
            </p:custDataLst>
          </p:nvPr>
        </p:nvSpPr>
        <p:spPr>
          <a:xfrm>
            <a:off x="11358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1" name="Rectangle 10" hidden="1">
            <a:extLst>
              <a:ext uri="{FF2B5EF4-FFF2-40B4-BE49-F238E27FC236}">
                <a16:creationId xmlns:a16="http://schemas.microsoft.com/office/drawing/2014/main" id="{5C92EC9C-2F7B-484C-A02C-E5F249A7A172}"/>
              </a:ext>
            </a:extLst>
          </p:cNvPr>
          <p:cNvSpPr/>
          <p:nvPr userDrawn="1">
            <p:custDataLst>
              <p:tags r:id="rId7"/>
            </p:custDataLst>
          </p:nvPr>
        </p:nvSpPr>
        <p:spPr>
          <a:xfrm>
            <a:off x="5400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2" name="Rectangle 11" hidden="1">
            <a:extLst>
              <a:ext uri="{FF2B5EF4-FFF2-40B4-BE49-F238E27FC236}">
                <a16:creationId xmlns:a16="http://schemas.microsoft.com/office/drawing/2014/main" id="{B77F2FCA-A3EA-4427-84A0-89232F9E7EE6}"/>
              </a:ext>
            </a:extLst>
          </p:cNvPr>
          <p:cNvSpPr/>
          <p:nvPr userDrawn="1">
            <p:custDataLst>
              <p:tags r:id="rId8"/>
            </p:custDataLst>
          </p:nvPr>
        </p:nvSpPr>
        <p:spPr>
          <a:xfrm>
            <a:off x="20916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3" name="Rectangle 12" hidden="1">
            <a:extLst>
              <a:ext uri="{FF2B5EF4-FFF2-40B4-BE49-F238E27FC236}">
                <a16:creationId xmlns:a16="http://schemas.microsoft.com/office/drawing/2014/main" id="{172AAD46-03FD-4776-B768-5F7A834A4D10}"/>
              </a:ext>
            </a:extLst>
          </p:cNvPr>
          <p:cNvSpPr/>
          <p:nvPr userDrawn="1">
            <p:custDataLst>
              <p:tags r:id="rId9"/>
            </p:custDataLst>
          </p:nvPr>
        </p:nvSpPr>
        <p:spPr>
          <a:xfrm>
            <a:off x="14958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4" name="Rectangle 13" hidden="1">
            <a:extLst>
              <a:ext uri="{FF2B5EF4-FFF2-40B4-BE49-F238E27FC236}">
                <a16:creationId xmlns:a16="http://schemas.microsoft.com/office/drawing/2014/main" id="{6C4B6540-0453-4EC4-985C-4DA271EE7378}"/>
              </a:ext>
            </a:extLst>
          </p:cNvPr>
          <p:cNvSpPr/>
          <p:nvPr userDrawn="1">
            <p:custDataLst>
              <p:tags r:id="rId10"/>
            </p:custDataLst>
          </p:nvPr>
        </p:nvSpPr>
        <p:spPr>
          <a:xfrm>
            <a:off x="24516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5" name="Rectangle 14" hidden="1">
            <a:extLst>
              <a:ext uri="{FF2B5EF4-FFF2-40B4-BE49-F238E27FC236}">
                <a16:creationId xmlns:a16="http://schemas.microsoft.com/office/drawing/2014/main" id="{2E4BC63E-4199-4F39-987B-12289DEF9810}"/>
              </a:ext>
            </a:extLst>
          </p:cNvPr>
          <p:cNvSpPr/>
          <p:nvPr userDrawn="1">
            <p:custDataLst>
              <p:tags r:id="rId11"/>
            </p:custDataLst>
          </p:nvPr>
        </p:nvSpPr>
        <p:spPr>
          <a:xfrm>
            <a:off x="30474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6" name="Rectangle 15" hidden="1">
            <a:extLst>
              <a:ext uri="{FF2B5EF4-FFF2-40B4-BE49-F238E27FC236}">
                <a16:creationId xmlns:a16="http://schemas.microsoft.com/office/drawing/2014/main" id="{A6084645-B8C3-464E-B1ED-76F6A5D93858}"/>
              </a:ext>
            </a:extLst>
          </p:cNvPr>
          <p:cNvSpPr/>
          <p:nvPr userDrawn="1">
            <p:custDataLst>
              <p:tags r:id="rId12"/>
            </p:custDataLst>
          </p:nvPr>
        </p:nvSpPr>
        <p:spPr>
          <a:xfrm>
            <a:off x="34074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7" name="Rectangle 16" hidden="1">
            <a:extLst>
              <a:ext uri="{FF2B5EF4-FFF2-40B4-BE49-F238E27FC236}">
                <a16:creationId xmlns:a16="http://schemas.microsoft.com/office/drawing/2014/main" id="{DB0D547D-226E-4C76-BA08-5EC8DF99BD1B}"/>
              </a:ext>
            </a:extLst>
          </p:cNvPr>
          <p:cNvSpPr/>
          <p:nvPr userDrawn="1">
            <p:custDataLst>
              <p:tags r:id="rId13"/>
            </p:custDataLst>
          </p:nvPr>
        </p:nvSpPr>
        <p:spPr>
          <a:xfrm>
            <a:off x="40032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8" name="Rectangle 17" hidden="1">
            <a:extLst>
              <a:ext uri="{FF2B5EF4-FFF2-40B4-BE49-F238E27FC236}">
                <a16:creationId xmlns:a16="http://schemas.microsoft.com/office/drawing/2014/main" id="{4D63EB0A-4C7F-4FB4-A89D-55F7910339CF}"/>
              </a:ext>
            </a:extLst>
          </p:cNvPr>
          <p:cNvSpPr/>
          <p:nvPr userDrawn="1">
            <p:custDataLst>
              <p:tags r:id="rId14"/>
            </p:custDataLst>
          </p:nvPr>
        </p:nvSpPr>
        <p:spPr>
          <a:xfrm>
            <a:off x="49590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19" name="Rectangle 18" hidden="1">
            <a:extLst>
              <a:ext uri="{FF2B5EF4-FFF2-40B4-BE49-F238E27FC236}">
                <a16:creationId xmlns:a16="http://schemas.microsoft.com/office/drawing/2014/main" id="{0081FEE4-77DA-4841-BB07-91C0AB44AD92}"/>
              </a:ext>
            </a:extLst>
          </p:cNvPr>
          <p:cNvSpPr/>
          <p:nvPr userDrawn="1">
            <p:custDataLst>
              <p:tags r:id="rId15"/>
            </p:custDataLst>
          </p:nvPr>
        </p:nvSpPr>
        <p:spPr>
          <a:xfrm>
            <a:off x="43632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0" name="Rectangle 19" hidden="1">
            <a:extLst>
              <a:ext uri="{FF2B5EF4-FFF2-40B4-BE49-F238E27FC236}">
                <a16:creationId xmlns:a16="http://schemas.microsoft.com/office/drawing/2014/main" id="{19B3D595-3943-4F74-914E-7A1247EA474D}"/>
              </a:ext>
            </a:extLst>
          </p:cNvPr>
          <p:cNvSpPr/>
          <p:nvPr userDrawn="1">
            <p:custDataLst>
              <p:tags r:id="rId16"/>
            </p:custDataLst>
          </p:nvPr>
        </p:nvSpPr>
        <p:spPr>
          <a:xfrm>
            <a:off x="53190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1" name="Rectangle 20" hidden="1">
            <a:extLst>
              <a:ext uri="{FF2B5EF4-FFF2-40B4-BE49-F238E27FC236}">
                <a16:creationId xmlns:a16="http://schemas.microsoft.com/office/drawing/2014/main" id="{6946497E-24E0-495E-AC9F-286EFC043D1A}"/>
              </a:ext>
            </a:extLst>
          </p:cNvPr>
          <p:cNvSpPr/>
          <p:nvPr userDrawn="1">
            <p:custDataLst>
              <p:tags r:id="rId17"/>
            </p:custDataLst>
          </p:nvPr>
        </p:nvSpPr>
        <p:spPr>
          <a:xfrm>
            <a:off x="59148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2" name="Rectangle 21" hidden="1">
            <a:extLst>
              <a:ext uri="{FF2B5EF4-FFF2-40B4-BE49-F238E27FC236}">
                <a16:creationId xmlns:a16="http://schemas.microsoft.com/office/drawing/2014/main" id="{F48ED210-4A17-4161-B138-F8483249CC86}"/>
              </a:ext>
            </a:extLst>
          </p:cNvPr>
          <p:cNvSpPr/>
          <p:nvPr userDrawn="1">
            <p:custDataLst>
              <p:tags r:id="rId18"/>
            </p:custDataLst>
          </p:nvPr>
        </p:nvSpPr>
        <p:spPr>
          <a:xfrm>
            <a:off x="62748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3" name="Rectangle 22" hidden="1">
            <a:extLst>
              <a:ext uri="{FF2B5EF4-FFF2-40B4-BE49-F238E27FC236}">
                <a16:creationId xmlns:a16="http://schemas.microsoft.com/office/drawing/2014/main" id="{E2A68053-6E5B-43A7-A753-AB4254509A2F}"/>
              </a:ext>
            </a:extLst>
          </p:cNvPr>
          <p:cNvSpPr/>
          <p:nvPr userDrawn="1">
            <p:custDataLst>
              <p:tags r:id="rId19"/>
            </p:custDataLst>
          </p:nvPr>
        </p:nvSpPr>
        <p:spPr>
          <a:xfrm>
            <a:off x="68706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4" name="Rectangle 23" hidden="1">
            <a:extLst>
              <a:ext uri="{FF2B5EF4-FFF2-40B4-BE49-F238E27FC236}">
                <a16:creationId xmlns:a16="http://schemas.microsoft.com/office/drawing/2014/main" id="{0892B547-7E88-45AF-94FF-941FC9FBE722}"/>
              </a:ext>
            </a:extLst>
          </p:cNvPr>
          <p:cNvSpPr/>
          <p:nvPr userDrawn="1">
            <p:custDataLst>
              <p:tags r:id="rId20"/>
            </p:custDataLst>
          </p:nvPr>
        </p:nvSpPr>
        <p:spPr>
          <a:xfrm>
            <a:off x="7230600"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5" name="Rectangle 24" hidden="1">
            <a:extLst>
              <a:ext uri="{FF2B5EF4-FFF2-40B4-BE49-F238E27FC236}">
                <a16:creationId xmlns:a16="http://schemas.microsoft.com/office/drawing/2014/main" id="{9F45B906-7707-4087-94DA-544D073FE4B4}"/>
              </a:ext>
            </a:extLst>
          </p:cNvPr>
          <p:cNvSpPr/>
          <p:nvPr userDrawn="1">
            <p:custDataLst>
              <p:tags r:id="rId21"/>
            </p:custDataLst>
          </p:nvPr>
        </p:nvSpPr>
        <p:spPr>
          <a:xfrm>
            <a:off x="7826400"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6" name="Rectangle 25" hidden="1">
            <a:extLst>
              <a:ext uri="{FF2B5EF4-FFF2-40B4-BE49-F238E27FC236}">
                <a16:creationId xmlns:a16="http://schemas.microsoft.com/office/drawing/2014/main" id="{187107F5-603C-4B56-8CCC-AE7D1D5487F0}"/>
              </a:ext>
            </a:extLst>
          </p:cNvPr>
          <p:cNvSpPr/>
          <p:nvPr userDrawn="1">
            <p:custDataLst>
              <p:tags r:id="rId22"/>
            </p:custDataLst>
          </p:nvPr>
        </p:nvSpPr>
        <p:spPr>
          <a:xfrm>
            <a:off x="8186171"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7" name="Rectangle 26" hidden="1">
            <a:extLst>
              <a:ext uri="{FF2B5EF4-FFF2-40B4-BE49-F238E27FC236}">
                <a16:creationId xmlns:a16="http://schemas.microsoft.com/office/drawing/2014/main" id="{6DAD9D0A-FB77-4B67-A2E9-4BF7D1BA9BE9}"/>
              </a:ext>
            </a:extLst>
          </p:cNvPr>
          <p:cNvSpPr/>
          <p:nvPr userDrawn="1">
            <p:custDataLst>
              <p:tags r:id="rId23"/>
            </p:custDataLst>
          </p:nvPr>
        </p:nvSpPr>
        <p:spPr>
          <a:xfrm>
            <a:off x="8781971"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8" name="Rectangle 27" hidden="1">
            <a:extLst>
              <a:ext uri="{FF2B5EF4-FFF2-40B4-BE49-F238E27FC236}">
                <a16:creationId xmlns:a16="http://schemas.microsoft.com/office/drawing/2014/main" id="{1BC17295-DC59-44A6-B4B2-4E050D7A788B}"/>
              </a:ext>
            </a:extLst>
          </p:cNvPr>
          <p:cNvSpPr/>
          <p:nvPr userDrawn="1">
            <p:custDataLst>
              <p:tags r:id="rId24"/>
            </p:custDataLst>
          </p:nvPr>
        </p:nvSpPr>
        <p:spPr>
          <a:xfrm>
            <a:off x="9141742"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29" name="Rectangle 28" hidden="1">
            <a:extLst>
              <a:ext uri="{FF2B5EF4-FFF2-40B4-BE49-F238E27FC236}">
                <a16:creationId xmlns:a16="http://schemas.microsoft.com/office/drawing/2014/main" id="{1BA74B38-C53F-4A17-AE1B-FA8CCFD7931E}"/>
              </a:ext>
            </a:extLst>
          </p:cNvPr>
          <p:cNvSpPr/>
          <p:nvPr userDrawn="1">
            <p:custDataLst>
              <p:tags r:id="rId25"/>
            </p:custDataLst>
          </p:nvPr>
        </p:nvSpPr>
        <p:spPr>
          <a:xfrm>
            <a:off x="9737542"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0" name="Rectangle 29" hidden="1">
            <a:extLst>
              <a:ext uri="{FF2B5EF4-FFF2-40B4-BE49-F238E27FC236}">
                <a16:creationId xmlns:a16="http://schemas.microsoft.com/office/drawing/2014/main" id="{A137F3A0-E69C-4D7E-B14E-5DBC900C2B9F}"/>
              </a:ext>
            </a:extLst>
          </p:cNvPr>
          <p:cNvSpPr/>
          <p:nvPr userDrawn="1">
            <p:custDataLst>
              <p:tags r:id="rId26"/>
            </p:custDataLst>
          </p:nvPr>
        </p:nvSpPr>
        <p:spPr>
          <a:xfrm>
            <a:off x="10097313"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1" name="Rectangle 30" hidden="1">
            <a:extLst>
              <a:ext uri="{FF2B5EF4-FFF2-40B4-BE49-F238E27FC236}">
                <a16:creationId xmlns:a16="http://schemas.microsoft.com/office/drawing/2014/main" id="{8AAC89CF-02FA-4732-9AEE-C4E786000957}"/>
              </a:ext>
            </a:extLst>
          </p:cNvPr>
          <p:cNvSpPr/>
          <p:nvPr userDrawn="1">
            <p:custDataLst>
              <p:tags r:id="rId27"/>
            </p:custDataLst>
          </p:nvPr>
        </p:nvSpPr>
        <p:spPr>
          <a:xfrm>
            <a:off x="10693113" y="648000"/>
            <a:ext cx="3600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32" name="Rectangle 31" hidden="1">
            <a:extLst>
              <a:ext uri="{FF2B5EF4-FFF2-40B4-BE49-F238E27FC236}">
                <a16:creationId xmlns:a16="http://schemas.microsoft.com/office/drawing/2014/main" id="{3DBF91E9-D4B5-4392-857C-F2D5AB8DA206}"/>
              </a:ext>
            </a:extLst>
          </p:cNvPr>
          <p:cNvSpPr/>
          <p:nvPr userDrawn="1">
            <p:custDataLst>
              <p:tags r:id="rId28"/>
            </p:custDataLst>
          </p:nvPr>
        </p:nvSpPr>
        <p:spPr>
          <a:xfrm>
            <a:off x="11052884" y="648000"/>
            <a:ext cx="595800" cy="5454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da-DK" sz="2000" noProof="0" err="1"/>
          </a:p>
        </p:txBody>
      </p:sp>
      <p:sp>
        <p:nvSpPr>
          <p:cNvPr id="4" name="Krone">
            <a:extLst>
              <a:ext uri="{FF2B5EF4-FFF2-40B4-BE49-F238E27FC236}">
                <a16:creationId xmlns:a16="http://schemas.microsoft.com/office/drawing/2014/main" id="{D7C840AD-B7C6-4413-89CC-A1273C1AE4FE}"/>
              </a:ext>
            </a:extLst>
          </p:cNvPr>
          <p:cNvSpPr/>
          <p:nvPr userDrawn="1">
            <p:custDataLst>
              <p:tags r:id="rId29"/>
            </p:custDataLst>
          </p:nvPr>
        </p:nvSpPr>
        <p:spPr bwMode="auto">
          <a:xfrm>
            <a:off x="540000" y="6315942"/>
            <a:ext cx="252931" cy="235671"/>
          </a:xfrm>
          <a:custGeom>
            <a:avLst/>
            <a:gdLst>
              <a:gd name="connsiteX0" fmla="*/ 200917 w 1439454"/>
              <a:gd name="connsiteY0" fmla="*/ 1267112 h 1341228"/>
              <a:gd name="connsiteX1" fmla="*/ 1238538 w 1439454"/>
              <a:gd name="connsiteY1" fmla="*/ 1267112 h 1341228"/>
              <a:gd name="connsiteX2" fmla="*/ 1238538 w 1439454"/>
              <a:gd name="connsiteY2" fmla="*/ 1341228 h 1341228"/>
              <a:gd name="connsiteX3" fmla="*/ 200917 w 1439454"/>
              <a:gd name="connsiteY3" fmla="*/ 1341228 h 1341228"/>
              <a:gd name="connsiteX4" fmla="*/ 200917 w 1439454"/>
              <a:gd name="connsiteY4" fmla="*/ 1131382 h 1341228"/>
              <a:gd name="connsiteX5" fmla="*/ 1238538 w 1439454"/>
              <a:gd name="connsiteY5" fmla="*/ 1131382 h 1341228"/>
              <a:gd name="connsiteX6" fmla="*/ 1238538 w 1439454"/>
              <a:gd name="connsiteY6" fmla="*/ 1205498 h 1341228"/>
              <a:gd name="connsiteX7" fmla="*/ 200917 w 1439454"/>
              <a:gd name="connsiteY7" fmla="*/ 1205498 h 1341228"/>
              <a:gd name="connsiteX8" fmla="*/ 1265948 w 1439454"/>
              <a:gd name="connsiteY8" fmla="*/ 512560 h 1341228"/>
              <a:gd name="connsiteX9" fmla="*/ 1439454 w 1439454"/>
              <a:gd name="connsiteY9" fmla="*/ 688304 h 1341228"/>
              <a:gd name="connsiteX10" fmla="*/ 1342121 w 1439454"/>
              <a:gd name="connsiteY10" fmla="*/ 864049 h 1341228"/>
              <a:gd name="connsiteX11" fmla="*/ 1238441 w 1439454"/>
              <a:gd name="connsiteY11" fmla="*/ 1071554 h 1341228"/>
              <a:gd name="connsiteX12" fmla="*/ 1162267 w 1439454"/>
              <a:gd name="connsiteY12" fmla="*/ 1071554 h 1341228"/>
              <a:gd name="connsiteX13" fmla="*/ 1168615 w 1439454"/>
              <a:gd name="connsiteY13" fmla="*/ 927571 h 1341228"/>
              <a:gd name="connsiteX14" fmla="*/ 1295571 w 1439454"/>
              <a:gd name="connsiteY14" fmla="*/ 796292 h 1341228"/>
              <a:gd name="connsiteX15" fmla="*/ 1361165 w 1439454"/>
              <a:gd name="connsiteY15" fmla="*/ 688304 h 1341228"/>
              <a:gd name="connsiteX16" fmla="*/ 1268064 w 1439454"/>
              <a:gd name="connsiteY16" fmla="*/ 590904 h 1341228"/>
              <a:gd name="connsiteX17" fmla="*/ 1227861 w 1439454"/>
              <a:gd name="connsiteY17" fmla="*/ 595139 h 1341228"/>
              <a:gd name="connsiteX18" fmla="*/ 1196122 w 1439454"/>
              <a:gd name="connsiteY18" fmla="*/ 525264 h 1341228"/>
              <a:gd name="connsiteX19" fmla="*/ 1265948 w 1439454"/>
              <a:gd name="connsiteY19" fmla="*/ 512560 h 1341228"/>
              <a:gd name="connsiteX20" fmla="*/ 173506 w 1439454"/>
              <a:gd name="connsiteY20" fmla="*/ 512560 h 1341228"/>
              <a:gd name="connsiteX21" fmla="*/ 245448 w 1439454"/>
              <a:gd name="connsiteY21" fmla="*/ 525264 h 1341228"/>
              <a:gd name="connsiteX22" fmla="*/ 211593 w 1439454"/>
              <a:gd name="connsiteY22" fmla="*/ 595139 h 1341228"/>
              <a:gd name="connsiteX23" fmla="*/ 173506 w 1439454"/>
              <a:gd name="connsiteY23" fmla="*/ 590904 h 1341228"/>
              <a:gd name="connsiteX24" fmla="*/ 78289 w 1439454"/>
              <a:gd name="connsiteY24" fmla="*/ 688304 h 1341228"/>
              <a:gd name="connsiteX25" fmla="*/ 143883 w 1439454"/>
              <a:gd name="connsiteY25" fmla="*/ 796292 h 1341228"/>
              <a:gd name="connsiteX26" fmla="*/ 270839 w 1439454"/>
              <a:gd name="connsiteY26" fmla="*/ 927571 h 1341228"/>
              <a:gd name="connsiteX27" fmla="*/ 277186 w 1439454"/>
              <a:gd name="connsiteY27" fmla="*/ 1071554 h 1341228"/>
              <a:gd name="connsiteX28" fmla="*/ 201013 w 1439454"/>
              <a:gd name="connsiteY28" fmla="*/ 1071554 h 1341228"/>
              <a:gd name="connsiteX29" fmla="*/ 99449 w 1439454"/>
              <a:gd name="connsiteY29" fmla="*/ 864049 h 1341228"/>
              <a:gd name="connsiteX30" fmla="*/ 0 w 1439454"/>
              <a:gd name="connsiteY30" fmla="*/ 688304 h 1341228"/>
              <a:gd name="connsiteX31" fmla="*/ 173506 w 1439454"/>
              <a:gd name="connsiteY31" fmla="*/ 512560 h 1341228"/>
              <a:gd name="connsiteX32" fmla="*/ 679116 w 1439454"/>
              <a:gd name="connsiteY32" fmla="*/ 478627 h 1341228"/>
              <a:gd name="connsiteX33" fmla="*/ 759996 w 1439454"/>
              <a:gd name="connsiteY33" fmla="*/ 478627 h 1341228"/>
              <a:gd name="connsiteX34" fmla="*/ 759996 w 1439454"/>
              <a:gd name="connsiteY34" fmla="*/ 701225 h 1341228"/>
              <a:gd name="connsiteX35" fmla="*/ 798308 w 1439454"/>
              <a:gd name="connsiteY35" fmla="*/ 923823 h 1341228"/>
              <a:gd name="connsiteX36" fmla="*/ 759996 w 1439454"/>
              <a:gd name="connsiteY36" fmla="*/ 1067982 h 1341228"/>
              <a:gd name="connsiteX37" fmla="*/ 679116 w 1439454"/>
              <a:gd name="connsiteY37" fmla="*/ 1067982 h 1341228"/>
              <a:gd name="connsiteX38" fmla="*/ 642933 w 1439454"/>
              <a:gd name="connsiteY38" fmla="*/ 923823 h 1341228"/>
              <a:gd name="connsiteX39" fmla="*/ 679116 w 1439454"/>
              <a:gd name="connsiteY39" fmla="*/ 701225 h 1341228"/>
              <a:gd name="connsiteX40" fmla="*/ 679116 w 1439454"/>
              <a:gd name="connsiteY40" fmla="*/ 478627 h 1341228"/>
              <a:gd name="connsiteX41" fmla="*/ 1001102 w 1439454"/>
              <a:gd name="connsiteY41" fmla="*/ 474163 h 1341228"/>
              <a:gd name="connsiteX42" fmla="*/ 1130079 w 1439454"/>
              <a:gd name="connsiteY42" fmla="*/ 527123 h 1341228"/>
              <a:gd name="connsiteX43" fmla="*/ 1178709 w 1439454"/>
              <a:gd name="connsiteY43" fmla="*/ 647873 h 1341228"/>
              <a:gd name="connsiteX44" fmla="*/ 1108935 w 1439454"/>
              <a:gd name="connsiteY44" fmla="*/ 806753 h 1341228"/>
              <a:gd name="connsiteX45" fmla="*/ 1020131 w 1439454"/>
              <a:gd name="connsiteY45" fmla="*/ 1071554 h 1341228"/>
              <a:gd name="connsiteX46" fmla="*/ 937671 w 1439454"/>
              <a:gd name="connsiteY46" fmla="*/ 1071554 h 1341228"/>
              <a:gd name="connsiteX47" fmla="*/ 922870 w 1439454"/>
              <a:gd name="connsiteY47" fmla="*/ 908437 h 1341228"/>
              <a:gd name="connsiteX48" fmla="*/ 1047618 w 1439454"/>
              <a:gd name="connsiteY48" fmla="*/ 758030 h 1341228"/>
              <a:gd name="connsiteX49" fmla="*/ 1100477 w 1439454"/>
              <a:gd name="connsiteY49" fmla="*/ 645754 h 1341228"/>
              <a:gd name="connsiteX50" fmla="*/ 1001102 w 1439454"/>
              <a:gd name="connsiteY50" fmla="*/ 550426 h 1341228"/>
              <a:gd name="connsiteX51" fmla="*/ 810809 w 1439454"/>
              <a:gd name="connsiteY51" fmla="*/ 613978 h 1341228"/>
              <a:gd name="connsiteX52" fmla="*/ 810809 w 1439454"/>
              <a:gd name="connsiteY52" fmla="*/ 537715 h 1341228"/>
              <a:gd name="connsiteX53" fmla="*/ 1001102 w 1439454"/>
              <a:gd name="connsiteY53" fmla="*/ 474163 h 1341228"/>
              <a:gd name="connsiteX54" fmla="*/ 440297 w 1439454"/>
              <a:gd name="connsiteY54" fmla="*/ 474163 h 1341228"/>
              <a:gd name="connsiteX55" fmla="*/ 628645 w 1439454"/>
              <a:gd name="connsiteY55" fmla="*/ 537715 h 1341228"/>
              <a:gd name="connsiteX56" fmla="*/ 628645 w 1439454"/>
              <a:gd name="connsiteY56" fmla="*/ 613978 h 1341228"/>
              <a:gd name="connsiteX57" fmla="*/ 440297 w 1439454"/>
              <a:gd name="connsiteY57" fmla="*/ 550426 h 1341228"/>
              <a:gd name="connsiteX58" fmla="*/ 340833 w 1439454"/>
              <a:gd name="connsiteY58" fmla="*/ 645754 h 1341228"/>
              <a:gd name="connsiteX59" fmla="*/ 393739 w 1439454"/>
              <a:gd name="connsiteY59" fmla="*/ 758030 h 1341228"/>
              <a:gd name="connsiteX60" fmla="*/ 518599 w 1439454"/>
              <a:gd name="connsiteY60" fmla="*/ 908437 h 1341228"/>
              <a:gd name="connsiteX61" fmla="*/ 501669 w 1439454"/>
              <a:gd name="connsiteY61" fmla="*/ 1071554 h 1341228"/>
              <a:gd name="connsiteX62" fmla="*/ 421251 w 1439454"/>
              <a:gd name="connsiteY62" fmla="*/ 1071554 h 1341228"/>
              <a:gd name="connsiteX63" fmla="*/ 330252 w 1439454"/>
              <a:gd name="connsiteY63" fmla="*/ 806753 h 1341228"/>
              <a:gd name="connsiteX64" fmla="*/ 262531 w 1439454"/>
              <a:gd name="connsiteY64" fmla="*/ 647873 h 1341228"/>
              <a:gd name="connsiteX65" fmla="*/ 311205 w 1439454"/>
              <a:gd name="connsiteY65" fmla="*/ 527123 h 1341228"/>
              <a:gd name="connsiteX66" fmla="*/ 440297 w 1439454"/>
              <a:gd name="connsiteY66" fmla="*/ 474163 h 1341228"/>
              <a:gd name="connsiteX67" fmla="*/ 719560 w 1439454"/>
              <a:gd name="connsiteY67" fmla="*/ 288279 h 1341228"/>
              <a:gd name="connsiteX68" fmla="*/ 679285 w 1439454"/>
              <a:gd name="connsiteY68" fmla="*/ 330673 h 1341228"/>
              <a:gd name="connsiteX69" fmla="*/ 719560 w 1439454"/>
              <a:gd name="connsiteY69" fmla="*/ 370947 h 1341228"/>
              <a:gd name="connsiteX70" fmla="*/ 761955 w 1439454"/>
              <a:gd name="connsiteY70" fmla="*/ 330673 h 1341228"/>
              <a:gd name="connsiteX71" fmla="*/ 719560 w 1439454"/>
              <a:gd name="connsiteY71" fmla="*/ 288279 h 1341228"/>
              <a:gd name="connsiteX72" fmla="*/ 685644 w 1439454"/>
              <a:gd name="connsiteY72" fmla="*/ 0 h 1341228"/>
              <a:gd name="connsiteX73" fmla="*/ 755596 w 1439454"/>
              <a:gd name="connsiteY73" fmla="*/ 0 h 1341228"/>
              <a:gd name="connsiteX74" fmla="*/ 755596 w 1439454"/>
              <a:gd name="connsiteY74" fmla="*/ 80549 h 1341228"/>
              <a:gd name="connsiteX75" fmla="*/ 834026 w 1439454"/>
              <a:gd name="connsiteY75" fmla="*/ 80549 h 1341228"/>
              <a:gd name="connsiteX76" fmla="*/ 834026 w 1439454"/>
              <a:gd name="connsiteY76" fmla="*/ 150499 h 1341228"/>
              <a:gd name="connsiteX77" fmla="*/ 755596 w 1439454"/>
              <a:gd name="connsiteY77" fmla="*/ 150499 h 1341228"/>
              <a:gd name="connsiteX78" fmla="*/ 755596 w 1439454"/>
              <a:gd name="connsiteY78" fmla="*/ 228928 h 1341228"/>
              <a:gd name="connsiteX79" fmla="*/ 827667 w 1439454"/>
              <a:gd name="connsiteY79" fmla="*/ 330673 h 1341228"/>
              <a:gd name="connsiteX80" fmla="*/ 719560 w 1439454"/>
              <a:gd name="connsiteY80" fmla="*/ 436658 h 1341228"/>
              <a:gd name="connsiteX81" fmla="*/ 613573 w 1439454"/>
              <a:gd name="connsiteY81" fmla="*/ 330673 h 1341228"/>
              <a:gd name="connsiteX82" fmla="*/ 685644 w 1439454"/>
              <a:gd name="connsiteY82" fmla="*/ 228928 h 1341228"/>
              <a:gd name="connsiteX83" fmla="*/ 685644 w 1439454"/>
              <a:gd name="connsiteY83" fmla="*/ 150499 h 1341228"/>
              <a:gd name="connsiteX84" fmla="*/ 607214 w 1439454"/>
              <a:gd name="connsiteY84" fmla="*/ 150499 h 1341228"/>
              <a:gd name="connsiteX85" fmla="*/ 607214 w 1439454"/>
              <a:gd name="connsiteY85" fmla="*/ 80549 h 1341228"/>
              <a:gd name="connsiteX86" fmla="*/ 685644 w 1439454"/>
              <a:gd name="connsiteY86" fmla="*/ 80549 h 1341228"/>
              <a:gd name="connsiteX87" fmla="*/ 685644 w 1439454"/>
              <a:gd name="connsiteY87" fmla="*/ 0 h 134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439454" h="1341228">
                <a:moveTo>
                  <a:pt x="200917" y="1267112"/>
                </a:moveTo>
                <a:lnTo>
                  <a:pt x="1238538" y="1267112"/>
                </a:lnTo>
                <a:lnTo>
                  <a:pt x="1238538" y="1341228"/>
                </a:lnTo>
                <a:lnTo>
                  <a:pt x="200917" y="1341228"/>
                </a:lnTo>
                <a:close/>
                <a:moveTo>
                  <a:pt x="200917" y="1131382"/>
                </a:moveTo>
                <a:lnTo>
                  <a:pt x="1238538" y="1131382"/>
                </a:lnTo>
                <a:lnTo>
                  <a:pt x="1238538" y="1205498"/>
                </a:lnTo>
                <a:lnTo>
                  <a:pt x="200917" y="1205498"/>
                </a:lnTo>
                <a:close/>
                <a:moveTo>
                  <a:pt x="1265948" y="512560"/>
                </a:moveTo>
                <a:cubicBezTo>
                  <a:pt x="1337889" y="514677"/>
                  <a:pt x="1439454" y="563378"/>
                  <a:pt x="1439454" y="688304"/>
                </a:cubicBezTo>
                <a:cubicBezTo>
                  <a:pt x="1439454" y="768766"/>
                  <a:pt x="1388672" y="817466"/>
                  <a:pt x="1342121" y="864049"/>
                </a:cubicBezTo>
                <a:cubicBezTo>
                  <a:pt x="1289223" y="916984"/>
                  <a:pt x="1246905" y="967801"/>
                  <a:pt x="1238441" y="1071554"/>
                </a:cubicBezTo>
                <a:cubicBezTo>
                  <a:pt x="1238441" y="1071554"/>
                  <a:pt x="1238441" y="1071554"/>
                  <a:pt x="1162267" y="1071554"/>
                </a:cubicBezTo>
                <a:cubicBezTo>
                  <a:pt x="1160152" y="1035558"/>
                  <a:pt x="1147456" y="967801"/>
                  <a:pt x="1168615" y="927571"/>
                </a:cubicBezTo>
                <a:cubicBezTo>
                  <a:pt x="1191890" y="885223"/>
                  <a:pt x="1246905" y="844992"/>
                  <a:pt x="1295571" y="796292"/>
                </a:cubicBezTo>
                <a:cubicBezTo>
                  <a:pt x="1316730" y="777235"/>
                  <a:pt x="1361165" y="745474"/>
                  <a:pt x="1361165" y="688304"/>
                </a:cubicBezTo>
                <a:cubicBezTo>
                  <a:pt x="1361165" y="612078"/>
                  <a:pt x="1306151" y="593021"/>
                  <a:pt x="1268064" y="590904"/>
                </a:cubicBezTo>
                <a:cubicBezTo>
                  <a:pt x="1255368" y="590904"/>
                  <a:pt x="1240557" y="593021"/>
                  <a:pt x="1227861" y="595139"/>
                </a:cubicBezTo>
                <a:cubicBezTo>
                  <a:pt x="1221513" y="571847"/>
                  <a:pt x="1210934" y="546438"/>
                  <a:pt x="1196122" y="525264"/>
                </a:cubicBezTo>
                <a:cubicBezTo>
                  <a:pt x="1217282" y="516795"/>
                  <a:pt x="1242673" y="512560"/>
                  <a:pt x="1265948" y="512560"/>
                </a:cubicBezTo>
                <a:close/>
                <a:moveTo>
                  <a:pt x="173506" y="512560"/>
                </a:moveTo>
                <a:cubicBezTo>
                  <a:pt x="196781" y="512560"/>
                  <a:pt x="222172" y="516795"/>
                  <a:pt x="245448" y="525264"/>
                </a:cubicBezTo>
                <a:cubicBezTo>
                  <a:pt x="228520" y="546438"/>
                  <a:pt x="217941" y="571847"/>
                  <a:pt x="211593" y="595139"/>
                </a:cubicBezTo>
                <a:cubicBezTo>
                  <a:pt x="198897" y="593021"/>
                  <a:pt x="186202" y="590904"/>
                  <a:pt x="173506" y="590904"/>
                </a:cubicBezTo>
                <a:cubicBezTo>
                  <a:pt x="135419" y="593021"/>
                  <a:pt x="78289" y="612078"/>
                  <a:pt x="78289" y="688304"/>
                </a:cubicBezTo>
                <a:cubicBezTo>
                  <a:pt x="78289" y="745474"/>
                  <a:pt x="124840" y="777235"/>
                  <a:pt x="143883" y="796292"/>
                </a:cubicBezTo>
                <a:cubicBezTo>
                  <a:pt x="194665" y="844992"/>
                  <a:pt x="247564" y="885223"/>
                  <a:pt x="270839" y="927571"/>
                </a:cubicBezTo>
                <a:cubicBezTo>
                  <a:pt x="291998" y="967801"/>
                  <a:pt x="279302" y="1035558"/>
                  <a:pt x="277186" y="1071554"/>
                </a:cubicBezTo>
                <a:cubicBezTo>
                  <a:pt x="277186" y="1071554"/>
                  <a:pt x="277186" y="1071554"/>
                  <a:pt x="201013" y="1071554"/>
                </a:cubicBezTo>
                <a:cubicBezTo>
                  <a:pt x="194665" y="967801"/>
                  <a:pt x="152347" y="916984"/>
                  <a:pt x="99449" y="864049"/>
                </a:cubicBezTo>
                <a:cubicBezTo>
                  <a:pt x="50782" y="817466"/>
                  <a:pt x="0" y="768766"/>
                  <a:pt x="0" y="688304"/>
                </a:cubicBezTo>
                <a:cubicBezTo>
                  <a:pt x="0" y="563378"/>
                  <a:pt x="101565" y="514677"/>
                  <a:pt x="173506" y="512560"/>
                </a:cubicBezTo>
                <a:close/>
                <a:moveTo>
                  <a:pt x="679116" y="478627"/>
                </a:moveTo>
                <a:lnTo>
                  <a:pt x="759996" y="478627"/>
                </a:lnTo>
                <a:cubicBezTo>
                  <a:pt x="759996" y="478627"/>
                  <a:pt x="759996" y="478627"/>
                  <a:pt x="759996" y="701225"/>
                </a:cubicBezTo>
                <a:cubicBezTo>
                  <a:pt x="759996" y="843264"/>
                  <a:pt x="798308" y="877184"/>
                  <a:pt x="798308" y="923823"/>
                </a:cubicBezTo>
                <a:cubicBezTo>
                  <a:pt x="798308" y="983183"/>
                  <a:pt x="772767" y="1004383"/>
                  <a:pt x="759996" y="1067982"/>
                </a:cubicBezTo>
                <a:cubicBezTo>
                  <a:pt x="759996" y="1067982"/>
                  <a:pt x="759996" y="1067982"/>
                  <a:pt x="679116" y="1067982"/>
                </a:cubicBezTo>
                <a:cubicBezTo>
                  <a:pt x="666346" y="1004383"/>
                  <a:pt x="642933" y="983183"/>
                  <a:pt x="642933" y="923823"/>
                </a:cubicBezTo>
                <a:cubicBezTo>
                  <a:pt x="642933" y="877184"/>
                  <a:pt x="679116" y="843264"/>
                  <a:pt x="679116" y="701225"/>
                </a:cubicBezTo>
                <a:cubicBezTo>
                  <a:pt x="679116" y="701225"/>
                  <a:pt x="679116" y="701225"/>
                  <a:pt x="679116" y="478627"/>
                </a:cubicBezTo>
                <a:close/>
                <a:moveTo>
                  <a:pt x="1001102" y="474163"/>
                </a:moveTo>
                <a:cubicBezTo>
                  <a:pt x="1051847" y="474163"/>
                  <a:pt x="1096249" y="493229"/>
                  <a:pt x="1130079" y="527123"/>
                </a:cubicBezTo>
                <a:cubicBezTo>
                  <a:pt x="1159680" y="558899"/>
                  <a:pt x="1178709" y="601268"/>
                  <a:pt x="1178709" y="647873"/>
                </a:cubicBezTo>
                <a:cubicBezTo>
                  <a:pt x="1178709" y="719898"/>
                  <a:pt x="1142765" y="764385"/>
                  <a:pt x="1108935" y="806753"/>
                </a:cubicBezTo>
                <a:cubicBezTo>
                  <a:pt x="1066648" y="859713"/>
                  <a:pt x="1018017" y="925384"/>
                  <a:pt x="1020131" y="1071554"/>
                </a:cubicBezTo>
                <a:cubicBezTo>
                  <a:pt x="1020131" y="1071554"/>
                  <a:pt x="1020131" y="1071554"/>
                  <a:pt x="937671" y="1071554"/>
                </a:cubicBezTo>
                <a:cubicBezTo>
                  <a:pt x="931328" y="1010120"/>
                  <a:pt x="908070" y="955042"/>
                  <a:pt x="922870" y="908437"/>
                </a:cubicBezTo>
                <a:cubicBezTo>
                  <a:pt x="939785" y="857595"/>
                  <a:pt x="1007445" y="802516"/>
                  <a:pt x="1047618" y="758030"/>
                </a:cubicBezTo>
                <a:cubicBezTo>
                  <a:pt x="1079334" y="722017"/>
                  <a:pt x="1100477" y="690241"/>
                  <a:pt x="1100477" y="645754"/>
                </a:cubicBezTo>
                <a:cubicBezTo>
                  <a:pt x="1100477" y="594912"/>
                  <a:pt x="1060304" y="550426"/>
                  <a:pt x="1001102" y="550426"/>
                </a:cubicBezTo>
                <a:cubicBezTo>
                  <a:pt x="933442" y="550426"/>
                  <a:pt x="893269" y="613978"/>
                  <a:pt x="810809" y="613978"/>
                </a:cubicBezTo>
                <a:lnTo>
                  <a:pt x="810809" y="537715"/>
                </a:lnTo>
                <a:cubicBezTo>
                  <a:pt x="859439" y="533478"/>
                  <a:pt x="905956" y="474163"/>
                  <a:pt x="1001102" y="474163"/>
                </a:cubicBezTo>
                <a:close/>
                <a:moveTo>
                  <a:pt x="440297" y="474163"/>
                </a:moveTo>
                <a:cubicBezTo>
                  <a:pt x="533413" y="474163"/>
                  <a:pt x="579971" y="533478"/>
                  <a:pt x="628645" y="537715"/>
                </a:cubicBezTo>
                <a:cubicBezTo>
                  <a:pt x="628645" y="537715"/>
                  <a:pt x="628645" y="537715"/>
                  <a:pt x="628645" y="613978"/>
                </a:cubicBezTo>
                <a:cubicBezTo>
                  <a:pt x="546111" y="613978"/>
                  <a:pt x="508018" y="550426"/>
                  <a:pt x="440297" y="550426"/>
                </a:cubicBezTo>
                <a:cubicBezTo>
                  <a:pt x="378926" y="550426"/>
                  <a:pt x="340833" y="594912"/>
                  <a:pt x="340833" y="645754"/>
                </a:cubicBezTo>
                <a:cubicBezTo>
                  <a:pt x="340833" y="690241"/>
                  <a:pt x="359879" y="722017"/>
                  <a:pt x="393739" y="758030"/>
                </a:cubicBezTo>
                <a:cubicBezTo>
                  <a:pt x="433949" y="802516"/>
                  <a:pt x="501669" y="857595"/>
                  <a:pt x="518599" y="908437"/>
                </a:cubicBezTo>
                <a:cubicBezTo>
                  <a:pt x="533413" y="955042"/>
                  <a:pt x="510134" y="1010120"/>
                  <a:pt x="501669" y="1071554"/>
                </a:cubicBezTo>
                <a:cubicBezTo>
                  <a:pt x="501669" y="1071554"/>
                  <a:pt x="501669" y="1071554"/>
                  <a:pt x="421251" y="1071554"/>
                </a:cubicBezTo>
                <a:cubicBezTo>
                  <a:pt x="423367" y="925384"/>
                  <a:pt x="374693" y="859713"/>
                  <a:pt x="330252" y="806753"/>
                </a:cubicBezTo>
                <a:cubicBezTo>
                  <a:pt x="296391" y="764385"/>
                  <a:pt x="262531" y="719898"/>
                  <a:pt x="262531" y="647873"/>
                </a:cubicBezTo>
                <a:cubicBezTo>
                  <a:pt x="262531" y="601268"/>
                  <a:pt x="279461" y="558899"/>
                  <a:pt x="311205" y="527123"/>
                </a:cubicBezTo>
                <a:cubicBezTo>
                  <a:pt x="342949" y="493229"/>
                  <a:pt x="389507" y="474163"/>
                  <a:pt x="440297" y="474163"/>
                </a:cubicBezTo>
                <a:close/>
                <a:moveTo>
                  <a:pt x="719560" y="288279"/>
                </a:moveTo>
                <a:cubicBezTo>
                  <a:pt x="698363" y="288279"/>
                  <a:pt x="679285" y="307356"/>
                  <a:pt x="679285" y="330673"/>
                </a:cubicBezTo>
                <a:cubicBezTo>
                  <a:pt x="679285" y="353990"/>
                  <a:pt x="698363" y="370947"/>
                  <a:pt x="719560" y="370947"/>
                </a:cubicBezTo>
                <a:cubicBezTo>
                  <a:pt x="742877" y="370947"/>
                  <a:pt x="761955" y="353990"/>
                  <a:pt x="761955" y="330673"/>
                </a:cubicBezTo>
                <a:cubicBezTo>
                  <a:pt x="761955" y="307356"/>
                  <a:pt x="742877" y="288279"/>
                  <a:pt x="719560" y="288279"/>
                </a:cubicBezTo>
                <a:close/>
                <a:moveTo>
                  <a:pt x="685644" y="0"/>
                </a:moveTo>
                <a:cubicBezTo>
                  <a:pt x="685644" y="0"/>
                  <a:pt x="685644" y="0"/>
                  <a:pt x="755596" y="0"/>
                </a:cubicBezTo>
                <a:cubicBezTo>
                  <a:pt x="755596" y="0"/>
                  <a:pt x="755596" y="0"/>
                  <a:pt x="755596" y="80549"/>
                </a:cubicBezTo>
                <a:cubicBezTo>
                  <a:pt x="755596" y="80549"/>
                  <a:pt x="755596" y="80549"/>
                  <a:pt x="834026" y="80549"/>
                </a:cubicBezTo>
                <a:cubicBezTo>
                  <a:pt x="834026" y="80549"/>
                  <a:pt x="834026" y="80549"/>
                  <a:pt x="834026" y="150499"/>
                </a:cubicBezTo>
                <a:cubicBezTo>
                  <a:pt x="834026" y="150499"/>
                  <a:pt x="834026" y="150499"/>
                  <a:pt x="755596" y="150499"/>
                </a:cubicBezTo>
                <a:cubicBezTo>
                  <a:pt x="755596" y="150499"/>
                  <a:pt x="755596" y="150499"/>
                  <a:pt x="755596" y="228928"/>
                </a:cubicBezTo>
                <a:cubicBezTo>
                  <a:pt x="797990" y="243765"/>
                  <a:pt x="827667" y="284040"/>
                  <a:pt x="827667" y="330673"/>
                </a:cubicBezTo>
                <a:cubicBezTo>
                  <a:pt x="827667" y="390025"/>
                  <a:pt x="778913" y="436658"/>
                  <a:pt x="719560" y="436658"/>
                </a:cubicBezTo>
                <a:cubicBezTo>
                  <a:pt x="660207" y="436658"/>
                  <a:pt x="613573" y="390025"/>
                  <a:pt x="613573" y="330673"/>
                </a:cubicBezTo>
                <a:cubicBezTo>
                  <a:pt x="613573" y="284040"/>
                  <a:pt x="643250" y="243765"/>
                  <a:pt x="685644" y="228928"/>
                </a:cubicBezTo>
                <a:lnTo>
                  <a:pt x="685644" y="150499"/>
                </a:lnTo>
                <a:cubicBezTo>
                  <a:pt x="685644" y="150499"/>
                  <a:pt x="685644" y="150499"/>
                  <a:pt x="607214" y="150499"/>
                </a:cubicBezTo>
                <a:cubicBezTo>
                  <a:pt x="607214" y="150499"/>
                  <a:pt x="607214" y="150499"/>
                  <a:pt x="607214" y="80549"/>
                </a:cubicBezTo>
                <a:cubicBezTo>
                  <a:pt x="607214" y="80549"/>
                  <a:pt x="607214" y="80549"/>
                  <a:pt x="685644" y="80549"/>
                </a:cubicBezTo>
                <a:cubicBezTo>
                  <a:pt x="685644" y="80549"/>
                  <a:pt x="685644" y="80549"/>
                  <a:pt x="685644" y="0"/>
                </a:cubicBezTo>
                <a:close/>
              </a:path>
            </a:pathLst>
          </a:custGeom>
          <a:solidFill>
            <a:srgbClr val="14143C"/>
          </a:solidFill>
          <a:ln>
            <a:noFill/>
          </a:ln>
        </p:spPr>
        <p:txBody>
          <a:bodyPr vert="horz" wrap="square" lIns="91440" tIns="45720" rIns="91440" bIns="45720" numCol="1" anchor="t" anchorCtr="0" compatLnSpc="1">
            <a:prstTxWarp prst="textNoShape">
              <a:avLst/>
            </a:prstTxWarp>
            <a:noAutofit/>
          </a:bodyPr>
          <a:lstStyle/>
          <a:p>
            <a:endParaRPr lang="da-DK"/>
          </a:p>
        </p:txBody>
      </p:sp>
    </p:spTree>
    <p:extLst>
      <p:ext uri="{BB962C8B-B14F-4D97-AF65-F5344CB8AC3E}">
        <p14:creationId xmlns:p14="http://schemas.microsoft.com/office/powerpoint/2010/main" val="3304114031"/>
      </p:ext>
    </p:extLst>
  </p:cSld>
  <p:clrMap bg1="lt1" tx1="dk1" bg2="lt2" tx2="dk2" accent1="accent1" accent2="accent2" accent3="accent3" accent4="accent4" accent5="accent5" accent6="accent6" hlink="hlink" folHlink="folHlink"/>
  <p:sldLayoutIdLst>
    <p:sldLayoutId id="2147483722" r:id="rId1"/>
    <p:sldLayoutId id="2147483688" r:id="rId2"/>
  </p:sldLayoutIdLst>
  <p:hf hdr="0"/>
  <p:txStyles>
    <p:titleStyle>
      <a:lvl1pPr algn="l" defTabSz="914400" rtl="0" eaLnBrk="1" latinLnBrk="0" hangingPunct="1">
        <a:lnSpc>
          <a:spcPct val="93000"/>
        </a:lnSpc>
        <a:spcBef>
          <a:spcPct val="0"/>
        </a:spcBef>
        <a:buNone/>
        <a:defRPr sz="4000" kern="1200">
          <a:solidFill>
            <a:schemeClr val="accent1"/>
          </a:solidFill>
          <a:latin typeface="+mj-lt"/>
          <a:ea typeface="+mj-ea"/>
          <a:cs typeface="+mj-cs"/>
        </a:defRPr>
      </a:lvl1pPr>
    </p:titleStyle>
    <p:bodyStyle>
      <a:lvl1pPr marL="216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1pPr>
      <a:lvl2pPr marL="432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2pPr>
      <a:lvl3pPr marL="648000" indent="-216000" algn="l" defTabSz="914400" rtl="0" eaLnBrk="1" latinLnBrk="0" hangingPunct="1">
        <a:lnSpc>
          <a:spcPct val="110000"/>
        </a:lnSpc>
        <a:spcBef>
          <a:spcPts val="0"/>
        </a:spcBef>
        <a:spcAft>
          <a:spcPts val="0"/>
        </a:spcAft>
        <a:buFont typeface="Academy Sans Office" panose="020B0503030000000000" pitchFamily="34" charset="0"/>
        <a:buChar char="•"/>
        <a:defRPr sz="15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Font typeface="Arial" panose="020B0604020202020204" pitchFamily="34" charset="0"/>
        <a:buChar char="​"/>
        <a:defRPr sz="1500" b="1" kern="1200">
          <a:solidFill>
            <a:schemeClr val="tx1"/>
          </a:solidFill>
          <a:latin typeface="+mn-lt"/>
          <a:ea typeface="+mn-ea"/>
          <a:cs typeface="+mn-cs"/>
        </a:defRPr>
      </a:lvl4pPr>
      <a:lvl5pPr marL="216000" indent="-216000" algn="l" defTabSz="914400" rtl="0" eaLnBrk="1" latinLnBrk="0" hangingPunct="1">
        <a:lnSpc>
          <a:spcPct val="110000"/>
        </a:lnSpc>
        <a:spcBef>
          <a:spcPts val="0"/>
        </a:spcBef>
        <a:spcAft>
          <a:spcPts val="0"/>
        </a:spcAft>
        <a:buFont typeface="Academy Sans Office" panose="020B0503030000000000" pitchFamily="34" charset="0"/>
        <a:buChar char="→"/>
        <a:tabLst/>
        <a:defRPr sz="1500" b="1" kern="1200">
          <a:solidFill>
            <a:schemeClr val="tx1"/>
          </a:solidFill>
          <a:latin typeface="+mn-lt"/>
          <a:ea typeface="+mn-ea"/>
          <a:cs typeface="+mn-cs"/>
        </a:defRPr>
      </a:lvl5pPr>
      <a:lvl6pPr marL="288000" indent="-288000" algn="l" defTabSz="914400" rtl="0" eaLnBrk="1" latinLnBrk="0" hangingPunct="1">
        <a:lnSpc>
          <a:spcPct val="110000"/>
        </a:lnSpc>
        <a:spcBef>
          <a:spcPts val="0"/>
        </a:spcBef>
        <a:spcAft>
          <a:spcPts val="850"/>
        </a:spcAft>
        <a:buFont typeface="Academy Sans Office" panose="020B0503030000000000" pitchFamily="34" charset="0"/>
        <a:buChar char="•"/>
        <a:defRPr sz="1800" kern="1200">
          <a:solidFill>
            <a:schemeClr val="tx1"/>
          </a:solidFill>
          <a:latin typeface="+mn-lt"/>
          <a:ea typeface="+mn-ea"/>
          <a:cs typeface="+mn-cs"/>
        </a:defRPr>
      </a:lvl6pPr>
      <a:lvl7pPr marL="288000" indent="-288000" algn="l" defTabSz="914400" rtl="0" eaLnBrk="1" latinLnBrk="0" hangingPunct="1">
        <a:lnSpc>
          <a:spcPct val="110000"/>
        </a:lnSpc>
        <a:spcBef>
          <a:spcPts val="0"/>
        </a:spcBef>
        <a:spcAft>
          <a:spcPts val="850"/>
        </a:spcAft>
        <a:buFont typeface="Academy Sans Office" panose="020B0503030000000000" pitchFamily="34" charset="0"/>
        <a:buChar char="→"/>
        <a:defRPr sz="1800" b="1" kern="1200" baseline="0">
          <a:solidFill>
            <a:schemeClr val="tx1"/>
          </a:solidFill>
          <a:latin typeface="+mn-lt"/>
          <a:ea typeface="+mn-ea"/>
          <a:cs typeface="+mn-cs"/>
        </a:defRPr>
      </a:lvl7pPr>
      <a:lvl8pPr marL="0" indent="0" algn="l" defTabSz="914400" rtl="0" eaLnBrk="1" latinLnBrk="0" hangingPunct="1">
        <a:lnSpc>
          <a:spcPct val="92000"/>
        </a:lnSpc>
        <a:spcBef>
          <a:spcPts val="0"/>
        </a:spcBef>
        <a:spcAft>
          <a:spcPts val="0"/>
        </a:spcAft>
        <a:buFont typeface="Arial" panose="020B0604020202020204" pitchFamily="34" charset="0"/>
        <a:buChar char="​"/>
        <a:defRPr sz="900" kern="1200">
          <a:solidFill>
            <a:schemeClr val="tx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6200" kern="1200" baseline="0">
          <a:solidFill>
            <a:schemeClr val="tx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48">
          <p15:clr>
            <a:srgbClr val="F26B43"/>
          </p15:clr>
        </p15:guide>
        <p15:guide id="2" pos="3123">
          <p15:clr>
            <a:srgbClr val="F26B43"/>
          </p15:clr>
        </p15:guide>
        <p15:guide id="3" orient="horz" pos="408">
          <p15:clr>
            <a:srgbClr val="F26B43"/>
          </p15:clr>
        </p15:guide>
        <p15:guide id="4" orient="horz" pos="3843">
          <p15:clr>
            <a:srgbClr val="F26B43"/>
          </p15:clr>
        </p15:guide>
        <p15:guide id="5" pos="6360">
          <p15:clr>
            <a:srgbClr val="F26B43"/>
          </p15:clr>
        </p15:guide>
        <p15:guide id="6" pos="6735">
          <p15:clr>
            <a:srgbClr val="F26B43"/>
          </p15:clr>
        </p15:guide>
        <p15:guide id="7" pos="3350">
          <p15:clr>
            <a:srgbClr val="F26B43"/>
          </p15:clr>
        </p15:guide>
        <p15:guide id="8" pos="3725">
          <p15:clr>
            <a:srgbClr val="F26B43"/>
          </p15:clr>
        </p15:guide>
        <p15:guide id="9" pos="2146">
          <p15:clr>
            <a:srgbClr val="F26B43"/>
          </p15:clr>
        </p15:guide>
        <p15:guide id="10" pos="2521">
          <p15:clr>
            <a:srgbClr val="F26B43"/>
          </p15:clr>
        </p15:guide>
        <p15:guide id="11" pos="5156">
          <p15:clr>
            <a:srgbClr val="F26B43"/>
          </p15:clr>
        </p15:guide>
        <p15:guide id="12" pos="5531">
          <p15:clr>
            <a:srgbClr val="F26B43"/>
          </p15:clr>
        </p15:guide>
        <p15:guide id="13" pos="6962">
          <p15:clr>
            <a:srgbClr val="F26B43"/>
          </p15:clr>
        </p15:guide>
        <p15:guide id="14" pos="7337">
          <p15:clr>
            <a:srgbClr val="F26B43"/>
          </p15:clr>
        </p15:guide>
        <p15:guide id="15" pos="4554">
          <p15:clr>
            <a:srgbClr val="F26B43"/>
          </p15:clr>
        </p15:guide>
        <p15:guide id="16" pos="4930">
          <p15:clr>
            <a:srgbClr val="F26B43"/>
          </p15:clr>
        </p15:guide>
        <p15:guide id="17" pos="340">
          <p15:clr>
            <a:srgbClr val="F26B43"/>
          </p15:clr>
        </p15:guide>
        <p15:guide id="18" pos="715">
          <p15:clr>
            <a:srgbClr val="F26B43"/>
          </p15:clr>
        </p15:guide>
        <p15:guide id="19" pos="3952">
          <p15:clr>
            <a:srgbClr val="F26B43"/>
          </p15:clr>
        </p15:guide>
        <p15:guide id="20" pos="4327">
          <p15:clr>
            <a:srgbClr val="F26B43"/>
          </p15:clr>
        </p15:guide>
        <p15:guide id="21" pos="942">
          <p15:clr>
            <a:srgbClr val="F26B43"/>
          </p15:clr>
        </p15:guide>
        <p15:guide id="22" pos="1317">
          <p15:clr>
            <a:srgbClr val="F26B43"/>
          </p15:clr>
        </p15:guide>
        <p15:guide id="23" pos="5758">
          <p15:clr>
            <a:srgbClr val="F26B43"/>
          </p15:clr>
        </p15:guide>
        <p15:guide id="24" pos="6133">
          <p15:clr>
            <a:srgbClr val="F26B43"/>
          </p15:clr>
        </p15:guide>
        <p15:guide id="25" pos="1544">
          <p15:clr>
            <a:srgbClr val="F26B43"/>
          </p15:clr>
        </p15:guide>
        <p15:guide id="26" pos="1919">
          <p15:clr>
            <a:srgbClr val="F26B43"/>
          </p15:clr>
        </p15:guide>
        <p15:guide id="27" orient="horz" pos="4127">
          <p15:clr>
            <a:srgbClr val="A4A3A4"/>
          </p15:clr>
        </p15:guide>
        <p15:guide id="28" orient="horz" pos="358">
          <p15:clr>
            <a:srgbClr val="A4A3A4"/>
          </p15:clr>
        </p15:guide>
        <p15:guide id="29" orient="horz" pos="133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9E87EF4-ECE7-4792-BA87-E656D4EBA653}"/>
              </a:ext>
            </a:extLst>
          </p:cNvPr>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9" name="think-cell Slide" r:id="rId7" imgW="306" imgH="306" progId="TCLayout.ActiveDocument.1">
                  <p:embed/>
                </p:oleObj>
              </mc:Choice>
              <mc:Fallback>
                <p:oleObj name="think-cell Slide" r:id="rId7" imgW="306" imgH="306" progId="TCLayout.ActiveDocument.1">
                  <p:embed/>
                  <p:pic>
                    <p:nvPicPr>
                      <p:cNvPr id="8" name="Objekt 7" hidden="1">
                        <a:extLst>
                          <a:ext uri="{FF2B5EF4-FFF2-40B4-BE49-F238E27FC236}">
                            <a16:creationId xmlns:a16="http://schemas.microsoft.com/office/drawing/2014/main" id="{E9E87EF4-ECE7-4792-BA87-E656D4EBA65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9750" y="591138"/>
            <a:ext cx="11110912" cy="898297"/>
          </a:xfrm>
          <a:prstGeom prst="rect">
            <a:avLst/>
          </a:prstGeom>
        </p:spPr>
        <p:txBody>
          <a:bodyPr vert="horz" lIns="0" tIns="0" rIns="0" bIns="0" rtlCol="0" anchor="t" anchorCtr="0">
            <a:normAutofit/>
          </a:bodyPr>
          <a:lstStyle/>
          <a:p>
            <a:r>
              <a:rPr lang="da-DK"/>
              <a:t>Klik for at redigere titeltypografien i masteren</a:t>
            </a:r>
            <a:endParaRPr lang="en-GB"/>
          </a:p>
        </p:txBody>
      </p:sp>
      <p:sp>
        <p:nvSpPr>
          <p:cNvPr id="3" name="Text Placeholder 2"/>
          <p:cNvSpPr>
            <a:spLocks noGrp="1"/>
          </p:cNvSpPr>
          <p:nvPr>
            <p:ph type="body" idx="1"/>
          </p:nvPr>
        </p:nvSpPr>
        <p:spPr>
          <a:xfrm>
            <a:off x="539749" y="1818000"/>
            <a:ext cx="11110913" cy="4284000"/>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GeneralDate"/>
          <p:cNvSpPr>
            <a:spLocks noGrp="1"/>
          </p:cNvSpPr>
          <p:nvPr>
            <p:ph type="dt" sz="half" idx="2"/>
          </p:nvPr>
        </p:nvSpPr>
        <p:spPr>
          <a:xfrm>
            <a:off x="0" y="6912000"/>
            <a:ext cx="0" cy="0"/>
          </a:xfrm>
          <a:prstGeom prst="rect">
            <a:avLst/>
          </a:prstGeom>
        </p:spPr>
        <p:txBody>
          <a:bodyPr vert="horz" lIns="0" tIns="0" rIns="0" bIns="0" rtlCol="0" anchor="b" anchorCtr="0"/>
          <a:lstStyle>
            <a:lvl1pPr algn="r">
              <a:defRPr sz="100">
                <a:noFill/>
              </a:defRPr>
            </a:lvl1pPr>
          </a:lstStyle>
          <a:p>
            <a:fld id="{08DEBA68-4B7A-4D60-BF5A-BDA7E4DD28BC}" type="datetime2">
              <a:rPr lang="da-DK" smtClean="0"/>
              <a:t>18. januar 2022</a:t>
            </a:fld>
            <a:endParaRPr lang="en-GB"/>
          </a:p>
        </p:txBody>
      </p:sp>
      <p:sp>
        <p:nvSpPr>
          <p:cNvPr id="6" name="Slide Number Placeholder 5"/>
          <p:cNvSpPr>
            <a:spLocks noGrp="1"/>
          </p:cNvSpPr>
          <p:nvPr>
            <p:ph type="sldNum" sz="quarter" idx="4"/>
          </p:nvPr>
        </p:nvSpPr>
        <p:spPr>
          <a:xfrm>
            <a:off x="10099675" y="6414568"/>
            <a:ext cx="1550988" cy="165730"/>
          </a:xfrm>
          <a:prstGeom prst="rect">
            <a:avLst/>
          </a:prstGeom>
        </p:spPr>
        <p:txBody>
          <a:bodyPr vert="horz" lIns="0" tIns="0" rIns="0" bIns="0" rtlCol="0" anchor="b" anchorCtr="0"/>
          <a:lstStyle>
            <a:lvl1pPr algn="r">
              <a:defRPr sz="900">
                <a:solidFill>
                  <a:schemeClr val="tx1"/>
                </a:solidFill>
              </a:defRPr>
            </a:lvl1pPr>
          </a:lstStyle>
          <a:p>
            <a:r>
              <a:rPr lang="en-GB"/>
              <a:t>Side </a:t>
            </a:r>
            <a:fld id="{24C8C45C-947F-4981-8B3F-4F32E973C901}" type="slidenum">
              <a:rPr lang="en-GB" smtClean="0"/>
              <a:pPr/>
              <a:t>‹nr.›</a:t>
            </a:fld>
            <a:endParaRPr lang="en-GB"/>
          </a:p>
        </p:txBody>
      </p:sp>
      <p:sp>
        <p:nvSpPr>
          <p:cNvPr id="38" name="Footer Placeholder 37">
            <a:extLst>
              <a:ext uri="{FF2B5EF4-FFF2-40B4-BE49-F238E27FC236}">
                <a16:creationId xmlns:a16="http://schemas.microsoft.com/office/drawing/2014/main" id="{CCCBD1A7-5775-4601-82CE-D8CF84D9828E}"/>
              </a:ext>
            </a:extLst>
          </p:cNvPr>
          <p:cNvSpPr>
            <a:spLocks noGrp="1"/>
          </p:cNvSpPr>
          <p:nvPr userDrawn="1">
            <p:ph type="ftr" sz="quarter" idx="3"/>
          </p:nvPr>
        </p:nvSpPr>
        <p:spPr>
          <a:xfrm>
            <a:off x="1136000" y="6414568"/>
            <a:ext cx="4779025" cy="165730"/>
          </a:xfrm>
          <a:prstGeom prst="rect">
            <a:avLst/>
          </a:prstGeom>
        </p:spPr>
        <p:txBody>
          <a:bodyPr vert="horz" lIns="0" tIns="0" rIns="0" bIns="0" rtlCol="0" anchor="b" anchorCtr="0"/>
          <a:lstStyle>
            <a:lvl1pPr algn="l">
              <a:defRPr sz="900">
                <a:solidFill>
                  <a:schemeClr val="tx1"/>
                </a:solidFill>
              </a:defRPr>
            </a:lvl1pPr>
          </a:lstStyle>
          <a:p>
            <a:r>
              <a:rPr lang="da-DK"/>
              <a:t>Indsæt præsentationens titel via Sidefod</a:t>
            </a:r>
            <a:endParaRPr lang="en-GB"/>
          </a:p>
        </p:txBody>
      </p:sp>
      <p:pic>
        <p:nvPicPr>
          <p:cNvPr id="40" name="Logo">
            <a:extLst>
              <a:ext uri="{FF2B5EF4-FFF2-40B4-BE49-F238E27FC236}">
                <a16:creationId xmlns:a16="http://schemas.microsoft.com/office/drawing/2014/main" id="{E5FD7ED3-104A-4CCF-B95E-797B0FC68FE3}"/>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39750" y="6311088"/>
            <a:ext cx="252000" cy="243871"/>
          </a:xfrm>
          <a:prstGeom prst="rect">
            <a:avLst/>
          </a:prstGeom>
        </p:spPr>
      </p:pic>
      <p:grpSp>
        <p:nvGrpSpPr>
          <p:cNvPr id="2" name="Grid" hidden="1">
            <a:extLst>
              <a:ext uri="{FF2B5EF4-FFF2-40B4-BE49-F238E27FC236}">
                <a16:creationId xmlns:a16="http://schemas.microsoft.com/office/drawing/2014/main" id="{D9DA0217-DDBA-42D8-BFEA-C711061869DC}"/>
              </a:ext>
            </a:extLst>
          </p:cNvPr>
          <p:cNvGrpSpPr/>
          <p:nvPr userDrawn="1"/>
        </p:nvGrpSpPr>
        <p:grpSpPr>
          <a:xfrm>
            <a:off x="0" y="0"/>
            <a:ext cx="12192000" cy="6858000"/>
            <a:chOff x="0" y="0"/>
            <a:chExt cx="12192000" cy="6858000"/>
          </a:xfrm>
        </p:grpSpPr>
        <p:sp>
          <p:nvSpPr>
            <p:cNvPr id="9" name="Rectangle 8">
              <a:extLst>
                <a:ext uri="{FF2B5EF4-FFF2-40B4-BE49-F238E27FC236}">
                  <a16:creationId xmlns:a16="http://schemas.microsoft.com/office/drawing/2014/main" id="{C1A61A5F-B6DF-45B8-896B-33FF532A5490}"/>
                </a:ext>
              </a:extLst>
            </p:cNvPr>
            <p:cNvSpPr/>
            <p:nvPr userDrawn="1"/>
          </p:nvSpPr>
          <p:spPr>
            <a:xfrm>
              <a:off x="0" y="0"/>
              <a:ext cx="540000" cy="64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Rectangle 9">
              <a:extLst>
                <a:ext uri="{FF2B5EF4-FFF2-40B4-BE49-F238E27FC236}">
                  <a16:creationId xmlns:a16="http://schemas.microsoft.com/office/drawing/2014/main" id="{FE45933D-D26B-4871-9F0D-F4CC697CA5CF}"/>
                </a:ext>
              </a:extLst>
            </p:cNvPr>
            <p:cNvSpPr/>
            <p:nvPr userDrawn="1"/>
          </p:nvSpPr>
          <p:spPr>
            <a:xfrm>
              <a:off x="11652000" y="6102000"/>
              <a:ext cx="54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1" name="Rectangle 10">
              <a:extLst>
                <a:ext uri="{FF2B5EF4-FFF2-40B4-BE49-F238E27FC236}">
                  <a16:creationId xmlns:a16="http://schemas.microsoft.com/office/drawing/2014/main" id="{35F98958-2557-4BE5-95DA-04CE7AEF4586}"/>
                </a:ext>
              </a:extLst>
            </p:cNvPr>
            <p:cNvSpPr/>
            <p:nvPr userDrawn="1"/>
          </p:nvSpPr>
          <p:spPr>
            <a:xfrm flipV="1">
              <a:off x="1136000" y="1115999"/>
              <a:ext cx="360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2" name="Rectangle 11">
              <a:extLst>
                <a:ext uri="{FF2B5EF4-FFF2-40B4-BE49-F238E27FC236}">
                  <a16:creationId xmlns:a16="http://schemas.microsoft.com/office/drawing/2014/main" id="{6DD6A944-E535-4B7C-B906-9F3806682A31}"/>
                </a:ext>
              </a:extLst>
            </p:cNvPr>
            <p:cNvSpPr/>
            <p:nvPr userDrawn="1"/>
          </p:nvSpPr>
          <p:spPr>
            <a:xfrm flipV="1">
              <a:off x="209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a:extLst>
                <a:ext uri="{FF2B5EF4-FFF2-40B4-BE49-F238E27FC236}">
                  <a16:creationId xmlns:a16="http://schemas.microsoft.com/office/drawing/2014/main" id="{ECDAD70B-D79A-4858-851E-7B49F1F95198}"/>
                </a:ext>
              </a:extLst>
            </p:cNvPr>
            <p:cNvSpPr/>
            <p:nvPr userDrawn="1"/>
          </p:nvSpPr>
          <p:spPr>
            <a:xfrm flipV="1">
              <a:off x="304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a:extLst>
                <a:ext uri="{FF2B5EF4-FFF2-40B4-BE49-F238E27FC236}">
                  <a16:creationId xmlns:a16="http://schemas.microsoft.com/office/drawing/2014/main" id="{78B331D0-FEB9-4D2D-8004-762C2E119007}"/>
                </a:ext>
              </a:extLst>
            </p:cNvPr>
            <p:cNvSpPr/>
            <p:nvPr userDrawn="1"/>
          </p:nvSpPr>
          <p:spPr>
            <a:xfrm flipV="1">
              <a:off x="400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a:extLst>
                <a:ext uri="{FF2B5EF4-FFF2-40B4-BE49-F238E27FC236}">
                  <a16:creationId xmlns:a16="http://schemas.microsoft.com/office/drawing/2014/main" id="{1C5949D6-F9B8-4C31-9E7D-D7A8658AEE36}"/>
                </a:ext>
              </a:extLst>
            </p:cNvPr>
            <p:cNvSpPr/>
            <p:nvPr userDrawn="1"/>
          </p:nvSpPr>
          <p:spPr>
            <a:xfrm flipV="1">
              <a:off x="496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a:extLst>
                <a:ext uri="{FF2B5EF4-FFF2-40B4-BE49-F238E27FC236}">
                  <a16:creationId xmlns:a16="http://schemas.microsoft.com/office/drawing/2014/main" id="{B3ED0853-D766-41A3-82DC-907300F2E4F9}"/>
                </a:ext>
              </a:extLst>
            </p:cNvPr>
            <p:cNvSpPr/>
            <p:nvPr userDrawn="1"/>
          </p:nvSpPr>
          <p:spPr>
            <a:xfrm flipV="1">
              <a:off x="591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7" name="Rectangle 16">
              <a:extLst>
                <a:ext uri="{FF2B5EF4-FFF2-40B4-BE49-F238E27FC236}">
                  <a16:creationId xmlns:a16="http://schemas.microsoft.com/office/drawing/2014/main" id="{78906748-FD2B-4C9F-8C47-188489A17A75}"/>
                </a:ext>
              </a:extLst>
            </p:cNvPr>
            <p:cNvSpPr/>
            <p:nvPr userDrawn="1"/>
          </p:nvSpPr>
          <p:spPr>
            <a:xfrm flipV="1">
              <a:off x="6872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Rectangle 17">
              <a:extLst>
                <a:ext uri="{FF2B5EF4-FFF2-40B4-BE49-F238E27FC236}">
                  <a16:creationId xmlns:a16="http://schemas.microsoft.com/office/drawing/2014/main" id="{61753919-057A-46F5-BAE9-8427341C6BF4}"/>
                </a:ext>
              </a:extLst>
            </p:cNvPr>
            <p:cNvSpPr/>
            <p:nvPr userDrawn="1"/>
          </p:nvSpPr>
          <p:spPr>
            <a:xfrm flipV="1">
              <a:off x="7828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9" name="Rectangle 18">
              <a:extLst>
                <a:ext uri="{FF2B5EF4-FFF2-40B4-BE49-F238E27FC236}">
                  <a16:creationId xmlns:a16="http://schemas.microsoft.com/office/drawing/2014/main" id="{47F0372E-1B27-48BB-8296-72A14978DC99}"/>
                </a:ext>
              </a:extLst>
            </p:cNvPr>
            <p:cNvSpPr/>
            <p:nvPr userDrawn="1"/>
          </p:nvSpPr>
          <p:spPr>
            <a:xfrm flipV="1">
              <a:off x="8784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0" name="Rectangle 19">
              <a:extLst>
                <a:ext uri="{FF2B5EF4-FFF2-40B4-BE49-F238E27FC236}">
                  <a16:creationId xmlns:a16="http://schemas.microsoft.com/office/drawing/2014/main" id="{64B14FB1-4F65-449B-8EEC-0D06182E37D0}"/>
                </a:ext>
              </a:extLst>
            </p:cNvPr>
            <p:cNvSpPr/>
            <p:nvPr userDrawn="1"/>
          </p:nvSpPr>
          <p:spPr>
            <a:xfrm flipV="1">
              <a:off x="9740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1" name="Rectangle 20">
              <a:extLst>
                <a:ext uri="{FF2B5EF4-FFF2-40B4-BE49-F238E27FC236}">
                  <a16:creationId xmlns:a16="http://schemas.microsoft.com/office/drawing/2014/main" id="{EC5217D4-9E07-420F-BDEF-B8FC8DD76716}"/>
                </a:ext>
              </a:extLst>
            </p:cNvPr>
            <p:cNvSpPr/>
            <p:nvPr userDrawn="1"/>
          </p:nvSpPr>
          <p:spPr>
            <a:xfrm flipV="1">
              <a:off x="10696000" y="6551612"/>
              <a:ext cx="360000" cy="30638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451239631"/>
      </p:ext>
    </p:extLst>
  </p:cSld>
  <p:clrMap bg1="lt1" tx1="dk1" bg2="lt2" tx2="dk2" accent1="accent1" accent2="accent2" accent3="accent3" accent4="accent4" accent5="accent5" accent6="accent6" hlink="hlink" folHlink="folHlink"/>
  <p:sldLayoutIdLst>
    <p:sldLayoutId id="2147483678" r:id="rId1"/>
    <p:sldLayoutId id="2147483682" r:id="rId2"/>
    <p:sldLayoutId id="2147483665" r:id="rId3"/>
  </p:sldLayoutIdLst>
  <p:hf hdr="0"/>
  <p:txStyles>
    <p:title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p:titleStyle>
    <p:bodyStyle>
      <a:lvl1pPr marL="216000" indent="-21600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1pPr>
      <a:lvl2pPr marL="432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2pPr>
      <a:lvl3pPr marL="648000" indent="-216000" algn="l" defTabSz="914400" rtl="0" eaLnBrk="1" latinLnBrk="0" hangingPunct="1">
        <a:lnSpc>
          <a:spcPct val="111000"/>
        </a:lnSpc>
        <a:spcBef>
          <a:spcPts val="0"/>
        </a:spcBef>
        <a:buFont typeface="Arial" panose="020B0604020202020204" pitchFamily="34" charset="0"/>
        <a:buChar char="•"/>
        <a:defRPr sz="1200" kern="1200" spc="10" baseline="0">
          <a:solidFill>
            <a:schemeClr val="tx1"/>
          </a:solidFill>
          <a:latin typeface="+mn-lt"/>
          <a:ea typeface="+mn-ea"/>
          <a:cs typeface="+mn-cs"/>
        </a:defRPr>
      </a:lvl3pPr>
      <a:lvl4pPr marL="0" indent="0" algn="l" defTabSz="914400" rtl="0" eaLnBrk="1" latinLnBrk="0" hangingPunct="1">
        <a:lnSpc>
          <a:spcPct val="111000"/>
        </a:lnSpc>
        <a:spcBef>
          <a:spcPts val="0"/>
        </a:spcBef>
        <a:buFont typeface="Arial" panose="020B0604020202020204" pitchFamily="34" charset="0"/>
        <a:buChar char="​"/>
        <a:defRPr sz="1500" kern="1200" spc="10" baseline="0">
          <a:solidFill>
            <a:schemeClr val="tx1"/>
          </a:solidFill>
          <a:latin typeface="+mn-lt"/>
          <a:ea typeface="+mn-ea"/>
          <a:cs typeface="+mn-cs"/>
        </a:defRPr>
      </a:lvl4pPr>
      <a:lvl5pPr marL="0" indent="0" algn="l" defTabSz="914400" rtl="0" eaLnBrk="1" latinLnBrk="0" hangingPunct="1">
        <a:lnSpc>
          <a:spcPct val="111000"/>
        </a:lnSpc>
        <a:spcBef>
          <a:spcPts val="0"/>
        </a:spcBef>
        <a:buFont typeface="Arial" panose="020B0604020202020204" pitchFamily="34" charset="0"/>
        <a:buChar char="​"/>
        <a:defRPr sz="1500" b="1" kern="1200" spc="10" baseline="0">
          <a:solidFill>
            <a:schemeClr val="tx1"/>
          </a:solidFill>
          <a:latin typeface="+mn-lt"/>
          <a:ea typeface="+mn-ea"/>
          <a:cs typeface="+mn-cs"/>
        </a:defRPr>
      </a:lvl5pPr>
      <a:lvl6pPr marL="0" indent="0" algn="l" defTabSz="914400" rtl="0" eaLnBrk="1" latinLnBrk="0" hangingPunct="1">
        <a:lnSpc>
          <a:spcPct val="111000"/>
        </a:lnSpc>
        <a:spcBef>
          <a:spcPts val="500"/>
        </a:spcBef>
        <a:buFont typeface="Arial" panose="020B0604020202020204" pitchFamily="34" charset="0"/>
        <a:buChar char="​"/>
        <a:defRPr sz="900" kern="1200" spc="10" baseline="0">
          <a:solidFill>
            <a:schemeClr val="tx1"/>
          </a:solidFill>
          <a:latin typeface="+mn-lt"/>
          <a:ea typeface="+mn-ea"/>
          <a:cs typeface="+mn-cs"/>
        </a:defRPr>
      </a:lvl6pPr>
      <a:lvl7pPr marL="0" indent="0" algn="l" defTabSz="914400" rtl="0" eaLnBrk="1" latinLnBrk="0" hangingPunct="1">
        <a:lnSpc>
          <a:spcPct val="89000"/>
        </a:lnSpc>
        <a:spcBef>
          <a:spcPts val="0"/>
        </a:spcBef>
        <a:buFont typeface="Arial" panose="020B0604020202020204" pitchFamily="34" charset="0"/>
        <a:buChar char="​"/>
        <a:tabLst/>
        <a:defRPr sz="3000" b="1" kern="1200" baseline="0">
          <a:solidFill>
            <a:schemeClr val="tx1"/>
          </a:solidFill>
          <a:latin typeface="+mn-lt"/>
          <a:ea typeface="+mn-ea"/>
          <a:cs typeface="+mn-cs"/>
        </a:defRPr>
      </a:lvl7pPr>
      <a:lvl8pPr marL="0" indent="0" algn="l" defTabSz="914400" rtl="0" eaLnBrk="1" latinLnBrk="0" hangingPunct="1">
        <a:lnSpc>
          <a:spcPct val="86000"/>
        </a:lnSpc>
        <a:spcBef>
          <a:spcPts val="0"/>
        </a:spcBef>
        <a:buFont typeface="Arial" panose="020B0604020202020204" pitchFamily="34" charset="0"/>
        <a:buChar char="​"/>
        <a:tabLst/>
        <a:defRPr sz="5200" b="1" kern="1200">
          <a:solidFill>
            <a:schemeClr val="tx1"/>
          </a:solidFill>
          <a:latin typeface="+mn-lt"/>
          <a:ea typeface="+mn-ea"/>
          <a:cs typeface="+mn-cs"/>
        </a:defRPr>
      </a:lvl8pPr>
      <a:lvl9pPr marL="0" indent="0" algn="l" defTabSz="914400" rtl="0" eaLnBrk="1" latinLnBrk="0" hangingPunct="1">
        <a:lnSpc>
          <a:spcPct val="100000"/>
        </a:lnSpc>
        <a:spcBef>
          <a:spcPts val="0"/>
        </a:spcBef>
        <a:buFont typeface="Arial" panose="020B0604020202020204" pitchFamily="34" charset="0"/>
        <a:buChar char="​"/>
        <a:tabLst/>
        <a:defRPr sz="2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317">
          <p15:clr>
            <a:srgbClr val="F26B43"/>
          </p15:clr>
        </p15:guide>
        <p15:guide id="2" pos="1544">
          <p15:clr>
            <a:srgbClr val="F26B43"/>
          </p15:clr>
        </p15:guide>
        <p15:guide id="3" orient="horz" pos="4126">
          <p15:clr>
            <a:srgbClr val="F26B43"/>
          </p15:clr>
        </p15:guide>
        <p15:guide id="5" pos="1920">
          <p15:clr>
            <a:srgbClr val="F26B43"/>
          </p15:clr>
        </p15:guide>
        <p15:guide id="6" pos="2146">
          <p15:clr>
            <a:srgbClr val="F26B43"/>
          </p15:clr>
        </p15:guide>
        <p15:guide id="7" pos="2522">
          <p15:clr>
            <a:srgbClr val="F26B43"/>
          </p15:clr>
        </p15:guide>
        <p15:guide id="8" pos="2748">
          <p15:clr>
            <a:srgbClr val="F26B43"/>
          </p15:clr>
        </p15:guide>
        <p15:guide id="9" pos="3124">
          <p15:clr>
            <a:srgbClr val="F26B43"/>
          </p15:clr>
        </p15:guide>
        <p15:guide id="10" pos="3351">
          <p15:clr>
            <a:srgbClr val="F26B43"/>
          </p15:clr>
        </p15:guide>
        <p15:guide id="11" pos="3726">
          <p15:clr>
            <a:srgbClr val="F26B43"/>
          </p15:clr>
        </p15:guide>
        <p15:guide id="12" pos="3953">
          <p15:clr>
            <a:srgbClr val="F26B43"/>
          </p15:clr>
        </p15:guide>
        <p15:guide id="13" pos="4328">
          <p15:clr>
            <a:srgbClr val="F26B43"/>
          </p15:clr>
        </p15:guide>
        <p15:guide id="14" pos="4555">
          <p15:clr>
            <a:srgbClr val="F26B43"/>
          </p15:clr>
        </p15:guide>
        <p15:guide id="15" pos="4931">
          <p15:clr>
            <a:srgbClr val="F26B43"/>
          </p15:clr>
        </p15:guide>
        <p15:guide id="16" pos="5157">
          <p15:clr>
            <a:srgbClr val="F26B43"/>
          </p15:clr>
        </p15:guide>
        <p15:guide id="17" pos="5533">
          <p15:clr>
            <a:srgbClr val="F26B43"/>
          </p15:clr>
        </p15:guide>
        <p15:guide id="18" pos="5760">
          <p15:clr>
            <a:srgbClr val="F26B43"/>
          </p15:clr>
        </p15:guide>
        <p15:guide id="19" pos="6135">
          <p15:clr>
            <a:srgbClr val="F26B43"/>
          </p15:clr>
        </p15:guide>
        <p15:guide id="20" pos="6362">
          <p15:clr>
            <a:srgbClr val="F26B43"/>
          </p15:clr>
        </p15:guide>
        <p15:guide id="21" pos="6737">
          <p15:clr>
            <a:srgbClr val="F26B43"/>
          </p15:clr>
        </p15:guide>
        <p15:guide id="22" pos="6964">
          <p15:clr>
            <a:srgbClr val="F26B43"/>
          </p15:clr>
        </p15:guide>
        <p15:guide id="23" pos="715">
          <p15:clr>
            <a:srgbClr val="F26B43"/>
          </p15:clr>
        </p15:guide>
        <p15:guide id="24" pos="942">
          <p15:clr>
            <a:srgbClr val="F26B43"/>
          </p15:clr>
        </p15:guide>
        <p15:guide id="25" orient="horz" pos="702">
          <p15:clr>
            <a:srgbClr val="F26B43"/>
          </p15:clr>
        </p15:guide>
        <p15:guide id="26" orient="horz" pos="1179">
          <p15:clr>
            <a:srgbClr val="F26B43"/>
          </p15:clr>
        </p15:guide>
        <p15:guide id="28" pos="340">
          <p15:clr>
            <a:srgbClr val="F26B43"/>
          </p15:clr>
        </p15:guide>
        <p15:guide id="30" orient="horz" pos="408">
          <p15:clr>
            <a:srgbClr val="F26B43"/>
          </p15:clr>
        </p15:guide>
        <p15:guide id="31" pos="7339">
          <p15:clr>
            <a:srgbClr val="F26B43"/>
          </p15:clr>
        </p15:guide>
        <p15:guide id="32" orient="horz" pos="38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ustomXml" Target="../ink/ink3.xml"/><Relationship Id="rId2" Type="http://schemas.openxmlformats.org/officeDocument/2006/relationships/image" Target="../media/image37.jpeg"/><Relationship Id="rId1" Type="http://schemas.openxmlformats.org/officeDocument/2006/relationships/slideLayout" Target="../slideLayouts/slideLayout41.xml"/><Relationship Id="rId4" Type="http://schemas.openxmlformats.org/officeDocument/2006/relationships/image" Target="../media/image38.png"/></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customXml" Target="../ink/ink4.xml"/><Relationship Id="rId1" Type="http://schemas.openxmlformats.org/officeDocument/2006/relationships/slideLayout" Target="../slideLayouts/slideLayout40.xml"/></Relationships>
</file>

<file path=ppt/slides/_rels/slide12.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26" Type="http://schemas.openxmlformats.org/officeDocument/2006/relationships/image" Target="../media/image64.emf"/><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5" Type="http://schemas.openxmlformats.org/officeDocument/2006/relationships/image" Target="../media/image63.emf"/><Relationship Id="rId2" Type="http://schemas.openxmlformats.org/officeDocument/2006/relationships/image" Target="../media/image40.png"/><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35.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2.emf"/><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image" Target="../media/image61.emf"/><Relationship Id="rId28" Type="http://schemas.openxmlformats.org/officeDocument/2006/relationships/image" Target="../media/image65.png"/><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 Id="rId27" Type="http://schemas.openxmlformats.org/officeDocument/2006/relationships/customXml" Target="../ink/ink5.xml"/></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13" Type="http://schemas.openxmlformats.org/officeDocument/2006/relationships/image" Target="../media/image51.png"/><Relationship Id="rId18" Type="http://schemas.openxmlformats.org/officeDocument/2006/relationships/image" Target="../media/image56.png"/><Relationship Id="rId3" Type="http://schemas.openxmlformats.org/officeDocument/2006/relationships/image" Target="../media/image41.png"/><Relationship Id="rId21" Type="http://schemas.openxmlformats.org/officeDocument/2006/relationships/image" Target="../media/image59.png"/><Relationship Id="rId7" Type="http://schemas.openxmlformats.org/officeDocument/2006/relationships/image" Target="../media/image45.png"/><Relationship Id="rId12" Type="http://schemas.openxmlformats.org/officeDocument/2006/relationships/image" Target="../media/image50.png"/><Relationship Id="rId17" Type="http://schemas.openxmlformats.org/officeDocument/2006/relationships/image" Target="../media/image55.png"/><Relationship Id="rId2" Type="http://schemas.openxmlformats.org/officeDocument/2006/relationships/image" Target="../media/image40.png"/><Relationship Id="rId16" Type="http://schemas.openxmlformats.org/officeDocument/2006/relationships/image" Target="../media/image54.png"/><Relationship Id="rId20" Type="http://schemas.openxmlformats.org/officeDocument/2006/relationships/image" Target="../media/image58.png"/><Relationship Id="rId1" Type="http://schemas.openxmlformats.org/officeDocument/2006/relationships/slideLayout" Target="../slideLayouts/slideLayout37.xml"/><Relationship Id="rId6" Type="http://schemas.openxmlformats.org/officeDocument/2006/relationships/image" Target="../media/image44.png"/><Relationship Id="rId11" Type="http://schemas.openxmlformats.org/officeDocument/2006/relationships/image" Target="../media/image49.png"/><Relationship Id="rId24" Type="http://schemas.openxmlformats.org/officeDocument/2006/relationships/image" Target="../media/image66.png"/><Relationship Id="rId5" Type="http://schemas.openxmlformats.org/officeDocument/2006/relationships/image" Target="../media/image43.png"/><Relationship Id="rId15" Type="http://schemas.openxmlformats.org/officeDocument/2006/relationships/image" Target="../media/image53.png"/><Relationship Id="rId23" Type="http://schemas.openxmlformats.org/officeDocument/2006/relationships/customXml" Target="../ink/ink6.xml"/><Relationship Id="rId10" Type="http://schemas.openxmlformats.org/officeDocument/2006/relationships/image" Target="../media/image48.png"/><Relationship Id="rId19" Type="http://schemas.openxmlformats.org/officeDocument/2006/relationships/image" Target="../media/image57.png"/><Relationship Id="rId4" Type="http://schemas.openxmlformats.org/officeDocument/2006/relationships/image" Target="../media/image42.png"/><Relationship Id="rId9" Type="http://schemas.openxmlformats.org/officeDocument/2006/relationships/image" Target="../media/image47.png"/><Relationship Id="rId14" Type="http://schemas.openxmlformats.org/officeDocument/2006/relationships/image" Target="../media/image52.png"/><Relationship Id="rId22" Type="http://schemas.openxmlformats.org/officeDocument/2006/relationships/image" Target="../media/image60.png"/></Relationships>
</file>

<file path=ppt/slides/_rels/slide14.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customXml" Target="../ink/ink7.xml"/><Relationship Id="rId1" Type="http://schemas.openxmlformats.org/officeDocument/2006/relationships/slideLayout" Target="../slideLayouts/slideLayout41.xml"/></Relationships>
</file>

<file path=ppt/slides/_rels/slide1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customXml" Target="../ink/ink8.xml"/><Relationship Id="rId1" Type="http://schemas.openxmlformats.org/officeDocument/2006/relationships/slideLayout" Target="../slideLayouts/slideLayout40.xml"/><Relationship Id="rId5" Type="http://schemas.openxmlformats.org/officeDocument/2006/relationships/image" Target="../media/image69.png"/><Relationship Id="rId4" Type="http://schemas.openxmlformats.org/officeDocument/2006/relationships/customXml" Target="../ink/ink9.xml"/></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customXml" Target="../ink/ink10.xml"/><Relationship Id="rId1" Type="http://schemas.openxmlformats.org/officeDocument/2006/relationships/slideLayout" Target="../slideLayouts/slideLayout40.xml"/></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7.xml"/><Relationship Id="rId1" Type="http://schemas.openxmlformats.org/officeDocument/2006/relationships/slideLayout" Target="../slideLayouts/slideLayout40.xml"/><Relationship Id="rId6" Type="http://schemas.openxmlformats.org/officeDocument/2006/relationships/image" Target="../media/image73.png"/><Relationship Id="rId5" Type="http://schemas.openxmlformats.org/officeDocument/2006/relationships/customXml" Target="../ink/ink11.xml"/><Relationship Id="rId4" Type="http://schemas.openxmlformats.org/officeDocument/2006/relationships/image" Target="../media/image72.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Layout" Target="../slideLayouts/slideLayout37.xml"/></Relationships>
</file>

<file path=ppt/slides/_rels/slide20.xml.rels><?xml version="1.0" encoding="UTF-8" standalone="yes"?>
<Relationships xmlns="http://schemas.openxmlformats.org/package/2006/relationships"><Relationship Id="rId3" Type="http://schemas.openxmlformats.org/officeDocument/2006/relationships/hyperlink" Target="mailto:aran@ufst.dk" TargetMode="External"/><Relationship Id="rId7" Type="http://schemas.openxmlformats.org/officeDocument/2006/relationships/hyperlink" Target="https://www.youtube.com/watch?v=502ILHjX9EE" TargetMode="External"/><Relationship Id="rId2" Type="http://schemas.openxmlformats.org/officeDocument/2006/relationships/notesSlide" Target="../notesSlides/notesSlide9.xml"/><Relationship Id="rId1" Type="http://schemas.openxmlformats.org/officeDocument/2006/relationships/slideLayout" Target="../slideLayouts/slideLayout37.xml"/><Relationship Id="rId6" Type="http://schemas.openxmlformats.org/officeDocument/2006/relationships/hyperlink" Target="https://www.agilealliance.org/" TargetMode="External"/><Relationship Id="rId5" Type="http://schemas.openxmlformats.org/officeDocument/2006/relationships/hyperlink" Target="https://www.scaledagileframework.com/" TargetMode="External"/><Relationship Id="rId4" Type="http://schemas.openxmlformats.org/officeDocument/2006/relationships/hyperlink" Target="https://www.scrum.org/"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6.emf"/><Relationship Id="rId7"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37.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emf"/></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e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8.xml"/><Relationship Id="rId1" Type="http://schemas.openxmlformats.org/officeDocument/2006/relationships/tags" Target="../tags/tag68.xml"/></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notesSlide" Target="../notesSlides/notesSlide4.xml"/><Relationship Id="rId7" Type="http://schemas.openxmlformats.org/officeDocument/2006/relationships/image" Target="../media/image28.svg"/><Relationship Id="rId2" Type="http://schemas.openxmlformats.org/officeDocument/2006/relationships/slideLayout" Target="../slideLayouts/slideLayout51.xml"/><Relationship Id="rId1" Type="http://schemas.openxmlformats.org/officeDocument/2006/relationships/tags" Target="../tags/tag69.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8.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notesSlide" Target="../notesSlides/notesSlide5.xml"/><Relationship Id="rId1" Type="http://schemas.openxmlformats.org/officeDocument/2006/relationships/slideLayout" Target="../slideLayouts/slideLayout41.xml"/><Relationship Id="rId5" Type="http://schemas.openxmlformats.org/officeDocument/2006/relationships/image" Target="../media/image34.png"/><Relationship Id="rId4" Type="http://schemas.openxmlformats.org/officeDocument/2006/relationships/customXml" Target="../ink/ink1.xml"/></Relationships>
</file>

<file path=ppt/slides/_rels/slide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71.xml"/><Relationship Id="rId7" Type="http://schemas.openxmlformats.org/officeDocument/2006/relationships/image" Target="../media/image13.emf"/><Relationship Id="rId2" Type="http://schemas.openxmlformats.org/officeDocument/2006/relationships/tags" Target="../tags/tag7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10" Type="http://schemas.openxmlformats.org/officeDocument/2006/relationships/image" Target="../media/image36.png"/><Relationship Id="rId4" Type="http://schemas.openxmlformats.org/officeDocument/2006/relationships/slideLayout" Target="../slideLayouts/slideLayout52.xml"/><Relationship Id="rId9" Type="http://schemas.openxmlformats.org/officeDocument/2006/relationships/customXml" Target="../ink/ink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3BB499DE-22E2-4B4F-9630-7D053B169AE3}"/>
              </a:ext>
            </a:extLst>
          </p:cNvPr>
          <p:cNvSpPr>
            <a:spLocks noGrp="1"/>
          </p:cNvSpPr>
          <p:nvPr>
            <p:ph type="ctrTitle"/>
          </p:nvPr>
        </p:nvSpPr>
        <p:spPr/>
        <p:txBody>
          <a:bodyPr/>
          <a:lstStyle/>
          <a:p>
            <a:r>
              <a:rPr lang="da-DK"/>
              <a:t>Agile Development </a:t>
            </a:r>
          </a:p>
        </p:txBody>
      </p:sp>
      <p:sp>
        <p:nvSpPr>
          <p:cNvPr id="11" name="Undertitel 10">
            <a:extLst>
              <a:ext uri="{FF2B5EF4-FFF2-40B4-BE49-F238E27FC236}">
                <a16:creationId xmlns:a16="http://schemas.microsoft.com/office/drawing/2014/main" id="{7DFF88EB-A4C6-45F5-8D1D-F11AF8A65F1A}"/>
              </a:ext>
            </a:extLst>
          </p:cNvPr>
          <p:cNvSpPr>
            <a:spLocks noGrp="1"/>
          </p:cNvSpPr>
          <p:nvPr>
            <p:ph type="subTitle" idx="1"/>
          </p:nvPr>
        </p:nvSpPr>
        <p:spPr/>
        <p:txBody>
          <a:bodyPr/>
          <a:lstStyle/>
          <a:p>
            <a:r>
              <a:rPr lang="da-DK"/>
              <a:t>Inspiration from the Danish Ministry of Taxation</a:t>
            </a:r>
          </a:p>
        </p:txBody>
      </p:sp>
      <p:sp>
        <p:nvSpPr>
          <p:cNvPr id="4" name="Date Placeholder 3">
            <a:extLst>
              <a:ext uri="{FF2B5EF4-FFF2-40B4-BE49-F238E27FC236}">
                <a16:creationId xmlns:a16="http://schemas.microsoft.com/office/drawing/2014/main" id="{68C6199D-E7BB-4498-B536-92347DE35C1A}"/>
              </a:ext>
            </a:extLst>
          </p:cNvPr>
          <p:cNvSpPr>
            <a:spLocks noGrp="1"/>
          </p:cNvSpPr>
          <p:nvPr>
            <p:ph type="dt" sz="half" idx="10"/>
          </p:nvPr>
        </p:nvSpPr>
        <p:spPr>
          <a:xfrm>
            <a:off x="10096500" y="259351"/>
            <a:ext cx="1552574" cy="336977"/>
          </a:xfrm>
        </p:spPr>
        <p:txBody>
          <a:bodyPr/>
          <a:lstStyle/>
          <a:p>
            <a:fld id="{3CB57600-80A4-4C7B-A6A9-9DB5E0E54805}" type="datetime2">
              <a:rPr lang="da-DK" smtClean="0"/>
              <a:pPr/>
              <a:t>18. januar 2022</a:t>
            </a:fld>
            <a:endParaRPr lang="da-DK"/>
          </a:p>
        </p:txBody>
      </p:sp>
      <p:sp>
        <p:nvSpPr>
          <p:cNvPr id="7" name="Pladsholder til sidefod 6">
            <a:extLst>
              <a:ext uri="{FF2B5EF4-FFF2-40B4-BE49-F238E27FC236}">
                <a16:creationId xmlns:a16="http://schemas.microsoft.com/office/drawing/2014/main" id="{E2F4AF31-B3CA-4B9B-9AA7-B94F940E271F}"/>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029831AE-C1A4-4581-9DF8-3D5F056DEE96}"/>
              </a:ext>
            </a:extLst>
          </p:cNvPr>
          <p:cNvSpPr>
            <a:spLocks noGrp="1"/>
          </p:cNvSpPr>
          <p:nvPr>
            <p:ph type="sldNum" sz="quarter" idx="12"/>
          </p:nvPr>
        </p:nvSpPr>
        <p:spPr/>
        <p:txBody>
          <a:bodyPr/>
          <a:lstStyle/>
          <a:p>
            <a:fld id="{24C8C45C-947F-4981-8B3F-4F32E973C901}" type="slidenum">
              <a:rPr lang="da-DK" smtClean="0"/>
              <a:pPr/>
              <a:t>1</a:t>
            </a:fld>
            <a:endParaRPr lang="da-DK"/>
          </a:p>
        </p:txBody>
      </p:sp>
    </p:spTree>
    <p:extLst>
      <p:ext uri="{BB962C8B-B14F-4D97-AF65-F5344CB8AC3E}">
        <p14:creationId xmlns:p14="http://schemas.microsoft.com/office/powerpoint/2010/main" val="26151598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ktangel 9">
            <a:extLst>
              <a:ext uri="{FF2B5EF4-FFF2-40B4-BE49-F238E27FC236}">
                <a16:creationId xmlns:a16="http://schemas.microsoft.com/office/drawing/2014/main" id="{6EB265E9-C77B-874A-9C59-41506EA69216}"/>
              </a:ext>
            </a:extLst>
          </p:cNvPr>
          <p:cNvSpPr/>
          <p:nvPr/>
        </p:nvSpPr>
        <p:spPr>
          <a:xfrm>
            <a:off x="8862895" y="0"/>
            <a:ext cx="3355012"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0BB02E95-9499-4512-8432-7FCB3B43D670}"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10</a:t>
            </a:fld>
            <a:endParaRPr lang="da-DK"/>
          </a:p>
        </p:txBody>
      </p:sp>
      <p:sp>
        <p:nvSpPr>
          <p:cNvPr id="27" name="Tekstfelt 26">
            <a:extLst>
              <a:ext uri="{FF2B5EF4-FFF2-40B4-BE49-F238E27FC236}">
                <a16:creationId xmlns:a16="http://schemas.microsoft.com/office/drawing/2014/main" id="{ACDD8B6D-A5FA-4513-9B13-B6A71C5919A8}"/>
              </a:ext>
            </a:extLst>
          </p:cNvPr>
          <p:cNvSpPr txBox="1"/>
          <p:nvPr/>
        </p:nvSpPr>
        <p:spPr>
          <a:xfrm>
            <a:off x="623048" y="2221753"/>
            <a:ext cx="10385610" cy="23083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endParaRPr lang="da-DK" sz="1500">
              <a:ea typeface="+mn-lt"/>
              <a:cs typeface="+mn-lt"/>
            </a:endParaRPr>
          </a:p>
        </p:txBody>
      </p:sp>
      <p:grpSp>
        <p:nvGrpSpPr>
          <p:cNvPr id="18" name="Gruppe 17">
            <a:extLst>
              <a:ext uri="{FF2B5EF4-FFF2-40B4-BE49-F238E27FC236}">
                <a16:creationId xmlns:a16="http://schemas.microsoft.com/office/drawing/2014/main" id="{7B86F452-D3A0-452B-8708-0180F9FD93CF}"/>
              </a:ext>
            </a:extLst>
          </p:cNvPr>
          <p:cNvGrpSpPr/>
          <p:nvPr/>
        </p:nvGrpSpPr>
        <p:grpSpPr>
          <a:xfrm>
            <a:off x="544286" y="1799771"/>
            <a:ext cx="7576457" cy="3939252"/>
            <a:chOff x="1195016" y="1695316"/>
            <a:chExt cx="9801969" cy="4604381"/>
          </a:xfrm>
        </p:grpSpPr>
        <p:sp>
          <p:nvSpPr>
            <p:cNvPr id="21" name="Freeform 1">
              <a:extLst>
                <a:ext uri="{FF2B5EF4-FFF2-40B4-BE49-F238E27FC236}">
                  <a16:creationId xmlns:a16="http://schemas.microsoft.com/office/drawing/2014/main" id="{696F6E4E-1435-4C9F-AF8F-20EDAC05571D}"/>
                </a:ext>
              </a:extLst>
            </p:cNvPr>
            <p:cNvSpPr>
              <a:spLocks noChangeArrowheads="1"/>
            </p:cNvSpPr>
            <p:nvPr/>
          </p:nvSpPr>
          <p:spPr bwMode="auto">
            <a:xfrm>
              <a:off x="1195016" y="2995835"/>
              <a:ext cx="1985822" cy="983177"/>
            </a:xfrm>
            <a:custGeom>
              <a:avLst/>
              <a:gdLst>
                <a:gd name="T0" fmla="*/ 4499 w 4500"/>
                <a:gd name="T1" fmla="*/ 0 h 2228"/>
                <a:gd name="T2" fmla="*/ 4499 w 4500"/>
                <a:gd name="T3" fmla="*/ 0 h 2228"/>
                <a:gd name="T4" fmla="*/ 1314 w 4500"/>
                <a:gd name="T5" fmla="*/ 2227 h 2228"/>
                <a:gd name="T6" fmla="*/ 1314 w 4500"/>
                <a:gd name="T7" fmla="*/ 2227 h 2228"/>
                <a:gd name="T8" fmla="*/ 0 w 4500"/>
                <a:gd name="T9" fmla="*/ 1364 h 2228"/>
                <a:gd name="T10" fmla="*/ 0 w 4500"/>
                <a:gd name="T11" fmla="*/ 1364 h 2228"/>
                <a:gd name="T12" fmla="*/ 4499 w 4500"/>
                <a:gd name="T13" fmla="*/ 0 h 2228"/>
              </a:gdLst>
              <a:ahLst/>
              <a:cxnLst>
                <a:cxn ang="0">
                  <a:pos x="T0" y="T1"/>
                </a:cxn>
                <a:cxn ang="0">
                  <a:pos x="T2" y="T3"/>
                </a:cxn>
                <a:cxn ang="0">
                  <a:pos x="T4" y="T5"/>
                </a:cxn>
                <a:cxn ang="0">
                  <a:pos x="T6" y="T7"/>
                </a:cxn>
                <a:cxn ang="0">
                  <a:pos x="T8" y="T9"/>
                </a:cxn>
                <a:cxn ang="0">
                  <a:pos x="T10" y="T11"/>
                </a:cxn>
                <a:cxn ang="0">
                  <a:pos x="T12" y="T13"/>
                </a:cxn>
              </a:cxnLst>
              <a:rect l="0" t="0" r="r" b="b"/>
              <a:pathLst>
                <a:path w="4500" h="2228">
                  <a:moveTo>
                    <a:pt x="4499" y="0"/>
                  </a:moveTo>
                  <a:lnTo>
                    <a:pt x="4499" y="0"/>
                  </a:lnTo>
                  <a:cubicBezTo>
                    <a:pt x="3580" y="425"/>
                    <a:pt x="2013" y="1253"/>
                    <a:pt x="1314" y="2227"/>
                  </a:cubicBezTo>
                  <a:lnTo>
                    <a:pt x="1314" y="2227"/>
                  </a:lnTo>
                  <a:cubicBezTo>
                    <a:pt x="489" y="1988"/>
                    <a:pt x="0" y="1689"/>
                    <a:pt x="0" y="1364"/>
                  </a:cubicBezTo>
                  <a:lnTo>
                    <a:pt x="0" y="1364"/>
                  </a:lnTo>
                  <a:cubicBezTo>
                    <a:pt x="0" y="727"/>
                    <a:pt x="1888" y="188"/>
                    <a:pt x="4499" y="0"/>
                  </a:cubicBezTo>
                </a:path>
              </a:pathLst>
            </a:custGeom>
            <a:solidFill>
              <a:schemeClr val="accent2">
                <a:lumMod val="75000"/>
              </a:schemeClr>
            </a:solidFill>
            <a:ln>
              <a:noFill/>
            </a:ln>
            <a:effectLst/>
          </p:spPr>
          <p:txBody>
            <a:bodyPr wrap="none" anchor="ctr"/>
            <a:lstStyle/>
            <a:p>
              <a:endParaRPr lang="en-US" sz="3266">
                <a:latin typeface="Lato Light" panose="020F0502020204030203" pitchFamily="34" charset="0"/>
              </a:endParaRPr>
            </a:p>
          </p:txBody>
        </p:sp>
        <p:sp>
          <p:nvSpPr>
            <p:cNvPr id="22" name="Freeform 2">
              <a:extLst>
                <a:ext uri="{FF2B5EF4-FFF2-40B4-BE49-F238E27FC236}">
                  <a16:creationId xmlns:a16="http://schemas.microsoft.com/office/drawing/2014/main" id="{FF9B3103-31CC-49ED-8151-59D35BD2C696}"/>
                </a:ext>
              </a:extLst>
            </p:cNvPr>
            <p:cNvSpPr>
              <a:spLocks noChangeArrowheads="1"/>
            </p:cNvSpPr>
            <p:nvPr/>
          </p:nvSpPr>
          <p:spPr bwMode="auto">
            <a:xfrm>
              <a:off x="1195016" y="4298299"/>
              <a:ext cx="1985822" cy="983178"/>
            </a:xfrm>
            <a:custGeom>
              <a:avLst/>
              <a:gdLst>
                <a:gd name="T0" fmla="*/ 4499 w 4500"/>
                <a:gd name="T1" fmla="*/ 0 h 2227"/>
                <a:gd name="T2" fmla="*/ 4499 w 4500"/>
                <a:gd name="T3" fmla="*/ 0 h 2227"/>
                <a:gd name="T4" fmla="*/ 1314 w 4500"/>
                <a:gd name="T5" fmla="*/ 2226 h 2227"/>
                <a:gd name="T6" fmla="*/ 1314 w 4500"/>
                <a:gd name="T7" fmla="*/ 2226 h 2227"/>
                <a:gd name="T8" fmla="*/ 0 w 4500"/>
                <a:gd name="T9" fmla="*/ 1364 h 2227"/>
                <a:gd name="T10" fmla="*/ 0 w 4500"/>
                <a:gd name="T11" fmla="*/ 1364 h 2227"/>
                <a:gd name="T12" fmla="*/ 4499 w 4500"/>
                <a:gd name="T13" fmla="*/ 0 h 2227"/>
              </a:gdLst>
              <a:ahLst/>
              <a:cxnLst>
                <a:cxn ang="0">
                  <a:pos x="T0" y="T1"/>
                </a:cxn>
                <a:cxn ang="0">
                  <a:pos x="T2" y="T3"/>
                </a:cxn>
                <a:cxn ang="0">
                  <a:pos x="T4" y="T5"/>
                </a:cxn>
                <a:cxn ang="0">
                  <a:pos x="T6" y="T7"/>
                </a:cxn>
                <a:cxn ang="0">
                  <a:pos x="T8" y="T9"/>
                </a:cxn>
                <a:cxn ang="0">
                  <a:pos x="T10" y="T11"/>
                </a:cxn>
                <a:cxn ang="0">
                  <a:pos x="T12" y="T13"/>
                </a:cxn>
              </a:cxnLst>
              <a:rect l="0" t="0" r="r" b="b"/>
              <a:pathLst>
                <a:path w="4500" h="2227">
                  <a:moveTo>
                    <a:pt x="4499" y="0"/>
                  </a:moveTo>
                  <a:lnTo>
                    <a:pt x="4499" y="0"/>
                  </a:lnTo>
                  <a:cubicBezTo>
                    <a:pt x="3580" y="425"/>
                    <a:pt x="2013" y="1253"/>
                    <a:pt x="1314" y="2226"/>
                  </a:cubicBezTo>
                  <a:lnTo>
                    <a:pt x="1314" y="2226"/>
                  </a:lnTo>
                  <a:cubicBezTo>
                    <a:pt x="489" y="1987"/>
                    <a:pt x="0" y="1688"/>
                    <a:pt x="0" y="1364"/>
                  </a:cubicBezTo>
                  <a:lnTo>
                    <a:pt x="0" y="1364"/>
                  </a:lnTo>
                  <a:cubicBezTo>
                    <a:pt x="0" y="727"/>
                    <a:pt x="1888" y="187"/>
                    <a:pt x="4499" y="0"/>
                  </a:cubicBezTo>
                </a:path>
              </a:pathLst>
            </a:custGeom>
            <a:solidFill>
              <a:schemeClr val="accent3">
                <a:lumMod val="75000"/>
              </a:schemeClr>
            </a:solidFill>
            <a:ln>
              <a:noFill/>
            </a:ln>
            <a:effectLst/>
          </p:spPr>
          <p:txBody>
            <a:bodyPr wrap="none" anchor="ctr"/>
            <a:lstStyle/>
            <a:p>
              <a:endParaRPr lang="en-US" sz="3266">
                <a:latin typeface="Lato Light" panose="020F0502020204030203" pitchFamily="34" charset="0"/>
              </a:endParaRPr>
            </a:p>
          </p:txBody>
        </p:sp>
        <p:sp>
          <p:nvSpPr>
            <p:cNvPr id="23" name="Freeform 3">
              <a:extLst>
                <a:ext uri="{FF2B5EF4-FFF2-40B4-BE49-F238E27FC236}">
                  <a16:creationId xmlns:a16="http://schemas.microsoft.com/office/drawing/2014/main" id="{682D4F82-7719-4C84-B70D-58C59C1A0A74}"/>
                </a:ext>
              </a:extLst>
            </p:cNvPr>
            <p:cNvSpPr>
              <a:spLocks noChangeArrowheads="1"/>
            </p:cNvSpPr>
            <p:nvPr/>
          </p:nvSpPr>
          <p:spPr bwMode="auto">
            <a:xfrm>
              <a:off x="1195016" y="2296902"/>
              <a:ext cx="4598542" cy="1399811"/>
            </a:xfrm>
            <a:custGeom>
              <a:avLst/>
              <a:gdLst>
                <a:gd name="T0" fmla="*/ 10416 w 10417"/>
                <a:gd name="T1" fmla="*/ 1153 h 3171"/>
                <a:gd name="T2" fmla="*/ 10416 w 10417"/>
                <a:gd name="T3" fmla="*/ 2889 h 3171"/>
                <a:gd name="T4" fmla="*/ 10416 w 10417"/>
                <a:gd name="T5" fmla="*/ 2889 h 3171"/>
                <a:gd name="T6" fmla="*/ 6529 w 10417"/>
                <a:gd name="T7" fmla="*/ 3170 h 3171"/>
                <a:gd name="T8" fmla="*/ 6529 w 10417"/>
                <a:gd name="T9" fmla="*/ 3170 h 3171"/>
                <a:gd name="T10" fmla="*/ 0 w 10417"/>
                <a:gd name="T11" fmla="*/ 1736 h 3171"/>
                <a:gd name="T12" fmla="*/ 0 w 10417"/>
                <a:gd name="T13" fmla="*/ 0 h 3171"/>
                <a:gd name="T14" fmla="*/ 0 w 10417"/>
                <a:gd name="T15" fmla="*/ 0 h 3171"/>
                <a:gd name="T16" fmla="*/ 1334 w 10417"/>
                <a:gd name="T17" fmla="*/ 869 h 3171"/>
                <a:gd name="T18" fmla="*/ 1334 w 10417"/>
                <a:gd name="T19" fmla="*/ 869 h 3171"/>
                <a:gd name="T20" fmla="*/ 6529 w 10417"/>
                <a:gd name="T21" fmla="*/ 1435 h 3171"/>
                <a:gd name="T22" fmla="*/ 6529 w 10417"/>
                <a:gd name="T23" fmla="*/ 1435 h 3171"/>
                <a:gd name="T24" fmla="*/ 10416 w 10417"/>
                <a:gd name="T25" fmla="*/ 1153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17" h="3171">
                  <a:moveTo>
                    <a:pt x="10416" y="1153"/>
                  </a:moveTo>
                  <a:lnTo>
                    <a:pt x="10416" y="2889"/>
                  </a:lnTo>
                  <a:lnTo>
                    <a:pt x="10416" y="2889"/>
                  </a:lnTo>
                  <a:cubicBezTo>
                    <a:pt x="9330" y="3065"/>
                    <a:pt x="7985" y="3170"/>
                    <a:pt x="6529" y="3170"/>
                  </a:cubicBezTo>
                  <a:lnTo>
                    <a:pt x="6529" y="3170"/>
                  </a:lnTo>
                  <a:cubicBezTo>
                    <a:pt x="2924" y="3170"/>
                    <a:pt x="0" y="2528"/>
                    <a:pt x="0" y="1736"/>
                  </a:cubicBezTo>
                  <a:lnTo>
                    <a:pt x="0" y="0"/>
                  </a:lnTo>
                  <a:lnTo>
                    <a:pt x="0" y="0"/>
                  </a:lnTo>
                  <a:cubicBezTo>
                    <a:pt x="0" y="327"/>
                    <a:pt x="497" y="628"/>
                    <a:pt x="1334" y="869"/>
                  </a:cubicBezTo>
                  <a:lnTo>
                    <a:pt x="1334" y="869"/>
                  </a:lnTo>
                  <a:cubicBezTo>
                    <a:pt x="2526" y="1213"/>
                    <a:pt x="4409" y="1435"/>
                    <a:pt x="6529" y="1435"/>
                  </a:cubicBezTo>
                  <a:lnTo>
                    <a:pt x="6529" y="1435"/>
                  </a:lnTo>
                  <a:cubicBezTo>
                    <a:pt x="7986" y="1435"/>
                    <a:pt x="9330" y="1330"/>
                    <a:pt x="10416" y="1153"/>
                  </a:cubicBezTo>
                </a:path>
              </a:pathLst>
            </a:custGeom>
            <a:solidFill>
              <a:schemeClr val="accent1"/>
            </a:solidFill>
            <a:ln>
              <a:noFill/>
            </a:ln>
            <a:effectLst/>
          </p:spPr>
          <p:txBody>
            <a:bodyPr wrap="none" anchor="ctr"/>
            <a:lstStyle/>
            <a:p>
              <a:endParaRPr lang="en-US" sz="3266">
                <a:latin typeface="Lato Light" panose="020F0502020204030203" pitchFamily="34" charset="0"/>
              </a:endParaRPr>
            </a:p>
          </p:txBody>
        </p:sp>
        <p:sp>
          <p:nvSpPr>
            <p:cNvPr id="24" name="Freeform 4">
              <a:extLst>
                <a:ext uri="{FF2B5EF4-FFF2-40B4-BE49-F238E27FC236}">
                  <a16:creationId xmlns:a16="http://schemas.microsoft.com/office/drawing/2014/main" id="{F4291C39-D4F7-4302-A693-81CD7399704E}"/>
                </a:ext>
              </a:extLst>
            </p:cNvPr>
            <p:cNvSpPr>
              <a:spLocks noChangeArrowheads="1"/>
            </p:cNvSpPr>
            <p:nvPr/>
          </p:nvSpPr>
          <p:spPr bwMode="auto">
            <a:xfrm>
              <a:off x="1195016" y="1695316"/>
              <a:ext cx="1985822" cy="983177"/>
            </a:xfrm>
            <a:custGeom>
              <a:avLst/>
              <a:gdLst>
                <a:gd name="T0" fmla="*/ 4499 w 4500"/>
                <a:gd name="T1" fmla="*/ 0 h 2227"/>
                <a:gd name="T2" fmla="*/ 4499 w 4500"/>
                <a:gd name="T3" fmla="*/ 0 h 2227"/>
                <a:gd name="T4" fmla="*/ 1314 w 4500"/>
                <a:gd name="T5" fmla="*/ 2226 h 2227"/>
                <a:gd name="T6" fmla="*/ 1314 w 4500"/>
                <a:gd name="T7" fmla="*/ 2226 h 2227"/>
                <a:gd name="T8" fmla="*/ 0 w 4500"/>
                <a:gd name="T9" fmla="*/ 1363 h 2227"/>
                <a:gd name="T10" fmla="*/ 0 w 4500"/>
                <a:gd name="T11" fmla="*/ 1363 h 2227"/>
                <a:gd name="T12" fmla="*/ 4499 w 4500"/>
                <a:gd name="T13" fmla="*/ 0 h 2227"/>
              </a:gdLst>
              <a:ahLst/>
              <a:cxnLst>
                <a:cxn ang="0">
                  <a:pos x="T0" y="T1"/>
                </a:cxn>
                <a:cxn ang="0">
                  <a:pos x="T2" y="T3"/>
                </a:cxn>
                <a:cxn ang="0">
                  <a:pos x="T4" y="T5"/>
                </a:cxn>
                <a:cxn ang="0">
                  <a:pos x="T6" y="T7"/>
                </a:cxn>
                <a:cxn ang="0">
                  <a:pos x="T8" y="T9"/>
                </a:cxn>
                <a:cxn ang="0">
                  <a:pos x="T10" y="T11"/>
                </a:cxn>
                <a:cxn ang="0">
                  <a:pos x="T12" y="T13"/>
                </a:cxn>
              </a:cxnLst>
              <a:rect l="0" t="0" r="r" b="b"/>
              <a:pathLst>
                <a:path w="4500" h="2227">
                  <a:moveTo>
                    <a:pt x="4499" y="0"/>
                  </a:moveTo>
                  <a:lnTo>
                    <a:pt x="4499" y="0"/>
                  </a:lnTo>
                  <a:cubicBezTo>
                    <a:pt x="3580" y="425"/>
                    <a:pt x="2013" y="1252"/>
                    <a:pt x="1314" y="2226"/>
                  </a:cubicBezTo>
                  <a:lnTo>
                    <a:pt x="1314" y="2226"/>
                  </a:lnTo>
                  <a:cubicBezTo>
                    <a:pt x="489" y="1987"/>
                    <a:pt x="0" y="1688"/>
                    <a:pt x="0" y="1363"/>
                  </a:cubicBezTo>
                  <a:lnTo>
                    <a:pt x="0" y="1363"/>
                  </a:lnTo>
                  <a:cubicBezTo>
                    <a:pt x="0" y="727"/>
                    <a:pt x="1888" y="186"/>
                    <a:pt x="4499" y="0"/>
                  </a:cubicBezTo>
                </a:path>
              </a:pathLst>
            </a:custGeom>
            <a:solidFill>
              <a:schemeClr val="accent1">
                <a:lumMod val="75000"/>
              </a:schemeClr>
            </a:solidFill>
            <a:ln>
              <a:noFill/>
            </a:ln>
            <a:effectLst/>
          </p:spPr>
          <p:txBody>
            <a:bodyPr wrap="none" anchor="ctr"/>
            <a:lstStyle/>
            <a:p>
              <a:endParaRPr lang="en-US" sz="3266">
                <a:latin typeface="Lato Light" panose="020F0502020204030203" pitchFamily="34" charset="0"/>
              </a:endParaRPr>
            </a:p>
          </p:txBody>
        </p:sp>
        <p:sp>
          <p:nvSpPr>
            <p:cNvPr id="25" name="Freeform 5">
              <a:extLst>
                <a:ext uri="{FF2B5EF4-FFF2-40B4-BE49-F238E27FC236}">
                  <a16:creationId xmlns:a16="http://schemas.microsoft.com/office/drawing/2014/main" id="{B3AD12D7-0B5E-4224-9606-D08F63843857}"/>
                </a:ext>
              </a:extLst>
            </p:cNvPr>
            <p:cNvSpPr>
              <a:spLocks noChangeArrowheads="1"/>
            </p:cNvSpPr>
            <p:nvPr/>
          </p:nvSpPr>
          <p:spPr bwMode="auto">
            <a:xfrm>
              <a:off x="1195016" y="3597421"/>
              <a:ext cx="4598542" cy="1399811"/>
            </a:xfrm>
            <a:custGeom>
              <a:avLst/>
              <a:gdLst>
                <a:gd name="T0" fmla="*/ 10416 w 10417"/>
                <a:gd name="T1" fmla="*/ 1151 h 3171"/>
                <a:gd name="T2" fmla="*/ 10416 w 10417"/>
                <a:gd name="T3" fmla="*/ 2888 h 3171"/>
                <a:gd name="T4" fmla="*/ 10416 w 10417"/>
                <a:gd name="T5" fmla="*/ 2888 h 3171"/>
                <a:gd name="T6" fmla="*/ 6529 w 10417"/>
                <a:gd name="T7" fmla="*/ 3170 h 3171"/>
                <a:gd name="T8" fmla="*/ 6529 w 10417"/>
                <a:gd name="T9" fmla="*/ 3170 h 3171"/>
                <a:gd name="T10" fmla="*/ 0 w 10417"/>
                <a:gd name="T11" fmla="*/ 1735 h 3171"/>
                <a:gd name="T12" fmla="*/ 0 w 10417"/>
                <a:gd name="T13" fmla="*/ 0 h 3171"/>
                <a:gd name="T14" fmla="*/ 0 w 10417"/>
                <a:gd name="T15" fmla="*/ 0 h 3171"/>
                <a:gd name="T16" fmla="*/ 1334 w 10417"/>
                <a:gd name="T17" fmla="*/ 868 h 3171"/>
                <a:gd name="T18" fmla="*/ 1334 w 10417"/>
                <a:gd name="T19" fmla="*/ 868 h 3171"/>
                <a:gd name="T20" fmla="*/ 6529 w 10417"/>
                <a:gd name="T21" fmla="*/ 1433 h 3171"/>
                <a:gd name="T22" fmla="*/ 6529 w 10417"/>
                <a:gd name="T23" fmla="*/ 1433 h 3171"/>
                <a:gd name="T24" fmla="*/ 10416 w 10417"/>
                <a:gd name="T25" fmla="*/ 1151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17" h="3171">
                  <a:moveTo>
                    <a:pt x="10416" y="1151"/>
                  </a:moveTo>
                  <a:lnTo>
                    <a:pt x="10416" y="2888"/>
                  </a:lnTo>
                  <a:lnTo>
                    <a:pt x="10416" y="2888"/>
                  </a:lnTo>
                  <a:cubicBezTo>
                    <a:pt x="9330" y="3064"/>
                    <a:pt x="7985" y="3170"/>
                    <a:pt x="6529" y="3170"/>
                  </a:cubicBezTo>
                  <a:lnTo>
                    <a:pt x="6529" y="3170"/>
                  </a:lnTo>
                  <a:cubicBezTo>
                    <a:pt x="2924" y="3170"/>
                    <a:pt x="0" y="2527"/>
                    <a:pt x="0" y="1735"/>
                  </a:cubicBezTo>
                  <a:lnTo>
                    <a:pt x="0" y="0"/>
                  </a:lnTo>
                  <a:lnTo>
                    <a:pt x="0" y="0"/>
                  </a:lnTo>
                  <a:cubicBezTo>
                    <a:pt x="0" y="327"/>
                    <a:pt x="497" y="629"/>
                    <a:pt x="1334" y="868"/>
                  </a:cubicBezTo>
                  <a:lnTo>
                    <a:pt x="1334" y="868"/>
                  </a:lnTo>
                  <a:cubicBezTo>
                    <a:pt x="2526" y="1211"/>
                    <a:pt x="4409" y="1433"/>
                    <a:pt x="6529" y="1433"/>
                  </a:cubicBezTo>
                  <a:lnTo>
                    <a:pt x="6529" y="1433"/>
                  </a:lnTo>
                  <a:cubicBezTo>
                    <a:pt x="7986" y="1433"/>
                    <a:pt x="9330" y="1328"/>
                    <a:pt x="10416" y="1151"/>
                  </a:cubicBezTo>
                </a:path>
              </a:pathLst>
            </a:custGeom>
            <a:solidFill>
              <a:schemeClr val="accent2"/>
            </a:solidFill>
            <a:ln>
              <a:noFill/>
            </a:ln>
            <a:effectLst/>
          </p:spPr>
          <p:txBody>
            <a:bodyPr wrap="none" anchor="ctr"/>
            <a:lstStyle/>
            <a:p>
              <a:endParaRPr lang="en-US" sz="3266">
                <a:latin typeface="Lato Light" panose="020F0502020204030203" pitchFamily="34" charset="0"/>
              </a:endParaRPr>
            </a:p>
          </p:txBody>
        </p:sp>
        <p:sp>
          <p:nvSpPr>
            <p:cNvPr id="26" name="Freeform 6">
              <a:extLst>
                <a:ext uri="{FF2B5EF4-FFF2-40B4-BE49-F238E27FC236}">
                  <a16:creationId xmlns:a16="http://schemas.microsoft.com/office/drawing/2014/main" id="{EB14F721-F7D4-4E4C-8BAB-C55BC834DA26}"/>
                </a:ext>
              </a:extLst>
            </p:cNvPr>
            <p:cNvSpPr>
              <a:spLocks noChangeArrowheads="1"/>
            </p:cNvSpPr>
            <p:nvPr/>
          </p:nvSpPr>
          <p:spPr bwMode="auto">
            <a:xfrm>
              <a:off x="1195016" y="4899887"/>
              <a:ext cx="4598542" cy="1399810"/>
            </a:xfrm>
            <a:custGeom>
              <a:avLst/>
              <a:gdLst>
                <a:gd name="T0" fmla="*/ 10416 w 10417"/>
                <a:gd name="T1" fmla="*/ 1152 h 3171"/>
                <a:gd name="T2" fmla="*/ 10416 w 10417"/>
                <a:gd name="T3" fmla="*/ 2888 h 3171"/>
                <a:gd name="T4" fmla="*/ 10416 w 10417"/>
                <a:gd name="T5" fmla="*/ 2888 h 3171"/>
                <a:gd name="T6" fmla="*/ 6529 w 10417"/>
                <a:gd name="T7" fmla="*/ 3170 h 3171"/>
                <a:gd name="T8" fmla="*/ 6529 w 10417"/>
                <a:gd name="T9" fmla="*/ 3170 h 3171"/>
                <a:gd name="T10" fmla="*/ 0 w 10417"/>
                <a:gd name="T11" fmla="*/ 1735 h 3171"/>
                <a:gd name="T12" fmla="*/ 0 w 10417"/>
                <a:gd name="T13" fmla="*/ 0 h 3171"/>
                <a:gd name="T14" fmla="*/ 0 w 10417"/>
                <a:gd name="T15" fmla="*/ 0 h 3171"/>
                <a:gd name="T16" fmla="*/ 1334 w 10417"/>
                <a:gd name="T17" fmla="*/ 868 h 3171"/>
                <a:gd name="T18" fmla="*/ 1334 w 10417"/>
                <a:gd name="T19" fmla="*/ 868 h 3171"/>
                <a:gd name="T20" fmla="*/ 6529 w 10417"/>
                <a:gd name="T21" fmla="*/ 1434 h 3171"/>
                <a:gd name="T22" fmla="*/ 6529 w 10417"/>
                <a:gd name="T23" fmla="*/ 1434 h 3171"/>
                <a:gd name="T24" fmla="*/ 10416 w 10417"/>
                <a:gd name="T25" fmla="*/ 1152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17" h="3171">
                  <a:moveTo>
                    <a:pt x="10416" y="1152"/>
                  </a:moveTo>
                  <a:lnTo>
                    <a:pt x="10416" y="2888"/>
                  </a:lnTo>
                  <a:lnTo>
                    <a:pt x="10416" y="2888"/>
                  </a:lnTo>
                  <a:cubicBezTo>
                    <a:pt x="9330" y="3065"/>
                    <a:pt x="7985" y="3170"/>
                    <a:pt x="6529" y="3170"/>
                  </a:cubicBezTo>
                  <a:lnTo>
                    <a:pt x="6529" y="3170"/>
                  </a:lnTo>
                  <a:cubicBezTo>
                    <a:pt x="2924" y="3170"/>
                    <a:pt x="0" y="2528"/>
                    <a:pt x="0" y="1735"/>
                  </a:cubicBezTo>
                  <a:lnTo>
                    <a:pt x="0" y="0"/>
                  </a:lnTo>
                  <a:lnTo>
                    <a:pt x="0" y="0"/>
                  </a:lnTo>
                  <a:cubicBezTo>
                    <a:pt x="0" y="327"/>
                    <a:pt x="497" y="628"/>
                    <a:pt x="1334" y="868"/>
                  </a:cubicBezTo>
                  <a:lnTo>
                    <a:pt x="1334" y="868"/>
                  </a:lnTo>
                  <a:cubicBezTo>
                    <a:pt x="2526" y="1212"/>
                    <a:pt x="4409" y="1434"/>
                    <a:pt x="6529" y="1434"/>
                  </a:cubicBezTo>
                  <a:lnTo>
                    <a:pt x="6529" y="1434"/>
                  </a:lnTo>
                  <a:cubicBezTo>
                    <a:pt x="7986" y="1434"/>
                    <a:pt x="9330" y="1329"/>
                    <a:pt x="10416" y="1152"/>
                  </a:cubicBezTo>
                </a:path>
              </a:pathLst>
            </a:custGeom>
            <a:solidFill>
              <a:schemeClr val="accent3"/>
            </a:solidFill>
            <a:ln>
              <a:noFill/>
            </a:ln>
            <a:effectLst/>
          </p:spPr>
          <p:txBody>
            <a:bodyPr wrap="none" anchor="ctr"/>
            <a:lstStyle/>
            <a:p>
              <a:endParaRPr lang="en-US" sz="3266">
                <a:latin typeface="Lato Light" panose="020F0502020204030203" pitchFamily="34" charset="0"/>
              </a:endParaRPr>
            </a:p>
          </p:txBody>
        </p:sp>
        <p:sp>
          <p:nvSpPr>
            <p:cNvPr id="28" name="Freeform 1">
              <a:extLst>
                <a:ext uri="{FF2B5EF4-FFF2-40B4-BE49-F238E27FC236}">
                  <a16:creationId xmlns:a16="http://schemas.microsoft.com/office/drawing/2014/main" id="{37CFE842-305B-46D1-8CAE-8D178F010061}"/>
                </a:ext>
              </a:extLst>
            </p:cNvPr>
            <p:cNvSpPr>
              <a:spLocks noChangeArrowheads="1"/>
            </p:cNvSpPr>
            <p:nvPr/>
          </p:nvSpPr>
          <p:spPr bwMode="auto">
            <a:xfrm>
              <a:off x="6398442" y="2995835"/>
              <a:ext cx="1985822" cy="983177"/>
            </a:xfrm>
            <a:custGeom>
              <a:avLst/>
              <a:gdLst>
                <a:gd name="T0" fmla="*/ 4499 w 4500"/>
                <a:gd name="T1" fmla="*/ 0 h 2228"/>
                <a:gd name="T2" fmla="*/ 4499 w 4500"/>
                <a:gd name="T3" fmla="*/ 0 h 2228"/>
                <a:gd name="T4" fmla="*/ 1314 w 4500"/>
                <a:gd name="T5" fmla="*/ 2227 h 2228"/>
                <a:gd name="T6" fmla="*/ 1314 w 4500"/>
                <a:gd name="T7" fmla="*/ 2227 h 2228"/>
                <a:gd name="T8" fmla="*/ 0 w 4500"/>
                <a:gd name="T9" fmla="*/ 1364 h 2228"/>
                <a:gd name="T10" fmla="*/ 0 w 4500"/>
                <a:gd name="T11" fmla="*/ 1364 h 2228"/>
                <a:gd name="T12" fmla="*/ 4499 w 4500"/>
                <a:gd name="T13" fmla="*/ 0 h 2228"/>
              </a:gdLst>
              <a:ahLst/>
              <a:cxnLst>
                <a:cxn ang="0">
                  <a:pos x="T0" y="T1"/>
                </a:cxn>
                <a:cxn ang="0">
                  <a:pos x="T2" y="T3"/>
                </a:cxn>
                <a:cxn ang="0">
                  <a:pos x="T4" y="T5"/>
                </a:cxn>
                <a:cxn ang="0">
                  <a:pos x="T6" y="T7"/>
                </a:cxn>
                <a:cxn ang="0">
                  <a:pos x="T8" y="T9"/>
                </a:cxn>
                <a:cxn ang="0">
                  <a:pos x="T10" y="T11"/>
                </a:cxn>
                <a:cxn ang="0">
                  <a:pos x="T12" y="T13"/>
                </a:cxn>
              </a:cxnLst>
              <a:rect l="0" t="0" r="r" b="b"/>
              <a:pathLst>
                <a:path w="4500" h="2228">
                  <a:moveTo>
                    <a:pt x="4499" y="0"/>
                  </a:moveTo>
                  <a:lnTo>
                    <a:pt x="4499" y="0"/>
                  </a:lnTo>
                  <a:cubicBezTo>
                    <a:pt x="3580" y="425"/>
                    <a:pt x="2013" y="1253"/>
                    <a:pt x="1314" y="2227"/>
                  </a:cubicBezTo>
                  <a:lnTo>
                    <a:pt x="1314" y="2227"/>
                  </a:lnTo>
                  <a:cubicBezTo>
                    <a:pt x="489" y="1988"/>
                    <a:pt x="0" y="1689"/>
                    <a:pt x="0" y="1364"/>
                  </a:cubicBezTo>
                  <a:lnTo>
                    <a:pt x="0" y="1364"/>
                  </a:lnTo>
                  <a:cubicBezTo>
                    <a:pt x="0" y="727"/>
                    <a:pt x="1888" y="188"/>
                    <a:pt x="4499" y="0"/>
                  </a:cubicBezTo>
                </a:path>
              </a:pathLst>
            </a:custGeom>
            <a:solidFill>
              <a:schemeClr val="accent5">
                <a:lumMod val="75000"/>
              </a:schemeClr>
            </a:solidFill>
            <a:ln>
              <a:noFill/>
            </a:ln>
            <a:effectLst/>
          </p:spPr>
          <p:txBody>
            <a:bodyPr wrap="none" anchor="ctr"/>
            <a:lstStyle/>
            <a:p>
              <a:endParaRPr lang="en-US" sz="3266">
                <a:latin typeface="Lato Light" panose="020F0502020204030203" pitchFamily="34" charset="0"/>
              </a:endParaRPr>
            </a:p>
          </p:txBody>
        </p:sp>
        <p:sp>
          <p:nvSpPr>
            <p:cNvPr id="29" name="Freeform 2">
              <a:extLst>
                <a:ext uri="{FF2B5EF4-FFF2-40B4-BE49-F238E27FC236}">
                  <a16:creationId xmlns:a16="http://schemas.microsoft.com/office/drawing/2014/main" id="{8049CE8C-A055-4B0A-8704-B791A2BFA3F8}"/>
                </a:ext>
              </a:extLst>
            </p:cNvPr>
            <p:cNvSpPr>
              <a:spLocks noChangeArrowheads="1"/>
            </p:cNvSpPr>
            <p:nvPr/>
          </p:nvSpPr>
          <p:spPr bwMode="auto">
            <a:xfrm>
              <a:off x="6398442" y="4298299"/>
              <a:ext cx="1985822" cy="983178"/>
            </a:xfrm>
            <a:custGeom>
              <a:avLst/>
              <a:gdLst>
                <a:gd name="T0" fmla="*/ 4499 w 4500"/>
                <a:gd name="T1" fmla="*/ 0 h 2227"/>
                <a:gd name="T2" fmla="*/ 4499 w 4500"/>
                <a:gd name="T3" fmla="*/ 0 h 2227"/>
                <a:gd name="T4" fmla="*/ 1314 w 4500"/>
                <a:gd name="T5" fmla="*/ 2226 h 2227"/>
                <a:gd name="T6" fmla="*/ 1314 w 4500"/>
                <a:gd name="T7" fmla="*/ 2226 h 2227"/>
                <a:gd name="T8" fmla="*/ 0 w 4500"/>
                <a:gd name="T9" fmla="*/ 1364 h 2227"/>
                <a:gd name="T10" fmla="*/ 0 w 4500"/>
                <a:gd name="T11" fmla="*/ 1364 h 2227"/>
                <a:gd name="T12" fmla="*/ 4499 w 4500"/>
                <a:gd name="T13" fmla="*/ 0 h 2227"/>
              </a:gdLst>
              <a:ahLst/>
              <a:cxnLst>
                <a:cxn ang="0">
                  <a:pos x="T0" y="T1"/>
                </a:cxn>
                <a:cxn ang="0">
                  <a:pos x="T2" y="T3"/>
                </a:cxn>
                <a:cxn ang="0">
                  <a:pos x="T4" y="T5"/>
                </a:cxn>
                <a:cxn ang="0">
                  <a:pos x="T6" y="T7"/>
                </a:cxn>
                <a:cxn ang="0">
                  <a:pos x="T8" y="T9"/>
                </a:cxn>
                <a:cxn ang="0">
                  <a:pos x="T10" y="T11"/>
                </a:cxn>
                <a:cxn ang="0">
                  <a:pos x="T12" y="T13"/>
                </a:cxn>
              </a:cxnLst>
              <a:rect l="0" t="0" r="r" b="b"/>
              <a:pathLst>
                <a:path w="4500" h="2227">
                  <a:moveTo>
                    <a:pt x="4499" y="0"/>
                  </a:moveTo>
                  <a:lnTo>
                    <a:pt x="4499" y="0"/>
                  </a:lnTo>
                  <a:cubicBezTo>
                    <a:pt x="3580" y="425"/>
                    <a:pt x="2013" y="1253"/>
                    <a:pt x="1314" y="2226"/>
                  </a:cubicBezTo>
                  <a:lnTo>
                    <a:pt x="1314" y="2226"/>
                  </a:lnTo>
                  <a:cubicBezTo>
                    <a:pt x="489" y="1987"/>
                    <a:pt x="0" y="1688"/>
                    <a:pt x="0" y="1364"/>
                  </a:cubicBezTo>
                  <a:lnTo>
                    <a:pt x="0" y="1364"/>
                  </a:lnTo>
                  <a:cubicBezTo>
                    <a:pt x="0" y="727"/>
                    <a:pt x="1888" y="187"/>
                    <a:pt x="4499" y="0"/>
                  </a:cubicBezTo>
                </a:path>
              </a:pathLst>
            </a:custGeom>
            <a:solidFill>
              <a:schemeClr val="accent6">
                <a:lumMod val="75000"/>
              </a:schemeClr>
            </a:solidFill>
            <a:ln>
              <a:noFill/>
            </a:ln>
            <a:effectLst/>
          </p:spPr>
          <p:txBody>
            <a:bodyPr wrap="none" anchor="ctr"/>
            <a:lstStyle/>
            <a:p>
              <a:endParaRPr lang="en-US" sz="3266">
                <a:latin typeface="Lato Light" panose="020F0502020204030203" pitchFamily="34" charset="0"/>
              </a:endParaRPr>
            </a:p>
          </p:txBody>
        </p:sp>
        <p:sp>
          <p:nvSpPr>
            <p:cNvPr id="30" name="Freeform 3">
              <a:extLst>
                <a:ext uri="{FF2B5EF4-FFF2-40B4-BE49-F238E27FC236}">
                  <a16:creationId xmlns:a16="http://schemas.microsoft.com/office/drawing/2014/main" id="{E960604F-4A62-46A0-8E3D-D4BB305AF487}"/>
                </a:ext>
              </a:extLst>
            </p:cNvPr>
            <p:cNvSpPr>
              <a:spLocks noChangeArrowheads="1"/>
            </p:cNvSpPr>
            <p:nvPr/>
          </p:nvSpPr>
          <p:spPr bwMode="auto">
            <a:xfrm>
              <a:off x="6398443" y="2296902"/>
              <a:ext cx="4598542" cy="1399811"/>
            </a:xfrm>
            <a:custGeom>
              <a:avLst/>
              <a:gdLst>
                <a:gd name="T0" fmla="*/ 10416 w 10417"/>
                <a:gd name="T1" fmla="*/ 1153 h 3171"/>
                <a:gd name="T2" fmla="*/ 10416 w 10417"/>
                <a:gd name="T3" fmla="*/ 2889 h 3171"/>
                <a:gd name="T4" fmla="*/ 10416 w 10417"/>
                <a:gd name="T5" fmla="*/ 2889 h 3171"/>
                <a:gd name="T6" fmla="*/ 6529 w 10417"/>
                <a:gd name="T7" fmla="*/ 3170 h 3171"/>
                <a:gd name="T8" fmla="*/ 6529 w 10417"/>
                <a:gd name="T9" fmla="*/ 3170 h 3171"/>
                <a:gd name="T10" fmla="*/ 0 w 10417"/>
                <a:gd name="T11" fmla="*/ 1736 h 3171"/>
                <a:gd name="T12" fmla="*/ 0 w 10417"/>
                <a:gd name="T13" fmla="*/ 0 h 3171"/>
                <a:gd name="T14" fmla="*/ 0 w 10417"/>
                <a:gd name="T15" fmla="*/ 0 h 3171"/>
                <a:gd name="T16" fmla="*/ 1334 w 10417"/>
                <a:gd name="T17" fmla="*/ 869 h 3171"/>
                <a:gd name="T18" fmla="*/ 1334 w 10417"/>
                <a:gd name="T19" fmla="*/ 869 h 3171"/>
                <a:gd name="T20" fmla="*/ 6529 w 10417"/>
                <a:gd name="T21" fmla="*/ 1435 h 3171"/>
                <a:gd name="T22" fmla="*/ 6529 w 10417"/>
                <a:gd name="T23" fmla="*/ 1435 h 3171"/>
                <a:gd name="T24" fmla="*/ 10416 w 10417"/>
                <a:gd name="T25" fmla="*/ 1153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17" h="3171">
                  <a:moveTo>
                    <a:pt x="10416" y="1153"/>
                  </a:moveTo>
                  <a:lnTo>
                    <a:pt x="10416" y="2889"/>
                  </a:lnTo>
                  <a:lnTo>
                    <a:pt x="10416" y="2889"/>
                  </a:lnTo>
                  <a:cubicBezTo>
                    <a:pt x="9330" y="3065"/>
                    <a:pt x="7985" y="3170"/>
                    <a:pt x="6529" y="3170"/>
                  </a:cubicBezTo>
                  <a:lnTo>
                    <a:pt x="6529" y="3170"/>
                  </a:lnTo>
                  <a:cubicBezTo>
                    <a:pt x="2924" y="3170"/>
                    <a:pt x="0" y="2528"/>
                    <a:pt x="0" y="1736"/>
                  </a:cubicBezTo>
                  <a:lnTo>
                    <a:pt x="0" y="0"/>
                  </a:lnTo>
                  <a:lnTo>
                    <a:pt x="0" y="0"/>
                  </a:lnTo>
                  <a:cubicBezTo>
                    <a:pt x="0" y="327"/>
                    <a:pt x="497" y="628"/>
                    <a:pt x="1334" y="869"/>
                  </a:cubicBezTo>
                  <a:lnTo>
                    <a:pt x="1334" y="869"/>
                  </a:lnTo>
                  <a:cubicBezTo>
                    <a:pt x="2526" y="1213"/>
                    <a:pt x="4409" y="1435"/>
                    <a:pt x="6529" y="1435"/>
                  </a:cubicBezTo>
                  <a:lnTo>
                    <a:pt x="6529" y="1435"/>
                  </a:lnTo>
                  <a:cubicBezTo>
                    <a:pt x="7986" y="1435"/>
                    <a:pt x="9330" y="1330"/>
                    <a:pt x="10416" y="1153"/>
                  </a:cubicBezTo>
                </a:path>
              </a:pathLst>
            </a:custGeom>
            <a:solidFill>
              <a:schemeClr val="accent4"/>
            </a:solidFill>
            <a:ln>
              <a:noFill/>
            </a:ln>
            <a:effectLst/>
          </p:spPr>
          <p:txBody>
            <a:bodyPr wrap="none" anchor="ctr"/>
            <a:lstStyle/>
            <a:p>
              <a:endParaRPr lang="en-US" sz="3266">
                <a:latin typeface="Lato Light" panose="020F0502020204030203" pitchFamily="34" charset="0"/>
              </a:endParaRPr>
            </a:p>
          </p:txBody>
        </p:sp>
        <p:sp>
          <p:nvSpPr>
            <p:cNvPr id="31" name="Freeform 4">
              <a:extLst>
                <a:ext uri="{FF2B5EF4-FFF2-40B4-BE49-F238E27FC236}">
                  <a16:creationId xmlns:a16="http://schemas.microsoft.com/office/drawing/2014/main" id="{C5DFBD84-E171-4A63-99B2-D29F1426E05B}"/>
                </a:ext>
              </a:extLst>
            </p:cNvPr>
            <p:cNvSpPr>
              <a:spLocks noChangeArrowheads="1"/>
            </p:cNvSpPr>
            <p:nvPr/>
          </p:nvSpPr>
          <p:spPr bwMode="auto">
            <a:xfrm>
              <a:off x="6398442" y="1695316"/>
              <a:ext cx="1985822" cy="983177"/>
            </a:xfrm>
            <a:custGeom>
              <a:avLst/>
              <a:gdLst>
                <a:gd name="T0" fmla="*/ 4499 w 4500"/>
                <a:gd name="T1" fmla="*/ 0 h 2227"/>
                <a:gd name="T2" fmla="*/ 4499 w 4500"/>
                <a:gd name="T3" fmla="*/ 0 h 2227"/>
                <a:gd name="T4" fmla="*/ 1314 w 4500"/>
                <a:gd name="T5" fmla="*/ 2226 h 2227"/>
                <a:gd name="T6" fmla="*/ 1314 w 4500"/>
                <a:gd name="T7" fmla="*/ 2226 h 2227"/>
                <a:gd name="T8" fmla="*/ 0 w 4500"/>
                <a:gd name="T9" fmla="*/ 1363 h 2227"/>
                <a:gd name="T10" fmla="*/ 0 w 4500"/>
                <a:gd name="T11" fmla="*/ 1363 h 2227"/>
                <a:gd name="T12" fmla="*/ 4499 w 4500"/>
                <a:gd name="T13" fmla="*/ 0 h 2227"/>
              </a:gdLst>
              <a:ahLst/>
              <a:cxnLst>
                <a:cxn ang="0">
                  <a:pos x="T0" y="T1"/>
                </a:cxn>
                <a:cxn ang="0">
                  <a:pos x="T2" y="T3"/>
                </a:cxn>
                <a:cxn ang="0">
                  <a:pos x="T4" y="T5"/>
                </a:cxn>
                <a:cxn ang="0">
                  <a:pos x="T6" y="T7"/>
                </a:cxn>
                <a:cxn ang="0">
                  <a:pos x="T8" y="T9"/>
                </a:cxn>
                <a:cxn ang="0">
                  <a:pos x="T10" y="T11"/>
                </a:cxn>
                <a:cxn ang="0">
                  <a:pos x="T12" y="T13"/>
                </a:cxn>
              </a:cxnLst>
              <a:rect l="0" t="0" r="r" b="b"/>
              <a:pathLst>
                <a:path w="4500" h="2227">
                  <a:moveTo>
                    <a:pt x="4499" y="0"/>
                  </a:moveTo>
                  <a:lnTo>
                    <a:pt x="4499" y="0"/>
                  </a:lnTo>
                  <a:cubicBezTo>
                    <a:pt x="3580" y="425"/>
                    <a:pt x="2013" y="1252"/>
                    <a:pt x="1314" y="2226"/>
                  </a:cubicBezTo>
                  <a:lnTo>
                    <a:pt x="1314" y="2226"/>
                  </a:lnTo>
                  <a:cubicBezTo>
                    <a:pt x="489" y="1987"/>
                    <a:pt x="0" y="1688"/>
                    <a:pt x="0" y="1363"/>
                  </a:cubicBezTo>
                  <a:lnTo>
                    <a:pt x="0" y="1363"/>
                  </a:lnTo>
                  <a:cubicBezTo>
                    <a:pt x="0" y="727"/>
                    <a:pt x="1888" y="186"/>
                    <a:pt x="4499" y="0"/>
                  </a:cubicBezTo>
                </a:path>
              </a:pathLst>
            </a:custGeom>
            <a:solidFill>
              <a:schemeClr val="accent4">
                <a:lumMod val="75000"/>
              </a:schemeClr>
            </a:solidFill>
            <a:ln>
              <a:noFill/>
            </a:ln>
            <a:effectLst/>
          </p:spPr>
          <p:txBody>
            <a:bodyPr wrap="none" anchor="ctr"/>
            <a:lstStyle/>
            <a:p>
              <a:endParaRPr lang="en-US" sz="3266">
                <a:latin typeface="Lato Light" panose="020F0502020204030203" pitchFamily="34" charset="0"/>
              </a:endParaRPr>
            </a:p>
          </p:txBody>
        </p:sp>
        <p:sp>
          <p:nvSpPr>
            <p:cNvPr id="32" name="Freeform 5">
              <a:extLst>
                <a:ext uri="{FF2B5EF4-FFF2-40B4-BE49-F238E27FC236}">
                  <a16:creationId xmlns:a16="http://schemas.microsoft.com/office/drawing/2014/main" id="{5EEEC76B-C04C-49D2-A674-2796809CB231}"/>
                </a:ext>
              </a:extLst>
            </p:cNvPr>
            <p:cNvSpPr>
              <a:spLocks noChangeArrowheads="1"/>
            </p:cNvSpPr>
            <p:nvPr/>
          </p:nvSpPr>
          <p:spPr bwMode="auto">
            <a:xfrm>
              <a:off x="6398443" y="3597421"/>
              <a:ext cx="4598542" cy="1399811"/>
            </a:xfrm>
            <a:custGeom>
              <a:avLst/>
              <a:gdLst>
                <a:gd name="T0" fmla="*/ 10416 w 10417"/>
                <a:gd name="T1" fmla="*/ 1151 h 3171"/>
                <a:gd name="T2" fmla="*/ 10416 w 10417"/>
                <a:gd name="T3" fmla="*/ 2888 h 3171"/>
                <a:gd name="T4" fmla="*/ 10416 w 10417"/>
                <a:gd name="T5" fmla="*/ 2888 h 3171"/>
                <a:gd name="T6" fmla="*/ 6529 w 10417"/>
                <a:gd name="T7" fmla="*/ 3170 h 3171"/>
                <a:gd name="T8" fmla="*/ 6529 w 10417"/>
                <a:gd name="T9" fmla="*/ 3170 h 3171"/>
                <a:gd name="T10" fmla="*/ 0 w 10417"/>
                <a:gd name="T11" fmla="*/ 1735 h 3171"/>
                <a:gd name="T12" fmla="*/ 0 w 10417"/>
                <a:gd name="T13" fmla="*/ 0 h 3171"/>
                <a:gd name="T14" fmla="*/ 0 w 10417"/>
                <a:gd name="T15" fmla="*/ 0 h 3171"/>
                <a:gd name="T16" fmla="*/ 1334 w 10417"/>
                <a:gd name="T17" fmla="*/ 868 h 3171"/>
                <a:gd name="T18" fmla="*/ 1334 w 10417"/>
                <a:gd name="T19" fmla="*/ 868 h 3171"/>
                <a:gd name="T20" fmla="*/ 6529 w 10417"/>
                <a:gd name="T21" fmla="*/ 1433 h 3171"/>
                <a:gd name="T22" fmla="*/ 6529 w 10417"/>
                <a:gd name="T23" fmla="*/ 1433 h 3171"/>
                <a:gd name="T24" fmla="*/ 10416 w 10417"/>
                <a:gd name="T25" fmla="*/ 1151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17" h="3171">
                  <a:moveTo>
                    <a:pt x="10416" y="1151"/>
                  </a:moveTo>
                  <a:lnTo>
                    <a:pt x="10416" y="2888"/>
                  </a:lnTo>
                  <a:lnTo>
                    <a:pt x="10416" y="2888"/>
                  </a:lnTo>
                  <a:cubicBezTo>
                    <a:pt x="9330" y="3064"/>
                    <a:pt x="7985" y="3170"/>
                    <a:pt x="6529" y="3170"/>
                  </a:cubicBezTo>
                  <a:lnTo>
                    <a:pt x="6529" y="3170"/>
                  </a:lnTo>
                  <a:cubicBezTo>
                    <a:pt x="2924" y="3170"/>
                    <a:pt x="0" y="2527"/>
                    <a:pt x="0" y="1735"/>
                  </a:cubicBezTo>
                  <a:lnTo>
                    <a:pt x="0" y="0"/>
                  </a:lnTo>
                  <a:lnTo>
                    <a:pt x="0" y="0"/>
                  </a:lnTo>
                  <a:cubicBezTo>
                    <a:pt x="0" y="327"/>
                    <a:pt x="497" y="629"/>
                    <a:pt x="1334" y="868"/>
                  </a:cubicBezTo>
                  <a:lnTo>
                    <a:pt x="1334" y="868"/>
                  </a:lnTo>
                  <a:cubicBezTo>
                    <a:pt x="2526" y="1211"/>
                    <a:pt x="4409" y="1433"/>
                    <a:pt x="6529" y="1433"/>
                  </a:cubicBezTo>
                  <a:lnTo>
                    <a:pt x="6529" y="1433"/>
                  </a:lnTo>
                  <a:cubicBezTo>
                    <a:pt x="7986" y="1433"/>
                    <a:pt x="9330" y="1328"/>
                    <a:pt x="10416" y="1151"/>
                  </a:cubicBezTo>
                </a:path>
              </a:pathLst>
            </a:custGeom>
            <a:solidFill>
              <a:schemeClr val="accent5"/>
            </a:solidFill>
            <a:ln>
              <a:noFill/>
            </a:ln>
            <a:effectLst/>
          </p:spPr>
          <p:txBody>
            <a:bodyPr wrap="none" anchor="ctr"/>
            <a:lstStyle/>
            <a:p>
              <a:endParaRPr lang="en-US" sz="3266">
                <a:latin typeface="Lato Light" panose="020F0502020204030203" pitchFamily="34" charset="0"/>
              </a:endParaRPr>
            </a:p>
          </p:txBody>
        </p:sp>
        <p:sp>
          <p:nvSpPr>
            <p:cNvPr id="33" name="Freeform 6">
              <a:extLst>
                <a:ext uri="{FF2B5EF4-FFF2-40B4-BE49-F238E27FC236}">
                  <a16:creationId xmlns:a16="http://schemas.microsoft.com/office/drawing/2014/main" id="{502486BE-A67F-40C5-8474-E88E3211AA5F}"/>
                </a:ext>
              </a:extLst>
            </p:cNvPr>
            <p:cNvSpPr>
              <a:spLocks noChangeArrowheads="1"/>
            </p:cNvSpPr>
            <p:nvPr/>
          </p:nvSpPr>
          <p:spPr bwMode="auto">
            <a:xfrm>
              <a:off x="6398443" y="4899887"/>
              <a:ext cx="4598542" cy="1399810"/>
            </a:xfrm>
            <a:custGeom>
              <a:avLst/>
              <a:gdLst>
                <a:gd name="T0" fmla="*/ 10416 w 10417"/>
                <a:gd name="T1" fmla="*/ 1152 h 3171"/>
                <a:gd name="T2" fmla="*/ 10416 w 10417"/>
                <a:gd name="T3" fmla="*/ 2888 h 3171"/>
                <a:gd name="T4" fmla="*/ 10416 w 10417"/>
                <a:gd name="T5" fmla="*/ 2888 h 3171"/>
                <a:gd name="T6" fmla="*/ 6529 w 10417"/>
                <a:gd name="T7" fmla="*/ 3170 h 3171"/>
                <a:gd name="T8" fmla="*/ 6529 w 10417"/>
                <a:gd name="T9" fmla="*/ 3170 h 3171"/>
                <a:gd name="T10" fmla="*/ 0 w 10417"/>
                <a:gd name="T11" fmla="*/ 1735 h 3171"/>
                <a:gd name="T12" fmla="*/ 0 w 10417"/>
                <a:gd name="T13" fmla="*/ 0 h 3171"/>
                <a:gd name="T14" fmla="*/ 0 w 10417"/>
                <a:gd name="T15" fmla="*/ 0 h 3171"/>
                <a:gd name="T16" fmla="*/ 1334 w 10417"/>
                <a:gd name="T17" fmla="*/ 868 h 3171"/>
                <a:gd name="T18" fmla="*/ 1334 w 10417"/>
                <a:gd name="T19" fmla="*/ 868 h 3171"/>
                <a:gd name="T20" fmla="*/ 6529 w 10417"/>
                <a:gd name="T21" fmla="*/ 1434 h 3171"/>
                <a:gd name="T22" fmla="*/ 6529 w 10417"/>
                <a:gd name="T23" fmla="*/ 1434 h 3171"/>
                <a:gd name="T24" fmla="*/ 10416 w 10417"/>
                <a:gd name="T25" fmla="*/ 1152 h 3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17" h="3171">
                  <a:moveTo>
                    <a:pt x="10416" y="1152"/>
                  </a:moveTo>
                  <a:lnTo>
                    <a:pt x="10416" y="2888"/>
                  </a:lnTo>
                  <a:lnTo>
                    <a:pt x="10416" y="2888"/>
                  </a:lnTo>
                  <a:cubicBezTo>
                    <a:pt x="9330" y="3065"/>
                    <a:pt x="7985" y="3170"/>
                    <a:pt x="6529" y="3170"/>
                  </a:cubicBezTo>
                  <a:lnTo>
                    <a:pt x="6529" y="3170"/>
                  </a:lnTo>
                  <a:cubicBezTo>
                    <a:pt x="2924" y="3170"/>
                    <a:pt x="0" y="2528"/>
                    <a:pt x="0" y="1735"/>
                  </a:cubicBezTo>
                  <a:lnTo>
                    <a:pt x="0" y="0"/>
                  </a:lnTo>
                  <a:lnTo>
                    <a:pt x="0" y="0"/>
                  </a:lnTo>
                  <a:cubicBezTo>
                    <a:pt x="0" y="327"/>
                    <a:pt x="497" y="628"/>
                    <a:pt x="1334" y="868"/>
                  </a:cubicBezTo>
                  <a:lnTo>
                    <a:pt x="1334" y="868"/>
                  </a:lnTo>
                  <a:cubicBezTo>
                    <a:pt x="2526" y="1212"/>
                    <a:pt x="4409" y="1434"/>
                    <a:pt x="6529" y="1434"/>
                  </a:cubicBezTo>
                  <a:lnTo>
                    <a:pt x="6529" y="1434"/>
                  </a:lnTo>
                  <a:cubicBezTo>
                    <a:pt x="7986" y="1434"/>
                    <a:pt x="9330" y="1329"/>
                    <a:pt x="10416" y="1152"/>
                  </a:cubicBezTo>
                </a:path>
              </a:pathLst>
            </a:custGeom>
            <a:solidFill>
              <a:schemeClr val="accent6"/>
            </a:solidFill>
            <a:ln>
              <a:noFill/>
            </a:ln>
            <a:effectLst/>
          </p:spPr>
          <p:txBody>
            <a:bodyPr wrap="none" anchor="ctr"/>
            <a:lstStyle/>
            <a:p>
              <a:endParaRPr lang="en-US" sz="3266">
                <a:latin typeface="Lato Light" panose="020F0502020204030203" pitchFamily="34" charset="0"/>
              </a:endParaRPr>
            </a:p>
          </p:txBody>
        </p:sp>
        <p:sp>
          <p:nvSpPr>
            <p:cNvPr id="34" name="TextBox 18">
              <a:extLst>
                <a:ext uri="{FF2B5EF4-FFF2-40B4-BE49-F238E27FC236}">
                  <a16:creationId xmlns:a16="http://schemas.microsoft.com/office/drawing/2014/main" id="{6368EFBA-A606-482D-BF4A-46BA25F1CF2F}"/>
                </a:ext>
              </a:extLst>
            </p:cNvPr>
            <p:cNvSpPr txBox="1"/>
            <p:nvPr/>
          </p:nvSpPr>
          <p:spPr>
            <a:xfrm>
              <a:off x="2939718" y="3116756"/>
              <a:ext cx="1087124" cy="359744"/>
            </a:xfrm>
            <a:prstGeom prst="rect">
              <a:avLst/>
            </a:prstGeom>
            <a:noFill/>
          </p:spPr>
          <p:txBody>
            <a:bodyPr wrap="none" rtlCol="0" anchor="ctr" anchorCtr="0">
              <a:spAutoFit/>
            </a:bodyPr>
            <a:lstStyle/>
            <a:p>
              <a:pPr algn="ctr"/>
              <a:r>
                <a:rPr lang="en-US" sz="1400" b="1">
                  <a:solidFill>
                    <a:schemeClr val="bg1"/>
                  </a:solidFill>
                  <a:latin typeface="Poppins" pitchFamily="2" charset="77"/>
                  <a:ea typeface="League Spartan" charset="0"/>
                  <a:cs typeface="Poppins" pitchFamily="2" charset="77"/>
                </a:rPr>
                <a:t>SCRUM</a:t>
              </a:r>
            </a:p>
          </p:txBody>
        </p:sp>
        <p:sp>
          <p:nvSpPr>
            <p:cNvPr id="35" name="TextBox 19">
              <a:extLst>
                <a:ext uri="{FF2B5EF4-FFF2-40B4-BE49-F238E27FC236}">
                  <a16:creationId xmlns:a16="http://schemas.microsoft.com/office/drawing/2014/main" id="{E1712E36-0783-4898-9B7A-D8C259FFF96D}"/>
                </a:ext>
              </a:extLst>
            </p:cNvPr>
            <p:cNvSpPr txBox="1"/>
            <p:nvPr/>
          </p:nvSpPr>
          <p:spPr>
            <a:xfrm>
              <a:off x="3071412" y="4400727"/>
              <a:ext cx="823741" cy="359744"/>
            </a:xfrm>
            <a:prstGeom prst="rect">
              <a:avLst/>
            </a:prstGeom>
            <a:noFill/>
          </p:spPr>
          <p:txBody>
            <a:bodyPr wrap="none" lIns="91440" tIns="45720" rIns="91440" bIns="45720" rtlCol="0" anchor="ctr" anchorCtr="0">
              <a:spAutoFit/>
            </a:bodyPr>
            <a:lstStyle/>
            <a:p>
              <a:pPr algn="ctr"/>
              <a:r>
                <a:rPr lang="en-US" sz="1400" b="1">
                  <a:solidFill>
                    <a:schemeClr val="bg1"/>
                  </a:solidFill>
                  <a:latin typeface="Poppins"/>
                  <a:cs typeface="Poppins"/>
                </a:rPr>
                <a:t>SAFe</a:t>
              </a:r>
              <a:endParaRPr lang="da-DK"/>
            </a:p>
          </p:txBody>
        </p:sp>
        <p:sp>
          <p:nvSpPr>
            <p:cNvPr id="36" name="TextBox 20">
              <a:extLst>
                <a:ext uri="{FF2B5EF4-FFF2-40B4-BE49-F238E27FC236}">
                  <a16:creationId xmlns:a16="http://schemas.microsoft.com/office/drawing/2014/main" id="{17A12DE7-A37B-481D-9B3A-BF4C42A38EA3}"/>
                </a:ext>
              </a:extLst>
            </p:cNvPr>
            <p:cNvSpPr txBox="1"/>
            <p:nvPr/>
          </p:nvSpPr>
          <p:spPr>
            <a:xfrm>
              <a:off x="1969155" y="5703193"/>
              <a:ext cx="3028265" cy="359744"/>
            </a:xfrm>
            <a:prstGeom prst="rect">
              <a:avLst/>
            </a:prstGeom>
            <a:noFill/>
          </p:spPr>
          <p:txBody>
            <a:bodyPr wrap="none" lIns="91440" tIns="45720" rIns="91440" bIns="45720" rtlCol="0" anchor="ctr" anchorCtr="0">
              <a:spAutoFit/>
            </a:bodyPr>
            <a:lstStyle/>
            <a:p>
              <a:pPr algn="ctr"/>
              <a:r>
                <a:rPr lang="en-US" sz="1400" b="1">
                  <a:solidFill>
                    <a:schemeClr val="bg1"/>
                  </a:solidFill>
                  <a:latin typeface="Poppins"/>
                  <a:cs typeface="Poppins"/>
                </a:rPr>
                <a:t>PROJECT MANAGEMENT</a:t>
              </a:r>
              <a:endParaRPr lang="da-DK">
                <a:solidFill>
                  <a:schemeClr val="bg1"/>
                </a:solidFill>
              </a:endParaRPr>
            </a:p>
          </p:txBody>
        </p:sp>
        <p:sp>
          <p:nvSpPr>
            <p:cNvPr id="37" name="TextBox 21">
              <a:extLst>
                <a:ext uri="{FF2B5EF4-FFF2-40B4-BE49-F238E27FC236}">
                  <a16:creationId xmlns:a16="http://schemas.microsoft.com/office/drawing/2014/main" id="{E14AF1C8-97BE-480F-93C4-7B241BCDCAA6}"/>
                </a:ext>
              </a:extLst>
            </p:cNvPr>
            <p:cNvSpPr txBox="1"/>
            <p:nvPr/>
          </p:nvSpPr>
          <p:spPr>
            <a:xfrm>
              <a:off x="7724632" y="2990847"/>
              <a:ext cx="1918744" cy="611564"/>
            </a:xfrm>
            <a:prstGeom prst="rect">
              <a:avLst/>
            </a:prstGeom>
            <a:noFill/>
          </p:spPr>
          <p:txBody>
            <a:bodyPr wrap="none" lIns="91440" tIns="45720" rIns="91440" bIns="45720" rtlCol="0" anchor="ctr" anchorCtr="0">
              <a:spAutoFit/>
            </a:bodyPr>
            <a:lstStyle/>
            <a:p>
              <a:pPr algn="ctr"/>
              <a:r>
                <a:rPr lang="en-US" sz="1400" b="1">
                  <a:solidFill>
                    <a:schemeClr val="bg1"/>
                  </a:solidFill>
                  <a:latin typeface="Poppins"/>
                  <a:ea typeface="League Spartan" charset="0"/>
                  <a:cs typeface="Poppins"/>
                </a:rPr>
                <a:t>TEST DRIVEN</a:t>
              </a:r>
            </a:p>
            <a:p>
              <a:pPr algn="ctr"/>
              <a:r>
                <a:rPr lang="en-US" sz="1400" b="1">
                  <a:solidFill>
                    <a:schemeClr val="bg1"/>
                  </a:solidFill>
                  <a:latin typeface="Poppins"/>
                  <a:ea typeface="League Spartan" charset="0"/>
                  <a:cs typeface="Poppins"/>
                </a:rPr>
                <a:t>DEVELOPMENT</a:t>
              </a:r>
            </a:p>
          </p:txBody>
        </p:sp>
        <p:sp>
          <p:nvSpPr>
            <p:cNvPr id="38" name="TextBox 22">
              <a:extLst>
                <a:ext uri="{FF2B5EF4-FFF2-40B4-BE49-F238E27FC236}">
                  <a16:creationId xmlns:a16="http://schemas.microsoft.com/office/drawing/2014/main" id="{6DA01832-4C77-4325-AD1A-4F4619BB1A40}"/>
                </a:ext>
              </a:extLst>
            </p:cNvPr>
            <p:cNvSpPr txBox="1"/>
            <p:nvPr/>
          </p:nvSpPr>
          <p:spPr>
            <a:xfrm>
              <a:off x="8248283" y="4400727"/>
              <a:ext cx="871440" cy="359744"/>
            </a:xfrm>
            <a:prstGeom prst="rect">
              <a:avLst/>
            </a:prstGeom>
            <a:noFill/>
          </p:spPr>
          <p:txBody>
            <a:bodyPr wrap="none" lIns="91440" tIns="45720" rIns="91440" bIns="45720" rtlCol="0" anchor="ctr" anchorCtr="0">
              <a:spAutoFit/>
            </a:bodyPr>
            <a:lstStyle/>
            <a:p>
              <a:pPr algn="ctr"/>
              <a:r>
                <a:rPr lang="en-US" sz="1400" b="1">
                  <a:solidFill>
                    <a:schemeClr val="bg1"/>
                  </a:solidFill>
                  <a:latin typeface="Poppins"/>
                  <a:ea typeface="League Spartan" charset="0"/>
                  <a:cs typeface="Poppins"/>
                </a:rPr>
                <a:t>LEAN </a:t>
              </a:r>
              <a:endParaRPr lang="da-DK">
                <a:solidFill>
                  <a:schemeClr val="bg1"/>
                </a:solidFill>
                <a:latin typeface="Poppins"/>
                <a:cs typeface="Poppins"/>
              </a:endParaRPr>
            </a:p>
          </p:txBody>
        </p:sp>
        <p:sp>
          <p:nvSpPr>
            <p:cNvPr id="39" name="TextBox 23">
              <a:extLst>
                <a:ext uri="{FF2B5EF4-FFF2-40B4-BE49-F238E27FC236}">
                  <a16:creationId xmlns:a16="http://schemas.microsoft.com/office/drawing/2014/main" id="{2A0C4BAA-45B8-4844-96BA-27CACC2670F1}"/>
                </a:ext>
              </a:extLst>
            </p:cNvPr>
            <p:cNvSpPr txBox="1"/>
            <p:nvPr/>
          </p:nvSpPr>
          <p:spPr>
            <a:xfrm>
              <a:off x="7361704" y="5577283"/>
              <a:ext cx="2644598" cy="611564"/>
            </a:xfrm>
            <a:prstGeom prst="rect">
              <a:avLst/>
            </a:prstGeom>
            <a:noFill/>
          </p:spPr>
          <p:txBody>
            <a:bodyPr wrap="none" rtlCol="0" anchor="ctr" anchorCtr="0">
              <a:spAutoFit/>
            </a:bodyPr>
            <a:lstStyle/>
            <a:p>
              <a:pPr algn="ctr"/>
              <a:r>
                <a:rPr lang="en-US" sz="1400" b="1">
                  <a:solidFill>
                    <a:schemeClr val="bg1"/>
                  </a:solidFill>
                  <a:latin typeface="Poppins" pitchFamily="2" charset="77"/>
                  <a:ea typeface="League Spartan" charset="0"/>
                  <a:cs typeface="Poppins" pitchFamily="2" charset="77"/>
                </a:rPr>
                <a:t>EXTREME</a:t>
              </a:r>
            </a:p>
            <a:p>
              <a:pPr algn="ctr"/>
              <a:r>
                <a:rPr lang="en-US" sz="1400" b="1">
                  <a:solidFill>
                    <a:schemeClr val="bg1"/>
                  </a:solidFill>
                  <a:latin typeface="Poppins" pitchFamily="2" charset="77"/>
                  <a:ea typeface="League Spartan" charset="0"/>
                  <a:cs typeface="Poppins" pitchFamily="2" charset="77"/>
                </a:rPr>
                <a:t>PROGRAMMING (XP)</a:t>
              </a:r>
            </a:p>
          </p:txBody>
        </p:sp>
      </p:grpSp>
      <p:sp>
        <p:nvSpPr>
          <p:cNvPr id="40" name="Tekstfelt 39">
            <a:extLst>
              <a:ext uri="{FF2B5EF4-FFF2-40B4-BE49-F238E27FC236}">
                <a16:creationId xmlns:a16="http://schemas.microsoft.com/office/drawing/2014/main" id="{33E72236-582E-4802-898E-B0D4E872A160}"/>
              </a:ext>
            </a:extLst>
          </p:cNvPr>
          <p:cNvSpPr txBox="1"/>
          <p:nvPr/>
        </p:nvSpPr>
        <p:spPr>
          <a:xfrm>
            <a:off x="457191" y="520257"/>
            <a:ext cx="3999493"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Agile </a:t>
            </a:r>
            <a:r>
              <a:rPr lang="en-GB" sz="3200" b="1">
                <a:solidFill>
                  <a:srgbClr val="2466B0"/>
                </a:solidFill>
                <a:latin typeface="Academy Sans Office" panose="020B0503030000000000" pitchFamily="34" charset="0"/>
              </a:rPr>
              <a:t>Methodologies</a:t>
            </a:r>
            <a:endParaRPr lang="da-DK" sz="3200" b="1">
              <a:solidFill>
                <a:srgbClr val="2466B0"/>
              </a:solidFill>
              <a:latin typeface="Academy Sans" panose="020B0503030000000000" pitchFamily="34" charset="0"/>
            </a:endParaRPr>
          </a:p>
        </p:txBody>
      </p:sp>
      <p:pic>
        <p:nvPicPr>
          <p:cNvPr id="42" name="Billede 41">
            <a:extLst>
              <a:ext uri="{FF2B5EF4-FFF2-40B4-BE49-F238E27FC236}">
                <a16:creationId xmlns:a16="http://schemas.microsoft.com/office/drawing/2014/main" id="{37B6497A-F5D7-4F8B-9C97-3F53F762B776}"/>
              </a:ext>
            </a:extLst>
          </p:cNvPr>
          <p:cNvPicPr>
            <a:picLocks noChangeAspect="1"/>
          </p:cNvPicPr>
          <p:nvPr/>
        </p:nvPicPr>
        <p:blipFill rotWithShape="1">
          <a:blip r:embed="rId2"/>
          <a:srcRect t="3372"/>
          <a:stretch/>
        </p:blipFill>
        <p:spPr>
          <a:xfrm flipH="1">
            <a:off x="8809999" y="4477658"/>
            <a:ext cx="3407908" cy="2417420"/>
          </a:xfrm>
          <a:prstGeom prst="rect">
            <a:avLst/>
          </a:prstGeom>
        </p:spPr>
      </p:pic>
      <mc:AlternateContent xmlns:mc="http://schemas.openxmlformats.org/markup-compatibility/2006">
        <mc:Choice xmlns:p14="http://schemas.microsoft.com/office/powerpoint/2010/main" Requires="p14">
          <p:contentPart p14:bwMode="auto" r:id="rId3">
            <p14:nvContentPartPr>
              <p14:cNvPr id="2" name="Håndskrift 1">
                <a:extLst>
                  <a:ext uri="{FF2B5EF4-FFF2-40B4-BE49-F238E27FC236}">
                    <a16:creationId xmlns:a16="http://schemas.microsoft.com/office/drawing/2014/main" id="{B76137CE-B6EC-4923-9A1B-CCD44F2865D2}"/>
                  </a:ext>
                </a:extLst>
              </p14:cNvPr>
              <p14:cNvContentPartPr/>
              <p14:nvPr/>
            </p14:nvContentPartPr>
            <p14:xfrm>
              <a:off x="1106280" y="2891520"/>
              <a:ext cx="6487920" cy="2808720"/>
            </p14:xfrm>
          </p:contentPart>
        </mc:Choice>
        <mc:Fallback>
          <p:pic>
            <p:nvPicPr>
              <p:cNvPr id="2" name="Håndskrift 1">
                <a:extLst>
                  <a:ext uri="{FF2B5EF4-FFF2-40B4-BE49-F238E27FC236}">
                    <a16:creationId xmlns:a16="http://schemas.microsoft.com/office/drawing/2014/main" id="{B76137CE-B6EC-4923-9A1B-CCD44F2865D2}"/>
                  </a:ext>
                </a:extLst>
              </p:cNvPr>
              <p:cNvPicPr/>
              <p:nvPr/>
            </p:nvPicPr>
            <p:blipFill>
              <a:blip r:embed="rId4"/>
              <a:stretch>
                <a:fillRect/>
              </a:stretch>
            </p:blipFill>
            <p:spPr>
              <a:xfrm>
                <a:off x="1096920" y="2882160"/>
                <a:ext cx="6506640" cy="2827440"/>
              </a:xfrm>
              <a:prstGeom prst="rect">
                <a:avLst/>
              </a:prstGeom>
            </p:spPr>
          </p:pic>
        </mc:Fallback>
      </mc:AlternateContent>
    </p:spTree>
    <p:extLst>
      <p:ext uri="{BB962C8B-B14F-4D97-AF65-F5344CB8AC3E}">
        <p14:creationId xmlns:p14="http://schemas.microsoft.com/office/powerpoint/2010/main" val="1725907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Фигура">
            <a:extLst>
              <a:ext uri="{FF2B5EF4-FFF2-40B4-BE49-F238E27FC236}">
                <a16:creationId xmlns:a16="http://schemas.microsoft.com/office/drawing/2014/main" id="{ECAA75E6-05E1-A540-AF9A-9AB5DD45068A}"/>
              </a:ext>
            </a:extLst>
          </p:cNvPr>
          <p:cNvSpPr>
            <a:spLocks/>
          </p:cNvSpPr>
          <p:nvPr/>
        </p:nvSpPr>
        <p:spPr bwMode="auto">
          <a:xfrm>
            <a:off x="3369195" y="1500626"/>
            <a:ext cx="2320886" cy="2704491"/>
          </a:xfrm>
          <a:custGeom>
            <a:avLst/>
            <a:gdLst>
              <a:gd name="T0" fmla="*/ 2320946 w 21600"/>
              <a:gd name="T1" fmla="*/ 2704549 h 21572"/>
              <a:gd name="T2" fmla="*/ 2320946 w 21600"/>
              <a:gd name="T3" fmla="*/ 2704549 h 21572"/>
              <a:gd name="T4" fmla="*/ 2320946 w 21600"/>
              <a:gd name="T5" fmla="*/ 2704549 h 21572"/>
              <a:gd name="T6" fmla="*/ 2320946 w 21600"/>
              <a:gd name="T7" fmla="*/ 2704549 h 21572"/>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572" extrusionOk="0">
                <a:moveTo>
                  <a:pt x="9470" y="18330"/>
                </a:moveTo>
                <a:cubicBezTo>
                  <a:pt x="9428" y="16437"/>
                  <a:pt x="8607" y="14617"/>
                  <a:pt x="7152" y="13192"/>
                </a:cubicBezTo>
                <a:cubicBezTo>
                  <a:pt x="5390" y="11466"/>
                  <a:pt x="2856" y="10460"/>
                  <a:pt x="180" y="10424"/>
                </a:cubicBezTo>
                <a:lnTo>
                  <a:pt x="3884" y="5192"/>
                </a:lnTo>
                <a:lnTo>
                  <a:pt x="0" y="0"/>
                </a:lnTo>
                <a:cubicBezTo>
                  <a:pt x="6148" y="-28"/>
                  <a:pt x="12016" y="2198"/>
                  <a:pt x="16125" y="6117"/>
                </a:cubicBezTo>
                <a:cubicBezTo>
                  <a:pt x="19645" y="9473"/>
                  <a:pt x="21594" y="13824"/>
                  <a:pt x="21600" y="18337"/>
                </a:cubicBezTo>
                <a:lnTo>
                  <a:pt x="15657" y="21572"/>
                </a:lnTo>
                <a:lnTo>
                  <a:pt x="9470" y="18330"/>
                </a:lnTo>
                <a:close/>
              </a:path>
            </a:pathLst>
          </a:custGeom>
          <a:solidFill>
            <a:schemeClr val="accent2"/>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US" sz="900"/>
          </a:p>
        </p:txBody>
      </p:sp>
      <p:sp>
        <p:nvSpPr>
          <p:cNvPr id="6" name="Фигура">
            <a:extLst>
              <a:ext uri="{FF2B5EF4-FFF2-40B4-BE49-F238E27FC236}">
                <a16:creationId xmlns:a16="http://schemas.microsoft.com/office/drawing/2014/main" id="{4862C5BB-4916-8649-B3D8-31E682818AA1}"/>
              </a:ext>
            </a:extLst>
          </p:cNvPr>
          <p:cNvSpPr>
            <a:spLocks/>
          </p:cNvSpPr>
          <p:nvPr/>
        </p:nvSpPr>
        <p:spPr bwMode="auto">
          <a:xfrm>
            <a:off x="1076480" y="1499833"/>
            <a:ext cx="2711363" cy="2315376"/>
          </a:xfrm>
          <a:custGeom>
            <a:avLst/>
            <a:gdLst>
              <a:gd name="T0" fmla="*/ 2711433 w 21600"/>
              <a:gd name="T1" fmla="*/ 2315425 h 21600"/>
              <a:gd name="T2" fmla="*/ 2711433 w 21600"/>
              <a:gd name="T3" fmla="*/ 2315425 h 21600"/>
              <a:gd name="T4" fmla="*/ 2711433 w 21600"/>
              <a:gd name="T5" fmla="*/ 2315425 h 21600"/>
              <a:gd name="T6" fmla="*/ 2711433 w 21600"/>
              <a:gd name="T7" fmla="*/ 2315425 h 21600"/>
              <a:gd name="T8" fmla="*/ 0 60000 65536"/>
              <a:gd name="T9" fmla="*/ 5898240 60000 65536"/>
              <a:gd name="T10" fmla="*/ 11796480 60000 65536"/>
              <a:gd name="T11" fmla="*/ 17694720 60000 65536"/>
            </a:gdLst>
            <a:ahLst/>
            <a:cxnLst>
              <a:cxn ang="T8">
                <a:pos x="T0" y="T1"/>
              </a:cxn>
              <a:cxn ang="T9">
                <a:pos x="T2" y="T3"/>
              </a:cxn>
              <a:cxn ang="T10">
                <a:pos x="T4" y="T5"/>
              </a:cxn>
              <a:cxn ang="T11">
                <a:pos x="T6" y="T7"/>
              </a:cxn>
            </a:cxnLst>
            <a:rect l="0" t="0" r="r" b="b"/>
            <a:pathLst>
              <a:path w="21600" h="21600" extrusionOk="0">
                <a:moveTo>
                  <a:pt x="0" y="21519"/>
                </a:moveTo>
                <a:lnTo>
                  <a:pt x="5053" y="17605"/>
                </a:lnTo>
                <a:lnTo>
                  <a:pt x="10380" y="21600"/>
                </a:lnTo>
                <a:cubicBezTo>
                  <a:pt x="10370" y="19054"/>
                  <a:pt x="11247" y="16613"/>
                  <a:pt x="12810" y="14841"/>
                </a:cubicBezTo>
                <a:cubicBezTo>
                  <a:pt x="14321" y="13127"/>
                  <a:pt x="16351" y="12183"/>
                  <a:pt x="18455" y="12215"/>
                </a:cubicBezTo>
                <a:lnTo>
                  <a:pt x="21600" y="6079"/>
                </a:lnTo>
                <a:lnTo>
                  <a:pt x="18340" y="0"/>
                </a:lnTo>
                <a:cubicBezTo>
                  <a:pt x="13534" y="22"/>
                  <a:pt x="8925" y="2244"/>
                  <a:pt x="5500" y="6193"/>
                </a:cubicBezTo>
                <a:cubicBezTo>
                  <a:pt x="1992" y="10236"/>
                  <a:pt x="12" y="15755"/>
                  <a:pt x="0" y="21519"/>
                </a:cubicBezTo>
                <a:close/>
              </a:path>
            </a:pathLst>
          </a:custGeom>
          <a:solidFill>
            <a:schemeClr val="accent1"/>
          </a:solidFill>
          <a:ln>
            <a:noFill/>
          </a:ln>
          <a:extLst>
            <a:ext uri="{91240B29-F687-4F45-9708-019B960494DF}">
              <a14:hiddenLine xmlns:a14="http://schemas.microsoft.com/office/drawing/2010/main" w="12700" cap="flat">
                <a:solidFill>
                  <a:srgbClr val="000000"/>
                </a:solidFill>
                <a:miter lim="400000"/>
                <a:headEnd/>
                <a:tailEnd/>
              </a14:hiddenLine>
            </a:ext>
          </a:extLst>
        </p:spPr>
        <p:txBody>
          <a:bodyPr lIns="25400" tIns="25400" rIns="25400" bIns="25400" anchor="ctr"/>
          <a:lstStyle/>
          <a:p>
            <a:endParaRPr lang="en-US" sz="900"/>
          </a:p>
        </p:txBody>
      </p:sp>
      <p:sp>
        <p:nvSpPr>
          <p:cNvPr id="7" name="Фигура">
            <a:extLst>
              <a:ext uri="{FF2B5EF4-FFF2-40B4-BE49-F238E27FC236}">
                <a16:creationId xmlns:a16="http://schemas.microsoft.com/office/drawing/2014/main" id="{4AD37391-00B5-774C-A5C5-40A5F25315E4}"/>
              </a:ext>
            </a:extLst>
          </p:cNvPr>
          <p:cNvSpPr/>
          <p:nvPr/>
        </p:nvSpPr>
        <p:spPr bwMode="auto">
          <a:xfrm>
            <a:off x="1077274" y="3383402"/>
            <a:ext cx="2318544" cy="2731294"/>
          </a:xfrm>
          <a:custGeom>
            <a:avLst/>
            <a:gdLst/>
            <a:ahLst/>
            <a:cxnLst>
              <a:cxn ang="0">
                <a:pos x="wd2" y="hd2"/>
              </a:cxn>
              <a:cxn ang="5400000">
                <a:pos x="wd2" y="hd2"/>
              </a:cxn>
              <a:cxn ang="10800000">
                <a:pos x="wd2" y="hd2"/>
              </a:cxn>
              <a:cxn ang="16200000">
                <a:pos x="wd2" y="hd2"/>
              </a:cxn>
            </a:cxnLst>
            <a:rect l="0" t="0" r="r" b="b"/>
            <a:pathLst>
              <a:path w="21545" h="21550" extrusionOk="0">
                <a:moveTo>
                  <a:pt x="21545" y="11259"/>
                </a:moveTo>
                <a:lnTo>
                  <a:pt x="17527" y="16446"/>
                </a:lnTo>
                <a:lnTo>
                  <a:pt x="21517" y="21549"/>
                </a:lnTo>
                <a:cubicBezTo>
                  <a:pt x="15436" y="21600"/>
                  <a:pt x="9618" y="19445"/>
                  <a:pt x="5525" y="15626"/>
                </a:cubicBezTo>
                <a:cubicBezTo>
                  <a:pt x="1918" y="12261"/>
                  <a:pt x="-55" y="7862"/>
                  <a:pt x="1" y="3312"/>
                </a:cubicBezTo>
                <a:lnTo>
                  <a:pt x="5911" y="0"/>
                </a:lnTo>
                <a:lnTo>
                  <a:pt x="12110" y="3399"/>
                </a:lnTo>
                <a:cubicBezTo>
                  <a:pt x="12107" y="5137"/>
                  <a:pt x="12788" y="6827"/>
                  <a:pt x="14045" y="8199"/>
                </a:cubicBezTo>
                <a:cubicBezTo>
                  <a:pt x="15842" y="10161"/>
                  <a:pt x="18618" y="11294"/>
                  <a:pt x="21545" y="11259"/>
                </a:cubicBezTo>
                <a:close/>
              </a:path>
            </a:pathLst>
          </a:custGeom>
          <a:solidFill>
            <a:schemeClr val="accent4"/>
          </a:solidFill>
          <a:ln w="12700" cap="flat">
            <a:noFill/>
            <a:miter lim="400000"/>
          </a:ln>
          <a:effectLst/>
        </p:spPr>
        <p:txBody>
          <a:bodyPr lIns="25400" tIns="25400" rIns="25400" bIns="25400" anchor="ctr"/>
          <a:lstStyle/>
          <a:p>
            <a:pPr algn="ctr">
              <a:defRPr sz="3200">
                <a:solidFill>
                  <a:srgbClr val="000000"/>
                </a:solidFill>
                <a:latin typeface="Helvetica Light"/>
                <a:ea typeface="Helvetica Light"/>
                <a:cs typeface="Helvetica Light"/>
                <a:sym typeface="Helvetica Light"/>
              </a:defRPr>
            </a:pPr>
            <a:endParaRPr sz="1600" kern="0">
              <a:solidFill>
                <a:srgbClr val="000000"/>
              </a:solidFill>
              <a:ea typeface="Lato Light" panose="020F0502020204030203" pitchFamily="34" charset="0"/>
              <a:cs typeface="Lato Light" panose="020F0502020204030203" pitchFamily="34" charset="0"/>
              <a:sym typeface="Helvetica Light"/>
            </a:endParaRPr>
          </a:p>
        </p:txBody>
      </p:sp>
      <p:sp>
        <p:nvSpPr>
          <p:cNvPr id="8" name="Фигура">
            <a:extLst>
              <a:ext uri="{FF2B5EF4-FFF2-40B4-BE49-F238E27FC236}">
                <a16:creationId xmlns:a16="http://schemas.microsoft.com/office/drawing/2014/main" id="{7072AE22-0A7F-4F41-AF76-41B3642CF323}"/>
              </a:ext>
            </a:extLst>
          </p:cNvPr>
          <p:cNvSpPr/>
          <p:nvPr/>
        </p:nvSpPr>
        <p:spPr bwMode="auto">
          <a:xfrm>
            <a:off x="2956080" y="3786627"/>
            <a:ext cx="2732088" cy="2329656"/>
          </a:xfrm>
          <a:custGeom>
            <a:avLst/>
            <a:gdLst/>
            <a:ahLst/>
            <a:cxnLst>
              <a:cxn ang="0">
                <a:pos x="wd2" y="hd2"/>
              </a:cxn>
              <a:cxn ang="5400000">
                <a:pos x="wd2" y="hd2"/>
              </a:cxn>
              <a:cxn ang="10800000">
                <a:pos x="wd2" y="hd2"/>
              </a:cxn>
              <a:cxn ang="16200000">
                <a:pos x="wd2" y="hd2"/>
              </a:cxn>
            </a:cxnLst>
            <a:rect l="0" t="0" r="r" b="b"/>
            <a:pathLst>
              <a:path w="21568" h="21600" extrusionOk="0">
                <a:moveTo>
                  <a:pt x="11277" y="0"/>
                </a:moveTo>
                <a:cubicBezTo>
                  <a:pt x="11322" y="2609"/>
                  <a:pt x="10436" y="5122"/>
                  <a:pt x="8833" y="6928"/>
                </a:cubicBezTo>
                <a:cubicBezTo>
                  <a:pt x="7369" y="8579"/>
                  <a:pt x="5420" y="9505"/>
                  <a:pt x="3390" y="9515"/>
                </a:cubicBezTo>
                <a:lnTo>
                  <a:pt x="0" y="15568"/>
                </a:lnTo>
                <a:lnTo>
                  <a:pt x="3403" y="21600"/>
                </a:lnTo>
                <a:cubicBezTo>
                  <a:pt x="8282" y="21588"/>
                  <a:pt x="12954" y="19275"/>
                  <a:pt x="16369" y="15180"/>
                </a:cubicBezTo>
                <a:cubicBezTo>
                  <a:pt x="19731" y="11148"/>
                  <a:pt x="21600" y="5717"/>
                  <a:pt x="21567" y="73"/>
                </a:cubicBezTo>
                <a:lnTo>
                  <a:pt x="16511" y="3864"/>
                </a:lnTo>
                <a:lnTo>
                  <a:pt x="11277" y="0"/>
                </a:lnTo>
                <a:close/>
              </a:path>
            </a:pathLst>
          </a:custGeom>
          <a:solidFill>
            <a:schemeClr val="accent3"/>
          </a:solidFill>
          <a:ln w="12700" cap="flat">
            <a:noFill/>
            <a:miter lim="400000"/>
          </a:ln>
          <a:effectLst/>
        </p:spPr>
        <p:txBody>
          <a:bodyPr lIns="25400" tIns="25400" rIns="25400" bIns="25400" anchor="ctr"/>
          <a:lstStyle/>
          <a:p>
            <a:pPr algn="ctr">
              <a:defRPr sz="3200">
                <a:solidFill>
                  <a:srgbClr val="000000"/>
                </a:solidFill>
                <a:latin typeface="Helvetica Light"/>
                <a:ea typeface="Helvetica Light"/>
                <a:cs typeface="Helvetica Light"/>
                <a:sym typeface="Helvetica Light"/>
              </a:defRPr>
            </a:pPr>
            <a:endParaRPr sz="1600" kern="0">
              <a:solidFill>
                <a:srgbClr val="000000"/>
              </a:solidFill>
              <a:ea typeface="Lato Light" panose="020F0502020204030203" pitchFamily="34" charset="0"/>
              <a:cs typeface="Lato Light" panose="020F0502020204030203" pitchFamily="34" charset="0"/>
              <a:sym typeface="Helvetica Light"/>
            </a:endParaRPr>
          </a:p>
        </p:txBody>
      </p:sp>
      <p:sp>
        <p:nvSpPr>
          <p:cNvPr id="19" name="Subtitle 2">
            <a:extLst>
              <a:ext uri="{FF2B5EF4-FFF2-40B4-BE49-F238E27FC236}">
                <a16:creationId xmlns:a16="http://schemas.microsoft.com/office/drawing/2014/main" id="{00C36D46-A40A-5647-B785-881C2E1B5C44}"/>
              </a:ext>
            </a:extLst>
          </p:cNvPr>
          <p:cNvSpPr txBox="1">
            <a:spLocks/>
          </p:cNvSpPr>
          <p:nvPr/>
        </p:nvSpPr>
        <p:spPr>
          <a:xfrm>
            <a:off x="1604450" y="2153138"/>
            <a:ext cx="1366777" cy="944554"/>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a:solidFill>
                  <a:schemeClr val="bg1"/>
                </a:solidFill>
                <a:latin typeface="+mn-lt"/>
                <a:ea typeface="Lato" panose="020F0502020204030203" pitchFamily="34" charset="0"/>
                <a:cs typeface="Lato" panose="020F0502020204030203" pitchFamily="34" charset="0"/>
              </a:rPr>
              <a:t>Individual and team interactions over processes and tools</a:t>
            </a:r>
          </a:p>
        </p:txBody>
      </p:sp>
      <p:sp>
        <p:nvSpPr>
          <p:cNvPr id="20" name="Subtitle 2">
            <a:extLst>
              <a:ext uri="{FF2B5EF4-FFF2-40B4-BE49-F238E27FC236}">
                <a16:creationId xmlns:a16="http://schemas.microsoft.com/office/drawing/2014/main" id="{9749639D-5A02-B645-969F-E2A4A33A7954}"/>
              </a:ext>
            </a:extLst>
          </p:cNvPr>
          <p:cNvSpPr txBox="1">
            <a:spLocks/>
          </p:cNvSpPr>
          <p:nvPr/>
        </p:nvSpPr>
        <p:spPr>
          <a:xfrm>
            <a:off x="3908145" y="2075382"/>
            <a:ext cx="1247388" cy="94391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a:solidFill>
                  <a:schemeClr val="bg1"/>
                </a:solidFill>
                <a:latin typeface="+mn-lt"/>
                <a:ea typeface="Lato" panose="020F0502020204030203" pitchFamily="34" charset="0"/>
                <a:cs typeface="Lato" panose="020F0502020204030203" pitchFamily="34" charset="0"/>
              </a:rPr>
              <a:t>Working software over comprehensive documentation</a:t>
            </a:r>
          </a:p>
        </p:txBody>
      </p:sp>
      <p:sp>
        <p:nvSpPr>
          <p:cNvPr id="21" name="Subtitle 2">
            <a:extLst>
              <a:ext uri="{FF2B5EF4-FFF2-40B4-BE49-F238E27FC236}">
                <a16:creationId xmlns:a16="http://schemas.microsoft.com/office/drawing/2014/main" id="{0CDFE5EC-EAA1-5443-BA80-CA4896985A36}"/>
              </a:ext>
            </a:extLst>
          </p:cNvPr>
          <p:cNvSpPr txBox="1">
            <a:spLocks/>
          </p:cNvSpPr>
          <p:nvPr/>
        </p:nvSpPr>
        <p:spPr>
          <a:xfrm>
            <a:off x="3879564" y="4551187"/>
            <a:ext cx="1206374" cy="944554"/>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a:solidFill>
                  <a:schemeClr val="bg1"/>
                </a:solidFill>
                <a:latin typeface="+mn-lt"/>
                <a:ea typeface="Lato" panose="020F0502020204030203" pitchFamily="34" charset="0"/>
                <a:cs typeface="Lato" panose="020F0502020204030203" pitchFamily="34" charset="0"/>
              </a:rPr>
              <a:t>Customer collaboration over contract negotiation</a:t>
            </a:r>
          </a:p>
        </p:txBody>
      </p:sp>
      <p:sp>
        <p:nvSpPr>
          <p:cNvPr id="22" name="Subtitle 2">
            <a:extLst>
              <a:ext uri="{FF2B5EF4-FFF2-40B4-BE49-F238E27FC236}">
                <a16:creationId xmlns:a16="http://schemas.microsoft.com/office/drawing/2014/main" id="{70056A33-2735-3C4A-A142-50AD614EC4F5}"/>
              </a:ext>
            </a:extLst>
          </p:cNvPr>
          <p:cNvSpPr txBox="1">
            <a:spLocks/>
          </p:cNvSpPr>
          <p:nvPr/>
        </p:nvSpPr>
        <p:spPr>
          <a:xfrm>
            <a:off x="1414093" y="4337061"/>
            <a:ext cx="1168600" cy="94391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50"/>
              </a:lnSpc>
            </a:pPr>
            <a:r>
              <a:rPr lang="en-US" sz="1200">
                <a:solidFill>
                  <a:schemeClr val="bg1"/>
                </a:solidFill>
                <a:latin typeface="+mn-lt"/>
                <a:ea typeface="Lato" panose="020F0502020204030203" pitchFamily="34" charset="0"/>
                <a:cs typeface="Lato" panose="020F0502020204030203" pitchFamily="34" charset="0"/>
              </a:rPr>
              <a:t>Responding to change over following a plan</a:t>
            </a:r>
          </a:p>
        </p:txBody>
      </p:sp>
      <p:sp>
        <p:nvSpPr>
          <p:cNvPr id="24" name="Rectangle 23">
            <a:extLst>
              <a:ext uri="{FF2B5EF4-FFF2-40B4-BE49-F238E27FC236}">
                <a16:creationId xmlns:a16="http://schemas.microsoft.com/office/drawing/2014/main" id="{7FBE8E68-836B-DA4D-96AD-8775AB60F33F}"/>
              </a:ext>
            </a:extLst>
          </p:cNvPr>
          <p:cNvSpPr/>
          <p:nvPr/>
        </p:nvSpPr>
        <p:spPr>
          <a:xfrm>
            <a:off x="7112026" y="1970315"/>
            <a:ext cx="346841" cy="3468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sp>
        <p:nvSpPr>
          <p:cNvPr id="25" name="Rectangle 24">
            <a:extLst>
              <a:ext uri="{FF2B5EF4-FFF2-40B4-BE49-F238E27FC236}">
                <a16:creationId xmlns:a16="http://schemas.microsoft.com/office/drawing/2014/main" id="{71DB63B2-BDBA-7342-8D56-DC23C7B42EC5}"/>
              </a:ext>
            </a:extLst>
          </p:cNvPr>
          <p:cNvSpPr/>
          <p:nvPr/>
        </p:nvSpPr>
        <p:spPr>
          <a:xfrm>
            <a:off x="7112026" y="3179380"/>
            <a:ext cx="346841" cy="3468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sp>
        <p:nvSpPr>
          <p:cNvPr id="26" name="Rectangle 25">
            <a:extLst>
              <a:ext uri="{FF2B5EF4-FFF2-40B4-BE49-F238E27FC236}">
                <a16:creationId xmlns:a16="http://schemas.microsoft.com/office/drawing/2014/main" id="{1ABD7DA1-8D08-4347-969D-3535D14D752B}"/>
              </a:ext>
            </a:extLst>
          </p:cNvPr>
          <p:cNvSpPr/>
          <p:nvPr/>
        </p:nvSpPr>
        <p:spPr>
          <a:xfrm>
            <a:off x="7112026" y="4388445"/>
            <a:ext cx="346841" cy="346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sp>
        <p:nvSpPr>
          <p:cNvPr id="27" name="Rectangle 26">
            <a:extLst>
              <a:ext uri="{FF2B5EF4-FFF2-40B4-BE49-F238E27FC236}">
                <a16:creationId xmlns:a16="http://schemas.microsoft.com/office/drawing/2014/main" id="{7346CFEB-25EF-C14F-87A2-C0DDB96EAC4F}"/>
              </a:ext>
            </a:extLst>
          </p:cNvPr>
          <p:cNvSpPr/>
          <p:nvPr/>
        </p:nvSpPr>
        <p:spPr>
          <a:xfrm>
            <a:off x="7112026" y="5597510"/>
            <a:ext cx="346841" cy="34684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endParaRPr>
          </a:p>
        </p:txBody>
      </p:sp>
      <p:sp>
        <p:nvSpPr>
          <p:cNvPr id="29" name="TextBox 28">
            <a:extLst>
              <a:ext uri="{FF2B5EF4-FFF2-40B4-BE49-F238E27FC236}">
                <a16:creationId xmlns:a16="http://schemas.microsoft.com/office/drawing/2014/main" id="{DC6982FC-B595-BE4E-A51D-AAFBA83B705E}"/>
              </a:ext>
            </a:extLst>
          </p:cNvPr>
          <p:cNvSpPr txBox="1"/>
          <p:nvPr/>
        </p:nvSpPr>
        <p:spPr>
          <a:xfrm>
            <a:off x="7730569" y="1983861"/>
            <a:ext cx="803425" cy="338554"/>
          </a:xfrm>
          <a:prstGeom prst="rect">
            <a:avLst/>
          </a:prstGeom>
          <a:noFill/>
        </p:spPr>
        <p:txBody>
          <a:bodyPr wrap="none" rtlCol="0" anchor="ctr" anchorCtr="0">
            <a:spAutoFit/>
          </a:bodyPr>
          <a:lstStyle/>
          <a:p>
            <a:r>
              <a:rPr lang="en-US" sz="1600" b="1">
                <a:ea typeface="League Spartan" charset="0"/>
                <a:cs typeface="Poppins" pitchFamily="2" charset="77"/>
              </a:rPr>
              <a:t>UNITY</a:t>
            </a:r>
          </a:p>
        </p:txBody>
      </p:sp>
      <p:sp>
        <p:nvSpPr>
          <p:cNvPr id="31" name="TextBox 30">
            <a:extLst>
              <a:ext uri="{FF2B5EF4-FFF2-40B4-BE49-F238E27FC236}">
                <a16:creationId xmlns:a16="http://schemas.microsoft.com/office/drawing/2014/main" id="{FE80E53B-E525-E84F-A945-80647BB45DA3}"/>
              </a:ext>
            </a:extLst>
          </p:cNvPr>
          <p:cNvSpPr txBox="1"/>
          <p:nvPr/>
        </p:nvSpPr>
        <p:spPr>
          <a:xfrm>
            <a:off x="7730569" y="3177373"/>
            <a:ext cx="1326004" cy="338554"/>
          </a:xfrm>
          <a:prstGeom prst="rect">
            <a:avLst/>
          </a:prstGeom>
          <a:noFill/>
        </p:spPr>
        <p:txBody>
          <a:bodyPr wrap="none" rtlCol="0" anchor="ctr" anchorCtr="0">
            <a:spAutoFit/>
          </a:bodyPr>
          <a:lstStyle/>
          <a:p>
            <a:r>
              <a:rPr lang="en-US" sz="1600" b="1">
                <a:ea typeface="League Spartan" charset="0"/>
                <a:cs typeface="Poppins" pitchFamily="2" charset="77"/>
              </a:rPr>
              <a:t>SIMPLICITY</a:t>
            </a:r>
          </a:p>
        </p:txBody>
      </p:sp>
      <p:sp>
        <p:nvSpPr>
          <p:cNvPr id="33" name="TextBox 32">
            <a:extLst>
              <a:ext uri="{FF2B5EF4-FFF2-40B4-BE49-F238E27FC236}">
                <a16:creationId xmlns:a16="http://schemas.microsoft.com/office/drawing/2014/main" id="{87236A67-2B27-914C-9ED4-3FAA68A85A4B}"/>
              </a:ext>
            </a:extLst>
          </p:cNvPr>
          <p:cNvSpPr txBox="1"/>
          <p:nvPr/>
        </p:nvSpPr>
        <p:spPr>
          <a:xfrm>
            <a:off x="7730569" y="4370885"/>
            <a:ext cx="1842171" cy="338554"/>
          </a:xfrm>
          <a:prstGeom prst="rect">
            <a:avLst/>
          </a:prstGeom>
          <a:noFill/>
        </p:spPr>
        <p:txBody>
          <a:bodyPr wrap="none" rtlCol="0" anchor="ctr" anchorCtr="0">
            <a:spAutoFit/>
          </a:bodyPr>
          <a:lstStyle/>
          <a:p>
            <a:r>
              <a:rPr lang="en-US" sz="1600" b="1">
                <a:ea typeface="League Spartan" charset="0"/>
                <a:cs typeface="Poppins" pitchFamily="2" charset="77"/>
              </a:rPr>
              <a:t>TRANSPARENCY</a:t>
            </a:r>
          </a:p>
        </p:txBody>
      </p:sp>
      <p:sp>
        <p:nvSpPr>
          <p:cNvPr id="35" name="TextBox 34">
            <a:extLst>
              <a:ext uri="{FF2B5EF4-FFF2-40B4-BE49-F238E27FC236}">
                <a16:creationId xmlns:a16="http://schemas.microsoft.com/office/drawing/2014/main" id="{7A94258B-E264-6242-A937-9C46A288F449}"/>
              </a:ext>
            </a:extLst>
          </p:cNvPr>
          <p:cNvSpPr txBox="1"/>
          <p:nvPr/>
        </p:nvSpPr>
        <p:spPr>
          <a:xfrm>
            <a:off x="7730569" y="5605797"/>
            <a:ext cx="1649811" cy="338554"/>
          </a:xfrm>
          <a:prstGeom prst="rect">
            <a:avLst/>
          </a:prstGeom>
          <a:noFill/>
        </p:spPr>
        <p:txBody>
          <a:bodyPr wrap="none" rtlCol="0" anchor="ctr" anchorCtr="0">
            <a:spAutoFit/>
          </a:bodyPr>
          <a:lstStyle/>
          <a:p>
            <a:r>
              <a:rPr lang="en-US" sz="1600" b="1">
                <a:ea typeface="League Spartan" charset="0"/>
                <a:cs typeface="Poppins" pitchFamily="2" charset="77"/>
              </a:rPr>
              <a:t>ADAPTABILITY</a:t>
            </a:r>
          </a:p>
        </p:txBody>
      </p:sp>
      <p:sp>
        <p:nvSpPr>
          <p:cNvPr id="36" name="Tekstfelt 35">
            <a:extLst>
              <a:ext uri="{FF2B5EF4-FFF2-40B4-BE49-F238E27FC236}">
                <a16:creationId xmlns:a16="http://schemas.microsoft.com/office/drawing/2014/main" id="{FD0A5053-87A8-45C9-8ED4-C37D7A537BF6}"/>
              </a:ext>
            </a:extLst>
          </p:cNvPr>
          <p:cNvSpPr txBox="1"/>
          <p:nvPr/>
        </p:nvSpPr>
        <p:spPr>
          <a:xfrm>
            <a:off x="457191" y="520257"/>
            <a:ext cx="3446456"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Agile Core Values</a:t>
            </a:r>
            <a:endParaRPr lang="da-DK" sz="3200" b="1">
              <a:solidFill>
                <a:srgbClr val="14143C"/>
              </a:solidFill>
              <a:latin typeface="Academy Sans" panose="020B0503030000000000" pitchFamily="34" charset="0"/>
            </a:endParaRPr>
          </a:p>
        </p:txBody>
      </p:sp>
      <mc:AlternateContent xmlns:mc="http://schemas.openxmlformats.org/markup-compatibility/2006">
        <mc:Choice xmlns:p14="http://schemas.microsoft.com/office/powerpoint/2010/main" Requires="p14">
          <p:contentPart p14:bwMode="auto" r:id="rId2">
            <p14:nvContentPartPr>
              <p14:cNvPr id="2" name="Håndskrift 1">
                <a:extLst>
                  <a:ext uri="{FF2B5EF4-FFF2-40B4-BE49-F238E27FC236}">
                    <a16:creationId xmlns:a16="http://schemas.microsoft.com/office/drawing/2014/main" id="{DCF4D03D-3B80-4793-9095-03F0C5AE6FED}"/>
                  </a:ext>
                </a:extLst>
              </p14:cNvPr>
              <p14:cNvContentPartPr/>
              <p14:nvPr/>
            </p14:nvContentPartPr>
            <p14:xfrm>
              <a:off x="392040" y="1081800"/>
              <a:ext cx="4906440" cy="4721040"/>
            </p14:xfrm>
          </p:contentPart>
        </mc:Choice>
        <mc:Fallback>
          <p:pic>
            <p:nvPicPr>
              <p:cNvPr id="2" name="Håndskrift 1">
                <a:extLst>
                  <a:ext uri="{FF2B5EF4-FFF2-40B4-BE49-F238E27FC236}">
                    <a16:creationId xmlns:a16="http://schemas.microsoft.com/office/drawing/2014/main" id="{DCF4D03D-3B80-4793-9095-03F0C5AE6FED}"/>
                  </a:ext>
                </a:extLst>
              </p:cNvPr>
              <p:cNvPicPr/>
              <p:nvPr/>
            </p:nvPicPr>
            <p:blipFill>
              <a:blip r:embed="rId3"/>
              <a:stretch>
                <a:fillRect/>
              </a:stretch>
            </p:blipFill>
            <p:spPr>
              <a:xfrm>
                <a:off x="382680" y="1072440"/>
                <a:ext cx="4925160" cy="4739760"/>
              </a:xfrm>
              <a:prstGeom prst="rect">
                <a:avLst/>
              </a:prstGeom>
            </p:spPr>
          </p:pic>
        </mc:Fallback>
      </mc:AlternateContent>
    </p:spTree>
    <p:extLst>
      <p:ext uri="{BB962C8B-B14F-4D97-AF65-F5344CB8AC3E}">
        <p14:creationId xmlns:p14="http://schemas.microsoft.com/office/powerpoint/2010/main" val="22241520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5FBEEA-8E0F-463B-85D8-85C7BB33BBDC}"/>
              </a:ext>
            </a:extLst>
          </p:cNvPr>
          <p:cNvSpPr>
            <a:spLocks noGrp="1"/>
          </p:cNvSpPr>
          <p:nvPr>
            <p:ph type="title"/>
          </p:nvPr>
        </p:nvSpPr>
        <p:spPr/>
        <p:txBody>
          <a:bodyPr/>
          <a:lstStyle/>
          <a:p>
            <a:r>
              <a:rPr lang="da-DK"/>
              <a:t>12 </a:t>
            </a:r>
            <a:r>
              <a:rPr lang="da-DK" err="1"/>
              <a:t>principles</a:t>
            </a:r>
            <a:endParaRPr lang="da-DK"/>
          </a:p>
        </p:txBody>
      </p:sp>
      <p:sp>
        <p:nvSpPr>
          <p:cNvPr id="3" name="Pladsholder til dato 2">
            <a:extLst>
              <a:ext uri="{FF2B5EF4-FFF2-40B4-BE49-F238E27FC236}">
                <a16:creationId xmlns:a16="http://schemas.microsoft.com/office/drawing/2014/main" id="{5ECA188C-F674-40DF-99A6-AF5C350D1ABC}"/>
              </a:ext>
            </a:extLst>
          </p:cNvPr>
          <p:cNvSpPr>
            <a:spLocks noGrp="1"/>
          </p:cNvSpPr>
          <p:nvPr>
            <p:ph type="dt" sz="half" idx="10"/>
          </p:nvPr>
        </p:nvSpPr>
        <p:spPr/>
        <p:txBody>
          <a:bodyPr/>
          <a:lstStyle/>
          <a:p>
            <a:pPr>
              <a:lnSpc>
                <a:spcPct val="92000"/>
              </a:lnSpc>
            </a:pPr>
            <a:fld id="{498264A3-5EAF-400A-8F75-901F5A2058AD}" type="datetime2">
              <a:rPr lang="da-DK" smtClean="0"/>
              <a:t>18. januar 2022</a:t>
            </a:fld>
            <a:endParaRPr lang="da-DK"/>
          </a:p>
        </p:txBody>
      </p:sp>
      <p:sp>
        <p:nvSpPr>
          <p:cNvPr id="5" name="Pladsholder til slidenummer 4">
            <a:extLst>
              <a:ext uri="{FF2B5EF4-FFF2-40B4-BE49-F238E27FC236}">
                <a16:creationId xmlns:a16="http://schemas.microsoft.com/office/drawing/2014/main" id="{463DBEAD-7B4D-4F20-83D6-B43F2E33CEAD}"/>
              </a:ext>
            </a:extLst>
          </p:cNvPr>
          <p:cNvSpPr>
            <a:spLocks noGrp="1"/>
          </p:cNvSpPr>
          <p:nvPr>
            <p:ph type="sldNum" sz="quarter" idx="12"/>
          </p:nvPr>
        </p:nvSpPr>
        <p:spPr/>
        <p:txBody>
          <a:bodyPr/>
          <a:lstStyle/>
          <a:p>
            <a:pPr>
              <a:lnSpc>
                <a:spcPct val="92000"/>
              </a:lnSpc>
            </a:pPr>
            <a:fld id="{24C8C45C-947F-4981-8B3F-4F32E973C901}" type="slidenum">
              <a:rPr lang="da-DK" dirty="0" smtClean="0"/>
              <a:pPr>
                <a:lnSpc>
                  <a:spcPct val="92000"/>
                </a:lnSpc>
              </a:pPr>
              <a:t>12</a:t>
            </a:fld>
            <a:endParaRPr lang="da-DK"/>
          </a:p>
        </p:txBody>
      </p:sp>
      <p:grpSp>
        <p:nvGrpSpPr>
          <p:cNvPr id="12" name="Gruppe 11">
            <a:extLst>
              <a:ext uri="{FF2B5EF4-FFF2-40B4-BE49-F238E27FC236}">
                <a16:creationId xmlns:a16="http://schemas.microsoft.com/office/drawing/2014/main" id="{23436204-A7D6-4114-8D9C-2E28F7D13294}"/>
              </a:ext>
            </a:extLst>
          </p:cNvPr>
          <p:cNvGrpSpPr/>
          <p:nvPr/>
        </p:nvGrpSpPr>
        <p:grpSpPr>
          <a:xfrm>
            <a:off x="343106" y="2054437"/>
            <a:ext cx="851808" cy="1017521"/>
            <a:chOff x="1528535" y="1500708"/>
            <a:chExt cx="1200150" cy="1273519"/>
          </a:xfrm>
        </p:grpSpPr>
        <p:pic>
          <p:nvPicPr>
            <p:cNvPr id="9" name="Billede 8">
              <a:extLst>
                <a:ext uri="{FF2B5EF4-FFF2-40B4-BE49-F238E27FC236}">
                  <a16:creationId xmlns:a16="http://schemas.microsoft.com/office/drawing/2014/main" id="{8B6264C8-B313-496C-ACBB-7E65DC7E481C}"/>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1" name="Billede 10">
              <a:extLst>
                <a:ext uri="{FF2B5EF4-FFF2-40B4-BE49-F238E27FC236}">
                  <a16:creationId xmlns:a16="http://schemas.microsoft.com/office/drawing/2014/main" id="{649B7513-0641-46EC-9BAE-1BAE549FD3A0}"/>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7" name="Gruppe 16">
            <a:extLst>
              <a:ext uri="{FF2B5EF4-FFF2-40B4-BE49-F238E27FC236}">
                <a16:creationId xmlns:a16="http://schemas.microsoft.com/office/drawing/2014/main" id="{2957E5BC-1F3E-4423-88FE-144211050F06}"/>
              </a:ext>
            </a:extLst>
          </p:cNvPr>
          <p:cNvGrpSpPr/>
          <p:nvPr/>
        </p:nvGrpSpPr>
        <p:grpSpPr>
          <a:xfrm>
            <a:off x="1484369" y="1374497"/>
            <a:ext cx="957035" cy="1009947"/>
            <a:chOff x="3066595" y="1613743"/>
            <a:chExt cx="957035" cy="1009947"/>
          </a:xfrm>
        </p:grpSpPr>
        <p:pic>
          <p:nvPicPr>
            <p:cNvPr id="14" name="Billede 13">
              <a:extLst>
                <a:ext uri="{FF2B5EF4-FFF2-40B4-BE49-F238E27FC236}">
                  <a16:creationId xmlns:a16="http://schemas.microsoft.com/office/drawing/2014/main" id="{1A539FFD-7C88-4389-B6EF-6F06EADBDFD4}"/>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6" name="Billede 15">
              <a:extLst>
                <a:ext uri="{FF2B5EF4-FFF2-40B4-BE49-F238E27FC236}">
                  <a16:creationId xmlns:a16="http://schemas.microsoft.com/office/drawing/2014/main" id="{03F249EC-2738-4A9A-B3FA-DAD2FEF0D3BC}"/>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22" name="Gruppe 21">
            <a:extLst>
              <a:ext uri="{FF2B5EF4-FFF2-40B4-BE49-F238E27FC236}">
                <a16:creationId xmlns:a16="http://schemas.microsoft.com/office/drawing/2014/main" id="{452569EB-095B-4A81-97F7-8959116598E4}"/>
              </a:ext>
            </a:extLst>
          </p:cNvPr>
          <p:cNvGrpSpPr/>
          <p:nvPr/>
        </p:nvGrpSpPr>
        <p:grpSpPr>
          <a:xfrm>
            <a:off x="3464432" y="1161411"/>
            <a:ext cx="1262856" cy="893026"/>
            <a:chOff x="4452939" y="1592393"/>
            <a:chExt cx="1262856" cy="893026"/>
          </a:xfrm>
        </p:grpSpPr>
        <p:pic>
          <p:nvPicPr>
            <p:cNvPr id="19" name="Billede 18">
              <a:extLst>
                <a:ext uri="{FF2B5EF4-FFF2-40B4-BE49-F238E27FC236}">
                  <a16:creationId xmlns:a16="http://schemas.microsoft.com/office/drawing/2014/main" id="{CBEFB400-D210-472C-8D59-125086001242}"/>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B7A2301A-5C53-475E-A120-7DF43913DA9F}"/>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7" name="Gruppe 26">
            <a:extLst>
              <a:ext uri="{FF2B5EF4-FFF2-40B4-BE49-F238E27FC236}">
                <a16:creationId xmlns:a16="http://schemas.microsoft.com/office/drawing/2014/main" id="{3378C331-9884-488C-A677-AC914A165D3D}"/>
              </a:ext>
            </a:extLst>
          </p:cNvPr>
          <p:cNvGrpSpPr/>
          <p:nvPr/>
        </p:nvGrpSpPr>
        <p:grpSpPr>
          <a:xfrm>
            <a:off x="5234647" y="457554"/>
            <a:ext cx="809265" cy="991617"/>
            <a:chOff x="6048203" y="1677759"/>
            <a:chExt cx="809265" cy="991617"/>
          </a:xfrm>
        </p:grpSpPr>
        <p:pic>
          <p:nvPicPr>
            <p:cNvPr id="24" name="Billede 23">
              <a:extLst>
                <a:ext uri="{FF2B5EF4-FFF2-40B4-BE49-F238E27FC236}">
                  <a16:creationId xmlns:a16="http://schemas.microsoft.com/office/drawing/2014/main" id="{43466C31-162C-4175-A0CA-29734D195C0F}"/>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6" name="Billede 25">
              <a:extLst>
                <a:ext uri="{FF2B5EF4-FFF2-40B4-BE49-F238E27FC236}">
                  <a16:creationId xmlns:a16="http://schemas.microsoft.com/office/drawing/2014/main" id="{A1BEFB39-1378-4057-8761-27A1E87A7026}"/>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32" name="Gruppe 31">
            <a:extLst>
              <a:ext uri="{FF2B5EF4-FFF2-40B4-BE49-F238E27FC236}">
                <a16:creationId xmlns:a16="http://schemas.microsoft.com/office/drawing/2014/main" id="{3E50DAF0-D243-4E31-B441-636CC3606722}"/>
              </a:ext>
            </a:extLst>
          </p:cNvPr>
          <p:cNvGrpSpPr/>
          <p:nvPr/>
        </p:nvGrpSpPr>
        <p:grpSpPr>
          <a:xfrm>
            <a:off x="6642604" y="1334892"/>
            <a:ext cx="809264" cy="953100"/>
            <a:chOff x="7316677" y="1790101"/>
            <a:chExt cx="733042" cy="754517"/>
          </a:xfrm>
        </p:grpSpPr>
        <p:pic>
          <p:nvPicPr>
            <p:cNvPr id="29" name="Billede 28">
              <a:extLst>
                <a:ext uri="{FF2B5EF4-FFF2-40B4-BE49-F238E27FC236}">
                  <a16:creationId xmlns:a16="http://schemas.microsoft.com/office/drawing/2014/main" id="{120087A8-FCC5-457D-886B-534AB68C29F9}"/>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31" name="Billede 30">
              <a:extLst>
                <a:ext uri="{FF2B5EF4-FFF2-40B4-BE49-F238E27FC236}">
                  <a16:creationId xmlns:a16="http://schemas.microsoft.com/office/drawing/2014/main" id="{390A843A-BB62-4105-8BBE-485F1B7EDE7E}"/>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37" name="Gruppe 36">
            <a:extLst>
              <a:ext uri="{FF2B5EF4-FFF2-40B4-BE49-F238E27FC236}">
                <a16:creationId xmlns:a16="http://schemas.microsoft.com/office/drawing/2014/main" id="{17F398C7-EF6F-4E8C-AEA6-3D6950138E29}"/>
              </a:ext>
            </a:extLst>
          </p:cNvPr>
          <p:cNvGrpSpPr/>
          <p:nvPr/>
        </p:nvGrpSpPr>
        <p:grpSpPr>
          <a:xfrm>
            <a:off x="6975002" y="2447608"/>
            <a:ext cx="742713" cy="981392"/>
            <a:chOff x="8421153" y="1819865"/>
            <a:chExt cx="860734" cy="1046603"/>
          </a:xfrm>
        </p:grpSpPr>
        <p:pic>
          <p:nvPicPr>
            <p:cNvPr id="34" name="Billede 33">
              <a:extLst>
                <a:ext uri="{FF2B5EF4-FFF2-40B4-BE49-F238E27FC236}">
                  <a16:creationId xmlns:a16="http://schemas.microsoft.com/office/drawing/2014/main" id="{63EDB719-296A-45D5-A0F4-64620A1CAB62}"/>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6" name="Billede 35">
              <a:extLst>
                <a:ext uri="{FF2B5EF4-FFF2-40B4-BE49-F238E27FC236}">
                  <a16:creationId xmlns:a16="http://schemas.microsoft.com/office/drawing/2014/main" id="{EDE7C3F4-ECF0-4426-9CCE-815F44277DD6}"/>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42" name="Gruppe 41">
            <a:extLst>
              <a:ext uri="{FF2B5EF4-FFF2-40B4-BE49-F238E27FC236}">
                <a16:creationId xmlns:a16="http://schemas.microsoft.com/office/drawing/2014/main" id="{84EB2B1C-D8F3-44B9-B1AC-1DBA8B7C8A33}"/>
              </a:ext>
            </a:extLst>
          </p:cNvPr>
          <p:cNvGrpSpPr/>
          <p:nvPr/>
        </p:nvGrpSpPr>
        <p:grpSpPr>
          <a:xfrm>
            <a:off x="6576052" y="4123481"/>
            <a:ext cx="809265" cy="893056"/>
            <a:chOff x="1491923" y="2761460"/>
            <a:chExt cx="809265" cy="893056"/>
          </a:xfrm>
        </p:grpSpPr>
        <p:pic>
          <p:nvPicPr>
            <p:cNvPr id="39" name="Billede 38">
              <a:extLst>
                <a:ext uri="{FF2B5EF4-FFF2-40B4-BE49-F238E27FC236}">
                  <a16:creationId xmlns:a16="http://schemas.microsoft.com/office/drawing/2014/main" id="{E4D2287B-06DE-4DD8-A879-4B1533BE6FFF}"/>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41" name="Billede 40">
              <a:extLst>
                <a:ext uri="{FF2B5EF4-FFF2-40B4-BE49-F238E27FC236}">
                  <a16:creationId xmlns:a16="http://schemas.microsoft.com/office/drawing/2014/main" id="{000C050F-2E22-49AF-ACB1-594D748A6BA3}"/>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46" name="Gruppe 45">
            <a:extLst>
              <a:ext uri="{FF2B5EF4-FFF2-40B4-BE49-F238E27FC236}">
                <a16:creationId xmlns:a16="http://schemas.microsoft.com/office/drawing/2014/main" id="{757BCAF7-90F9-474A-82C8-FFF37DF884D9}"/>
              </a:ext>
            </a:extLst>
          </p:cNvPr>
          <p:cNvGrpSpPr/>
          <p:nvPr/>
        </p:nvGrpSpPr>
        <p:grpSpPr>
          <a:xfrm>
            <a:off x="5411730" y="5544497"/>
            <a:ext cx="1060904" cy="902002"/>
            <a:chOff x="2940775" y="2783410"/>
            <a:chExt cx="1060904" cy="902002"/>
          </a:xfrm>
        </p:grpSpPr>
        <p:pic>
          <p:nvPicPr>
            <p:cNvPr id="44" name="Billede 43">
              <a:extLst>
                <a:ext uri="{FF2B5EF4-FFF2-40B4-BE49-F238E27FC236}">
                  <a16:creationId xmlns:a16="http://schemas.microsoft.com/office/drawing/2014/main" id="{5BD6D48A-BCEB-44ED-B2C8-AE41AC721772}"/>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45" name="Tekstfelt 44">
              <a:extLst>
                <a:ext uri="{FF2B5EF4-FFF2-40B4-BE49-F238E27FC236}">
                  <a16:creationId xmlns:a16="http://schemas.microsoft.com/office/drawing/2014/main" id="{58FCABA3-88E8-4C27-8A67-B7C2243FD174}"/>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51" name="Gruppe 50">
            <a:extLst>
              <a:ext uri="{FF2B5EF4-FFF2-40B4-BE49-F238E27FC236}">
                <a16:creationId xmlns:a16="http://schemas.microsoft.com/office/drawing/2014/main" id="{619E7935-1557-4B18-AA1B-2A05E3546F67}"/>
              </a:ext>
            </a:extLst>
          </p:cNvPr>
          <p:cNvGrpSpPr/>
          <p:nvPr/>
        </p:nvGrpSpPr>
        <p:grpSpPr>
          <a:xfrm>
            <a:off x="4075855" y="5254660"/>
            <a:ext cx="731339" cy="944525"/>
            <a:chOff x="4708066" y="2811998"/>
            <a:chExt cx="731339" cy="944525"/>
          </a:xfrm>
        </p:grpSpPr>
        <p:pic>
          <p:nvPicPr>
            <p:cNvPr id="48" name="Billede 47">
              <a:extLst>
                <a:ext uri="{FF2B5EF4-FFF2-40B4-BE49-F238E27FC236}">
                  <a16:creationId xmlns:a16="http://schemas.microsoft.com/office/drawing/2014/main" id="{5FF38568-D77C-4B3D-9FA1-B233810F34B2}"/>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50" name="Billede 49">
              <a:extLst>
                <a:ext uri="{FF2B5EF4-FFF2-40B4-BE49-F238E27FC236}">
                  <a16:creationId xmlns:a16="http://schemas.microsoft.com/office/drawing/2014/main" id="{1B536BD6-748A-4D8D-B1D5-CDD834339415}"/>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56" name="Gruppe 55">
            <a:extLst>
              <a:ext uri="{FF2B5EF4-FFF2-40B4-BE49-F238E27FC236}">
                <a16:creationId xmlns:a16="http://schemas.microsoft.com/office/drawing/2014/main" id="{C199D51E-C104-43E5-97C7-52628BFE3ED6}"/>
              </a:ext>
            </a:extLst>
          </p:cNvPr>
          <p:cNvGrpSpPr/>
          <p:nvPr/>
        </p:nvGrpSpPr>
        <p:grpSpPr>
          <a:xfrm>
            <a:off x="2346921" y="5465085"/>
            <a:ext cx="955195" cy="937915"/>
            <a:chOff x="5858103" y="2841339"/>
            <a:chExt cx="728831" cy="728206"/>
          </a:xfrm>
        </p:grpSpPr>
        <p:pic>
          <p:nvPicPr>
            <p:cNvPr id="53" name="Billede 52">
              <a:extLst>
                <a:ext uri="{FF2B5EF4-FFF2-40B4-BE49-F238E27FC236}">
                  <a16:creationId xmlns:a16="http://schemas.microsoft.com/office/drawing/2014/main" id="{16625BD3-D35F-47F3-98E5-12D22CE4C6A5}"/>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55" name="Tekstfelt 54">
              <a:extLst>
                <a:ext uri="{FF2B5EF4-FFF2-40B4-BE49-F238E27FC236}">
                  <a16:creationId xmlns:a16="http://schemas.microsoft.com/office/drawing/2014/main" id="{A76F1C79-43A5-478E-B839-ACA3901EA9B4}"/>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61" name="Gruppe 60">
            <a:extLst>
              <a:ext uri="{FF2B5EF4-FFF2-40B4-BE49-F238E27FC236}">
                <a16:creationId xmlns:a16="http://schemas.microsoft.com/office/drawing/2014/main" id="{2BE2A1D9-3DDC-41A7-A152-045473A42705}"/>
              </a:ext>
            </a:extLst>
          </p:cNvPr>
          <p:cNvGrpSpPr/>
          <p:nvPr/>
        </p:nvGrpSpPr>
        <p:grpSpPr>
          <a:xfrm>
            <a:off x="551436" y="4751145"/>
            <a:ext cx="1395358" cy="1052425"/>
            <a:chOff x="6875468" y="2932545"/>
            <a:chExt cx="1219402" cy="898353"/>
          </a:xfrm>
        </p:grpSpPr>
        <p:pic>
          <p:nvPicPr>
            <p:cNvPr id="58" name="Billede 57">
              <a:extLst>
                <a:ext uri="{FF2B5EF4-FFF2-40B4-BE49-F238E27FC236}">
                  <a16:creationId xmlns:a16="http://schemas.microsoft.com/office/drawing/2014/main" id="{6022C3AE-AB20-42F5-B813-531D2341057C}"/>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60" name="Tekstfelt 59">
              <a:extLst>
                <a:ext uri="{FF2B5EF4-FFF2-40B4-BE49-F238E27FC236}">
                  <a16:creationId xmlns:a16="http://schemas.microsoft.com/office/drawing/2014/main" id="{848D0845-DDD7-4FD1-B0C1-C42AECA274F9}"/>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66" name="Gruppe 65">
            <a:extLst>
              <a:ext uri="{FF2B5EF4-FFF2-40B4-BE49-F238E27FC236}">
                <a16:creationId xmlns:a16="http://schemas.microsoft.com/office/drawing/2014/main" id="{26418084-6F86-44B5-BEB3-63D74D5AA892}"/>
              </a:ext>
            </a:extLst>
          </p:cNvPr>
          <p:cNvGrpSpPr/>
          <p:nvPr/>
        </p:nvGrpSpPr>
        <p:grpSpPr>
          <a:xfrm>
            <a:off x="540341" y="3429000"/>
            <a:ext cx="793969" cy="890580"/>
            <a:chOff x="8369896" y="3027498"/>
            <a:chExt cx="793969" cy="890580"/>
          </a:xfrm>
        </p:grpSpPr>
        <p:pic>
          <p:nvPicPr>
            <p:cNvPr id="63" name="Billede 62">
              <a:extLst>
                <a:ext uri="{FF2B5EF4-FFF2-40B4-BE49-F238E27FC236}">
                  <a16:creationId xmlns:a16="http://schemas.microsoft.com/office/drawing/2014/main" id="{E9BC352F-3CA4-4EF4-AD15-B39D003E3F2B}"/>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65" name="Billede 64">
              <a:extLst>
                <a:ext uri="{FF2B5EF4-FFF2-40B4-BE49-F238E27FC236}">
                  <a16:creationId xmlns:a16="http://schemas.microsoft.com/office/drawing/2014/main" id="{E199ED5B-3B5A-431C-A976-EB715CE45E4A}"/>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67" name="Rektangel 66">
            <a:extLst>
              <a:ext uri="{FF2B5EF4-FFF2-40B4-BE49-F238E27FC236}">
                <a16:creationId xmlns:a16="http://schemas.microsoft.com/office/drawing/2014/main" id="{3ADE5102-C492-47EE-A6A2-8CB2B0899033}"/>
              </a:ext>
            </a:extLst>
          </p:cNvPr>
          <p:cNvSpPr/>
          <p:nvPr/>
        </p:nvSpPr>
        <p:spPr>
          <a:xfrm>
            <a:off x="9093726" y="0"/>
            <a:ext cx="3103055" cy="68580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grpSp>
        <p:nvGrpSpPr>
          <p:cNvPr id="70" name="Gruppe 69">
            <a:extLst>
              <a:ext uri="{FF2B5EF4-FFF2-40B4-BE49-F238E27FC236}">
                <a16:creationId xmlns:a16="http://schemas.microsoft.com/office/drawing/2014/main" id="{5DA0CE38-4F8D-4208-B23A-D0C2A743AC53}"/>
              </a:ext>
            </a:extLst>
          </p:cNvPr>
          <p:cNvGrpSpPr/>
          <p:nvPr/>
        </p:nvGrpSpPr>
        <p:grpSpPr>
          <a:xfrm>
            <a:off x="9507338" y="5466950"/>
            <a:ext cx="2348754" cy="1401405"/>
            <a:chOff x="6252301" y="4978420"/>
            <a:chExt cx="1210321" cy="891125"/>
          </a:xfrm>
        </p:grpSpPr>
        <p:pic>
          <p:nvPicPr>
            <p:cNvPr id="71" name="Billede 70">
              <a:extLst>
                <a:ext uri="{FF2B5EF4-FFF2-40B4-BE49-F238E27FC236}">
                  <a16:creationId xmlns:a16="http://schemas.microsoft.com/office/drawing/2014/main" id="{45350F76-9B09-4EF9-8654-19F752CCD0C3}"/>
                </a:ext>
              </a:extLst>
            </p:cNvPr>
            <p:cNvPicPr>
              <a:picLocks noChangeAspect="1"/>
            </p:cNvPicPr>
            <p:nvPr/>
          </p:nvPicPr>
          <p:blipFill>
            <a:blip r:embed="rId23"/>
            <a:stretch>
              <a:fillRect/>
            </a:stretch>
          </p:blipFill>
          <p:spPr>
            <a:xfrm>
              <a:off x="6872656" y="4978420"/>
              <a:ext cx="589966" cy="651938"/>
            </a:xfrm>
            <a:prstGeom prst="rect">
              <a:avLst/>
            </a:prstGeom>
          </p:spPr>
        </p:pic>
        <p:pic>
          <p:nvPicPr>
            <p:cNvPr id="72" name="Billede 71">
              <a:extLst>
                <a:ext uri="{FF2B5EF4-FFF2-40B4-BE49-F238E27FC236}">
                  <a16:creationId xmlns:a16="http://schemas.microsoft.com/office/drawing/2014/main" id="{E71855CE-A3D1-408F-96D8-32A781AC2692}"/>
                </a:ext>
              </a:extLst>
            </p:cNvPr>
            <p:cNvPicPr>
              <a:picLocks noChangeAspect="1"/>
            </p:cNvPicPr>
            <p:nvPr/>
          </p:nvPicPr>
          <p:blipFill>
            <a:blip r:embed="rId24"/>
            <a:stretch>
              <a:fillRect/>
            </a:stretch>
          </p:blipFill>
          <p:spPr>
            <a:xfrm>
              <a:off x="6478670" y="4983740"/>
              <a:ext cx="581956" cy="646618"/>
            </a:xfrm>
            <a:prstGeom prst="rect">
              <a:avLst/>
            </a:prstGeom>
          </p:spPr>
        </p:pic>
        <p:pic>
          <p:nvPicPr>
            <p:cNvPr id="73" name="Billede 72">
              <a:extLst>
                <a:ext uri="{FF2B5EF4-FFF2-40B4-BE49-F238E27FC236}">
                  <a16:creationId xmlns:a16="http://schemas.microsoft.com/office/drawing/2014/main" id="{76525733-3822-416F-B520-FFDC9A518F6A}"/>
                </a:ext>
              </a:extLst>
            </p:cNvPr>
            <p:cNvPicPr>
              <a:picLocks noChangeAspect="1"/>
            </p:cNvPicPr>
            <p:nvPr/>
          </p:nvPicPr>
          <p:blipFill>
            <a:blip r:embed="rId25"/>
            <a:stretch>
              <a:fillRect/>
            </a:stretch>
          </p:blipFill>
          <p:spPr>
            <a:xfrm>
              <a:off x="6252301" y="5222926"/>
              <a:ext cx="581957" cy="646619"/>
            </a:xfrm>
            <a:prstGeom prst="rect">
              <a:avLst/>
            </a:prstGeom>
          </p:spPr>
        </p:pic>
        <p:pic>
          <p:nvPicPr>
            <p:cNvPr id="74" name="Billede 73">
              <a:extLst>
                <a:ext uri="{FF2B5EF4-FFF2-40B4-BE49-F238E27FC236}">
                  <a16:creationId xmlns:a16="http://schemas.microsoft.com/office/drawing/2014/main" id="{4E32AFAA-D3CF-4ED7-9669-F2404CE46FC4}"/>
                </a:ext>
              </a:extLst>
            </p:cNvPr>
            <p:cNvPicPr>
              <a:picLocks noChangeAspect="1"/>
            </p:cNvPicPr>
            <p:nvPr/>
          </p:nvPicPr>
          <p:blipFill>
            <a:blip r:embed="rId26"/>
            <a:stretch>
              <a:fillRect/>
            </a:stretch>
          </p:blipFill>
          <p:spPr>
            <a:xfrm>
              <a:off x="6718902" y="5217607"/>
              <a:ext cx="587014" cy="651937"/>
            </a:xfrm>
            <a:prstGeom prst="rect">
              <a:avLst/>
            </a:prstGeom>
          </p:spPr>
        </p:pic>
      </p:grpSp>
      <mc:AlternateContent xmlns:mc="http://schemas.openxmlformats.org/markup-compatibility/2006">
        <mc:Choice xmlns:p14="http://schemas.microsoft.com/office/powerpoint/2010/main" Requires="p14">
          <p:contentPart p14:bwMode="auto" r:id="rId27">
            <p14:nvContentPartPr>
              <p14:cNvPr id="4" name="Håndskrift 3">
                <a:extLst>
                  <a:ext uri="{FF2B5EF4-FFF2-40B4-BE49-F238E27FC236}">
                    <a16:creationId xmlns:a16="http://schemas.microsoft.com/office/drawing/2014/main" id="{6B5581DA-C23F-43CE-AC21-66C3C732C2BB}"/>
                  </a:ext>
                </a:extLst>
              </p14:cNvPr>
              <p14:cNvContentPartPr/>
              <p14:nvPr/>
            </p14:nvContentPartPr>
            <p14:xfrm>
              <a:off x="2706175" y="2287992"/>
              <a:ext cx="2516760" cy="2320560"/>
            </p14:xfrm>
          </p:contentPart>
        </mc:Choice>
        <mc:Fallback>
          <p:pic>
            <p:nvPicPr>
              <p:cNvPr id="4" name="Håndskrift 3">
                <a:extLst>
                  <a:ext uri="{FF2B5EF4-FFF2-40B4-BE49-F238E27FC236}">
                    <a16:creationId xmlns:a16="http://schemas.microsoft.com/office/drawing/2014/main" id="{6B5581DA-C23F-43CE-AC21-66C3C732C2BB}"/>
                  </a:ext>
                </a:extLst>
              </p:cNvPr>
              <p:cNvPicPr/>
              <p:nvPr/>
            </p:nvPicPr>
            <p:blipFill>
              <a:blip r:embed="rId28"/>
              <a:stretch>
                <a:fillRect/>
              </a:stretch>
            </p:blipFill>
            <p:spPr>
              <a:xfrm>
                <a:off x="2696815" y="2278632"/>
                <a:ext cx="2535480" cy="2339280"/>
              </a:xfrm>
              <a:prstGeom prst="rect">
                <a:avLst/>
              </a:prstGeom>
            </p:spPr>
          </p:pic>
        </mc:Fallback>
      </mc:AlternateContent>
    </p:spTree>
    <p:extLst>
      <p:ext uri="{BB962C8B-B14F-4D97-AF65-F5344CB8AC3E}">
        <p14:creationId xmlns:p14="http://schemas.microsoft.com/office/powerpoint/2010/main" val="38070580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a:extLst>
              <a:ext uri="{FF2B5EF4-FFF2-40B4-BE49-F238E27FC236}">
                <a16:creationId xmlns:a16="http://schemas.microsoft.com/office/drawing/2014/main" id="{3A35736B-7F63-4465-BE9B-DA95619EACA8}"/>
              </a:ext>
            </a:extLst>
          </p:cNvPr>
          <p:cNvSpPr>
            <a:spLocks noGrp="1"/>
          </p:cNvSpPr>
          <p:nvPr>
            <p:ph type="sldNum" sz="quarter" idx="12"/>
          </p:nvPr>
        </p:nvSpPr>
        <p:spPr/>
        <p:txBody>
          <a:bodyPr/>
          <a:lstStyle/>
          <a:p>
            <a:r>
              <a:rPr lang="da-DK"/>
              <a:t>Side </a:t>
            </a:r>
            <a:fld id="{24C8C45C-947F-4981-8B3F-4F32E973C901}" type="slidenum">
              <a:rPr lang="da-DK" dirty="0" smtClean="0"/>
              <a:pPr/>
              <a:t>13</a:t>
            </a:fld>
            <a:endParaRPr lang="da-DK"/>
          </a:p>
        </p:txBody>
      </p:sp>
      <p:graphicFrame>
        <p:nvGraphicFramePr>
          <p:cNvPr id="4" name="Tabel 4">
            <a:extLst>
              <a:ext uri="{FF2B5EF4-FFF2-40B4-BE49-F238E27FC236}">
                <a16:creationId xmlns:a16="http://schemas.microsoft.com/office/drawing/2014/main" id="{762F5EA8-111F-426D-B3B6-A88C600A1B39}"/>
              </a:ext>
            </a:extLst>
          </p:cNvPr>
          <p:cNvGraphicFramePr>
            <a:graphicFrameLocks noGrp="1"/>
          </p:cNvGraphicFramePr>
          <p:nvPr>
            <p:extLst>
              <p:ext uri="{D42A27DB-BD31-4B8C-83A1-F6EECF244321}">
                <p14:modId xmlns:p14="http://schemas.microsoft.com/office/powerpoint/2010/main" val="2493744351"/>
              </p:ext>
            </p:extLst>
          </p:nvPr>
        </p:nvGraphicFramePr>
        <p:xfrm>
          <a:off x="3457594" y="1342571"/>
          <a:ext cx="7978246" cy="4858787"/>
        </p:xfrm>
        <a:graphic>
          <a:graphicData uri="http://schemas.openxmlformats.org/drawingml/2006/table">
            <a:tbl>
              <a:tblPr firstRow="1" bandRow="1">
                <a:tableStyleId>{5C22544A-7EE6-4342-B048-85BDC9FD1C3A}</a:tableStyleId>
              </a:tblPr>
              <a:tblGrid>
                <a:gridCol w="1577684">
                  <a:extLst>
                    <a:ext uri="{9D8B030D-6E8A-4147-A177-3AD203B41FA5}">
                      <a16:colId xmlns:a16="http://schemas.microsoft.com/office/drawing/2014/main" val="916150220"/>
                    </a:ext>
                  </a:extLst>
                </a:gridCol>
                <a:gridCol w="2187740">
                  <a:extLst>
                    <a:ext uri="{9D8B030D-6E8A-4147-A177-3AD203B41FA5}">
                      <a16:colId xmlns:a16="http://schemas.microsoft.com/office/drawing/2014/main" val="557327355"/>
                    </a:ext>
                  </a:extLst>
                </a:gridCol>
                <a:gridCol w="2040482">
                  <a:extLst>
                    <a:ext uri="{9D8B030D-6E8A-4147-A177-3AD203B41FA5}">
                      <a16:colId xmlns:a16="http://schemas.microsoft.com/office/drawing/2014/main" val="771800777"/>
                    </a:ext>
                  </a:extLst>
                </a:gridCol>
                <a:gridCol w="2172340">
                  <a:extLst>
                    <a:ext uri="{9D8B030D-6E8A-4147-A177-3AD203B41FA5}">
                      <a16:colId xmlns:a16="http://schemas.microsoft.com/office/drawing/2014/main" val="2913249358"/>
                    </a:ext>
                  </a:extLst>
                </a:gridCol>
              </a:tblGrid>
              <a:tr h="632881">
                <a:tc>
                  <a:txBody>
                    <a:bodyPr/>
                    <a:lstStyle/>
                    <a:p>
                      <a:endParaRPr lang="da-DK" sz="1200">
                        <a:latin typeface="Academy Sans Office Black"/>
                      </a:endParaRPr>
                    </a:p>
                  </a:txBody>
                  <a:tcPr>
                    <a:solidFill>
                      <a:srgbClr val="434363"/>
                    </a:solidFill>
                  </a:tcPr>
                </a:tc>
                <a:tc>
                  <a:txBody>
                    <a:bodyPr/>
                    <a:lstStyle/>
                    <a:p>
                      <a:r>
                        <a:rPr lang="da-DK" sz="1200" err="1">
                          <a:latin typeface="Academy Sans Office Black"/>
                        </a:rPr>
                        <a:t>Alway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tc>
                  <a:txBody>
                    <a:bodyPr/>
                    <a:lstStyle/>
                    <a:p>
                      <a:r>
                        <a:rPr lang="da-DK" sz="1200">
                          <a:latin typeface="Academy Sans Office Black"/>
                        </a:rPr>
                        <a:t>Newer follow</a:t>
                      </a:r>
                    </a:p>
                  </a:txBody>
                  <a:tcPr>
                    <a:solidFill>
                      <a:srgbClr val="434363"/>
                    </a:solidFill>
                  </a:tcPr>
                </a:tc>
                <a:tc>
                  <a:txBody>
                    <a:bodyPr/>
                    <a:lstStyle/>
                    <a:p>
                      <a:r>
                        <a:rPr lang="da-DK" sz="1200" err="1">
                          <a:latin typeface="Academy Sans Office Black"/>
                        </a:rPr>
                        <a:t>Somtimes</a:t>
                      </a:r>
                      <a:r>
                        <a:rPr lang="da-DK" sz="1200">
                          <a:latin typeface="Academy Sans Office Black"/>
                        </a:rPr>
                        <a:t> </a:t>
                      </a:r>
                      <a:r>
                        <a:rPr lang="da-DK" sz="1200" err="1">
                          <a:latin typeface="Academy Sans Office Black"/>
                        </a:rPr>
                        <a:t>follow</a:t>
                      </a:r>
                      <a:endParaRPr lang="da-DK" sz="1200">
                        <a:latin typeface="Academy Sans Office Black"/>
                      </a:endParaRPr>
                    </a:p>
                  </a:txBody>
                  <a:tcPr>
                    <a:solidFill>
                      <a:srgbClr val="434363"/>
                    </a:solidFill>
                  </a:tcPr>
                </a:tc>
                <a:extLst>
                  <a:ext uri="{0D108BD9-81ED-4DB2-BD59-A6C34878D82A}">
                    <a16:rowId xmlns:a16="http://schemas.microsoft.com/office/drawing/2014/main" val="155259280"/>
                  </a:ext>
                </a:extLst>
              </a:tr>
              <a:tr h="802860">
                <a:tc>
                  <a:txBody>
                    <a:bodyPr/>
                    <a:lstStyle/>
                    <a:p>
                      <a:r>
                        <a:rPr lang="da-DK" sz="1200">
                          <a:solidFill>
                            <a:schemeClr val="bg1"/>
                          </a:solidFill>
                        </a:rPr>
                        <a:t>Name</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014481457"/>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3873521947"/>
                  </a:ext>
                </a:extLst>
              </a:tr>
              <a:tr h="9501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455674413"/>
                  </a:ext>
                </a:extLst>
              </a:tr>
              <a:tr h="802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2774071433"/>
                  </a:ext>
                </a:extLst>
              </a:tr>
              <a:tr h="8671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a:solidFill>
                            <a:schemeClr val="bg1"/>
                          </a:solidFill>
                        </a:rPr>
                        <a:t>Name </a:t>
                      </a:r>
                    </a:p>
                  </a:txBody>
                  <a:tcPr>
                    <a:solidFill>
                      <a:srgbClr val="14143C"/>
                    </a:solidFill>
                  </a:tcPr>
                </a:tc>
                <a:tc>
                  <a:txBody>
                    <a:bodyPr/>
                    <a:lstStyle/>
                    <a:p>
                      <a:endParaRPr lang="da-DK" sz="1200"/>
                    </a:p>
                  </a:txBody>
                  <a:tcPr>
                    <a:solidFill>
                      <a:srgbClr val="2466B0"/>
                    </a:solidFill>
                  </a:tcPr>
                </a:tc>
                <a:tc>
                  <a:txBody>
                    <a:bodyPr/>
                    <a:lstStyle/>
                    <a:p>
                      <a:endParaRPr lang="da-DK" sz="1200"/>
                    </a:p>
                  </a:txBody>
                  <a:tcPr>
                    <a:solidFill>
                      <a:srgbClr val="77A5D5"/>
                    </a:solidFill>
                  </a:tcPr>
                </a:tc>
                <a:tc>
                  <a:txBody>
                    <a:bodyPr/>
                    <a:lstStyle/>
                    <a:p>
                      <a:endParaRPr lang="da-DK" sz="1200"/>
                    </a:p>
                  </a:txBody>
                  <a:tcPr>
                    <a:solidFill>
                      <a:srgbClr val="BBD2EA"/>
                    </a:solidFill>
                  </a:tcPr>
                </a:tc>
                <a:extLst>
                  <a:ext uri="{0D108BD9-81ED-4DB2-BD59-A6C34878D82A}">
                    <a16:rowId xmlns:a16="http://schemas.microsoft.com/office/drawing/2014/main" val="1072771855"/>
                  </a:ext>
                </a:extLst>
              </a:tr>
            </a:tbl>
          </a:graphicData>
        </a:graphic>
      </p:graphicFrame>
      <p:sp>
        <p:nvSpPr>
          <p:cNvPr id="11" name="Pladsholder til dato 2">
            <a:extLst>
              <a:ext uri="{FF2B5EF4-FFF2-40B4-BE49-F238E27FC236}">
                <a16:creationId xmlns:a16="http://schemas.microsoft.com/office/drawing/2014/main" id="{162FD366-3ED7-40FC-BF01-9E47D8F73B9D}"/>
              </a:ext>
            </a:extLst>
          </p:cNvPr>
          <p:cNvSpPr>
            <a:spLocks noGrp="1"/>
          </p:cNvSpPr>
          <p:nvPr>
            <p:ph type="dt" sz="half" idx="10"/>
          </p:nvPr>
        </p:nvSpPr>
        <p:spPr>
          <a:xfrm>
            <a:off x="0" y="6858000"/>
            <a:ext cx="0" cy="0"/>
          </a:xfrm>
        </p:spPr>
        <p:txBody>
          <a:bodyPr/>
          <a:lstStyle/>
          <a:p>
            <a:pPr>
              <a:lnSpc>
                <a:spcPct val="92000"/>
              </a:lnSpc>
            </a:pPr>
            <a:fld id="{498264A3-5EAF-400A-8F75-901F5A2058AD}" type="datetime2">
              <a:rPr lang="da-DK" smtClean="0"/>
              <a:t>18. januar 2022</a:t>
            </a:fld>
            <a:endParaRPr lang="da-DK"/>
          </a:p>
        </p:txBody>
      </p:sp>
      <p:sp>
        <p:nvSpPr>
          <p:cNvPr id="12" name="Pladsholder til slidenummer 4">
            <a:extLst>
              <a:ext uri="{FF2B5EF4-FFF2-40B4-BE49-F238E27FC236}">
                <a16:creationId xmlns:a16="http://schemas.microsoft.com/office/drawing/2014/main" id="{2EB99018-6D65-40B9-910F-7D3B0A1F8D1C}"/>
              </a:ext>
            </a:extLst>
          </p:cNvPr>
          <p:cNvSpPr txBox="1">
            <a:spLocks/>
          </p:cNvSpPr>
          <p:nvPr/>
        </p:nvSpPr>
        <p:spPr>
          <a:xfrm>
            <a:off x="11052175" y="6267373"/>
            <a:ext cx="596899" cy="307878"/>
          </a:xfrm>
          <a:prstGeom prst="rect">
            <a:avLst/>
          </a:prstGeom>
        </p:spPr>
        <p:txBody>
          <a:bodyPr vert="horz" lIns="0" tIns="0" rIns="0" bIns="0" rtlCol="0" anchor="b" anchorCtr="0"/>
          <a:lstStyle>
            <a:defPPr>
              <a:defRPr lang="en-US"/>
            </a:defPPr>
            <a:lvl1pPr marL="0" algn="r" defTabSz="914400" rtl="0" eaLnBrk="1" latinLnBrk="0" hangingPunct="1">
              <a:lnSpc>
                <a:spcPct val="92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da-DK" dirty="0" smtClean="0"/>
              <a:pPr/>
              <a:t>13</a:t>
            </a:fld>
            <a:endParaRPr lang="da-DK"/>
          </a:p>
        </p:txBody>
      </p:sp>
      <p:grpSp>
        <p:nvGrpSpPr>
          <p:cNvPr id="13" name="Gruppe 12">
            <a:extLst>
              <a:ext uri="{FF2B5EF4-FFF2-40B4-BE49-F238E27FC236}">
                <a16:creationId xmlns:a16="http://schemas.microsoft.com/office/drawing/2014/main" id="{30235315-0B8D-4FEB-9F88-0B0FFE506DF3}"/>
              </a:ext>
            </a:extLst>
          </p:cNvPr>
          <p:cNvGrpSpPr/>
          <p:nvPr/>
        </p:nvGrpSpPr>
        <p:grpSpPr>
          <a:xfrm>
            <a:off x="510119" y="1695521"/>
            <a:ext cx="462431" cy="697494"/>
            <a:chOff x="1528535" y="1500708"/>
            <a:chExt cx="1200150" cy="1273519"/>
          </a:xfrm>
        </p:grpSpPr>
        <p:pic>
          <p:nvPicPr>
            <p:cNvPr id="14" name="Billede 13">
              <a:extLst>
                <a:ext uri="{FF2B5EF4-FFF2-40B4-BE49-F238E27FC236}">
                  <a16:creationId xmlns:a16="http://schemas.microsoft.com/office/drawing/2014/main" id="{DF36A586-8ECB-46A1-B4B8-D11204B87009}"/>
                </a:ext>
              </a:extLst>
            </p:cNvPr>
            <p:cNvPicPr>
              <a:picLocks noChangeAspect="1"/>
            </p:cNvPicPr>
            <p:nvPr/>
          </p:nvPicPr>
          <p:blipFill>
            <a:blip r:embed="rId2"/>
            <a:stretch>
              <a:fillRect/>
            </a:stretch>
          </p:blipFill>
          <p:spPr>
            <a:xfrm>
              <a:off x="1528535" y="1500708"/>
              <a:ext cx="1200150" cy="809625"/>
            </a:xfrm>
            <a:prstGeom prst="rect">
              <a:avLst/>
            </a:prstGeom>
          </p:spPr>
        </p:pic>
        <p:pic>
          <p:nvPicPr>
            <p:cNvPr id="15" name="Billede 14">
              <a:extLst>
                <a:ext uri="{FF2B5EF4-FFF2-40B4-BE49-F238E27FC236}">
                  <a16:creationId xmlns:a16="http://schemas.microsoft.com/office/drawing/2014/main" id="{58B70F8F-B4B9-413F-9669-EF0AE09303D2}"/>
                </a:ext>
              </a:extLst>
            </p:cNvPr>
            <p:cNvPicPr>
              <a:picLocks noChangeAspect="1"/>
            </p:cNvPicPr>
            <p:nvPr/>
          </p:nvPicPr>
          <p:blipFill>
            <a:blip r:embed="rId3"/>
            <a:stretch>
              <a:fillRect/>
            </a:stretch>
          </p:blipFill>
          <p:spPr>
            <a:xfrm>
              <a:off x="1528535" y="2301555"/>
              <a:ext cx="1113067" cy="472672"/>
            </a:xfrm>
            <a:prstGeom prst="rect">
              <a:avLst/>
            </a:prstGeom>
          </p:spPr>
        </p:pic>
      </p:grpSp>
      <p:grpSp>
        <p:nvGrpSpPr>
          <p:cNvPr id="16" name="Gruppe 15">
            <a:extLst>
              <a:ext uri="{FF2B5EF4-FFF2-40B4-BE49-F238E27FC236}">
                <a16:creationId xmlns:a16="http://schemas.microsoft.com/office/drawing/2014/main" id="{84E73341-1EF6-4637-A5DB-370A004BDA20}"/>
              </a:ext>
            </a:extLst>
          </p:cNvPr>
          <p:cNvGrpSpPr/>
          <p:nvPr/>
        </p:nvGrpSpPr>
        <p:grpSpPr>
          <a:xfrm>
            <a:off x="2531613" y="3755250"/>
            <a:ext cx="462431" cy="454303"/>
            <a:chOff x="3066595" y="1613743"/>
            <a:chExt cx="957035" cy="1009947"/>
          </a:xfrm>
        </p:grpSpPr>
        <p:pic>
          <p:nvPicPr>
            <p:cNvPr id="17" name="Billede 16">
              <a:extLst>
                <a:ext uri="{FF2B5EF4-FFF2-40B4-BE49-F238E27FC236}">
                  <a16:creationId xmlns:a16="http://schemas.microsoft.com/office/drawing/2014/main" id="{49C53902-73FB-4B62-BADA-A0A319E76325}"/>
                </a:ext>
              </a:extLst>
            </p:cNvPr>
            <p:cNvPicPr>
              <a:picLocks noChangeAspect="1"/>
            </p:cNvPicPr>
            <p:nvPr/>
          </p:nvPicPr>
          <p:blipFill>
            <a:blip r:embed="rId4"/>
            <a:stretch>
              <a:fillRect/>
            </a:stretch>
          </p:blipFill>
          <p:spPr>
            <a:xfrm>
              <a:off x="3066595" y="1613743"/>
              <a:ext cx="957035" cy="663088"/>
            </a:xfrm>
            <a:prstGeom prst="rect">
              <a:avLst/>
            </a:prstGeom>
          </p:spPr>
        </p:pic>
        <p:pic>
          <p:nvPicPr>
            <p:cNvPr id="18" name="Billede 17">
              <a:extLst>
                <a:ext uri="{FF2B5EF4-FFF2-40B4-BE49-F238E27FC236}">
                  <a16:creationId xmlns:a16="http://schemas.microsoft.com/office/drawing/2014/main" id="{D4FE27B5-5B5D-4EAE-BC18-4D9D2BDF067D}"/>
                </a:ext>
              </a:extLst>
            </p:cNvPr>
            <p:cNvPicPr>
              <a:picLocks noChangeAspect="1"/>
            </p:cNvPicPr>
            <p:nvPr/>
          </p:nvPicPr>
          <p:blipFill>
            <a:blip r:embed="rId5"/>
            <a:stretch>
              <a:fillRect/>
            </a:stretch>
          </p:blipFill>
          <p:spPr>
            <a:xfrm>
              <a:off x="3066595" y="2246033"/>
              <a:ext cx="809265" cy="377657"/>
            </a:xfrm>
            <a:prstGeom prst="rect">
              <a:avLst/>
            </a:prstGeom>
          </p:spPr>
        </p:pic>
      </p:grpSp>
      <p:grpSp>
        <p:nvGrpSpPr>
          <p:cNvPr id="19" name="Gruppe 18">
            <a:extLst>
              <a:ext uri="{FF2B5EF4-FFF2-40B4-BE49-F238E27FC236}">
                <a16:creationId xmlns:a16="http://schemas.microsoft.com/office/drawing/2014/main" id="{4E3E464C-C1F4-4700-90F0-DCB584B90025}"/>
              </a:ext>
            </a:extLst>
          </p:cNvPr>
          <p:cNvGrpSpPr/>
          <p:nvPr/>
        </p:nvGrpSpPr>
        <p:grpSpPr>
          <a:xfrm>
            <a:off x="2447570" y="2610773"/>
            <a:ext cx="545808" cy="459780"/>
            <a:chOff x="4452939" y="1592393"/>
            <a:chExt cx="1262856" cy="893026"/>
          </a:xfrm>
        </p:grpSpPr>
        <p:pic>
          <p:nvPicPr>
            <p:cNvPr id="20" name="Billede 19">
              <a:extLst>
                <a:ext uri="{FF2B5EF4-FFF2-40B4-BE49-F238E27FC236}">
                  <a16:creationId xmlns:a16="http://schemas.microsoft.com/office/drawing/2014/main" id="{BFD31E3F-95B7-453E-AFA7-54A108B58076}"/>
                </a:ext>
              </a:extLst>
            </p:cNvPr>
            <p:cNvPicPr>
              <a:picLocks noChangeAspect="1"/>
            </p:cNvPicPr>
            <p:nvPr/>
          </p:nvPicPr>
          <p:blipFill>
            <a:blip r:embed="rId6"/>
            <a:stretch>
              <a:fillRect/>
            </a:stretch>
          </p:blipFill>
          <p:spPr>
            <a:xfrm>
              <a:off x="4452939" y="1592393"/>
              <a:ext cx="1262856" cy="739780"/>
            </a:xfrm>
            <a:prstGeom prst="rect">
              <a:avLst/>
            </a:prstGeom>
          </p:spPr>
        </p:pic>
        <p:pic>
          <p:nvPicPr>
            <p:cNvPr id="21" name="Billede 20">
              <a:extLst>
                <a:ext uri="{FF2B5EF4-FFF2-40B4-BE49-F238E27FC236}">
                  <a16:creationId xmlns:a16="http://schemas.microsoft.com/office/drawing/2014/main" id="{F7CC5D28-E252-4EB2-A9EB-C5DFDF8C6E60}"/>
                </a:ext>
              </a:extLst>
            </p:cNvPr>
            <p:cNvPicPr>
              <a:picLocks noChangeAspect="1"/>
            </p:cNvPicPr>
            <p:nvPr/>
          </p:nvPicPr>
          <p:blipFill>
            <a:blip r:embed="rId7"/>
            <a:stretch>
              <a:fillRect/>
            </a:stretch>
          </p:blipFill>
          <p:spPr>
            <a:xfrm>
              <a:off x="4920910" y="2173380"/>
              <a:ext cx="577850" cy="312039"/>
            </a:xfrm>
            <a:prstGeom prst="rect">
              <a:avLst/>
            </a:prstGeom>
          </p:spPr>
        </p:pic>
      </p:grpSp>
      <p:grpSp>
        <p:nvGrpSpPr>
          <p:cNvPr id="22" name="Gruppe 21">
            <a:extLst>
              <a:ext uri="{FF2B5EF4-FFF2-40B4-BE49-F238E27FC236}">
                <a16:creationId xmlns:a16="http://schemas.microsoft.com/office/drawing/2014/main" id="{AB57EA59-07DD-4DA6-8808-1998762E9D24}"/>
              </a:ext>
            </a:extLst>
          </p:cNvPr>
          <p:cNvGrpSpPr/>
          <p:nvPr/>
        </p:nvGrpSpPr>
        <p:grpSpPr>
          <a:xfrm>
            <a:off x="325799" y="2521947"/>
            <a:ext cx="809265" cy="991617"/>
            <a:chOff x="6048203" y="1677759"/>
            <a:chExt cx="809265" cy="991617"/>
          </a:xfrm>
        </p:grpSpPr>
        <p:pic>
          <p:nvPicPr>
            <p:cNvPr id="23" name="Billede 22">
              <a:extLst>
                <a:ext uri="{FF2B5EF4-FFF2-40B4-BE49-F238E27FC236}">
                  <a16:creationId xmlns:a16="http://schemas.microsoft.com/office/drawing/2014/main" id="{DEAFDD4D-AE18-4FBE-A889-30805C4D8F2C}"/>
                </a:ext>
              </a:extLst>
            </p:cNvPr>
            <p:cNvPicPr>
              <a:picLocks noChangeAspect="1"/>
            </p:cNvPicPr>
            <p:nvPr/>
          </p:nvPicPr>
          <p:blipFill>
            <a:blip r:embed="rId8"/>
            <a:stretch>
              <a:fillRect/>
            </a:stretch>
          </p:blipFill>
          <p:spPr>
            <a:xfrm>
              <a:off x="6096000" y="1677759"/>
              <a:ext cx="726511" cy="654414"/>
            </a:xfrm>
            <a:prstGeom prst="rect">
              <a:avLst/>
            </a:prstGeom>
          </p:spPr>
        </p:pic>
        <p:pic>
          <p:nvPicPr>
            <p:cNvPr id="24" name="Billede 23">
              <a:extLst>
                <a:ext uri="{FF2B5EF4-FFF2-40B4-BE49-F238E27FC236}">
                  <a16:creationId xmlns:a16="http://schemas.microsoft.com/office/drawing/2014/main" id="{BD80304D-567E-4D93-8E44-12D297547AD3}"/>
                </a:ext>
              </a:extLst>
            </p:cNvPr>
            <p:cNvPicPr>
              <a:picLocks noChangeAspect="1"/>
            </p:cNvPicPr>
            <p:nvPr/>
          </p:nvPicPr>
          <p:blipFill>
            <a:blip r:embed="rId9"/>
            <a:stretch>
              <a:fillRect/>
            </a:stretch>
          </p:blipFill>
          <p:spPr>
            <a:xfrm>
              <a:off x="6048203" y="2362209"/>
              <a:ext cx="809265" cy="307167"/>
            </a:xfrm>
            <a:prstGeom prst="rect">
              <a:avLst/>
            </a:prstGeom>
          </p:spPr>
        </p:pic>
      </p:grpSp>
      <p:grpSp>
        <p:nvGrpSpPr>
          <p:cNvPr id="25" name="Gruppe 24">
            <a:extLst>
              <a:ext uri="{FF2B5EF4-FFF2-40B4-BE49-F238E27FC236}">
                <a16:creationId xmlns:a16="http://schemas.microsoft.com/office/drawing/2014/main" id="{CD4104D7-CE58-436A-A287-A5C4B8EFD0D8}"/>
              </a:ext>
            </a:extLst>
          </p:cNvPr>
          <p:cNvGrpSpPr/>
          <p:nvPr/>
        </p:nvGrpSpPr>
        <p:grpSpPr>
          <a:xfrm>
            <a:off x="2356057" y="5324490"/>
            <a:ext cx="700464" cy="738106"/>
            <a:chOff x="7316677" y="1790101"/>
            <a:chExt cx="733042" cy="754517"/>
          </a:xfrm>
        </p:grpSpPr>
        <p:pic>
          <p:nvPicPr>
            <p:cNvPr id="26" name="Billede 25">
              <a:extLst>
                <a:ext uri="{FF2B5EF4-FFF2-40B4-BE49-F238E27FC236}">
                  <a16:creationId xmlns:a16="http://schemas.microsoft.com/office/drawing/2014/main" id="{8370268E-1C2B-4C69-91EB-489740FA6675}"/>
                </a:ext>
              </a:extLst>
            </p:cNvPr>
            <p:cNvPicPr>
              <a:picLocks noChangeAspect="1"/>
            </p:cNvPicPr>
            <p:nvPr/>
          </p:nvPicPr>
          <p:blipFill>
            <a:blip r:embed="rId10"/>
            <a:stretch>
              <a:fillRect/>
            </a:stretch>
          </p:blipFill>
          <p:spPr>
            <a:xfrm>
              <a:off x="7316677" y="1790101"/>
              <a:ext cx="672759" cy="532399"/>
            </a:xfrm>
            <a:prstGeom prst="rect">
              <a:avLst/>
            </a:prstGeom>
          </p:spPr>
        </p:pic>
        <p:pic>
          <p:nvPicPr>
            <p:cNvPr id="27" name="Billede 26">
              <a:extLst>
                <a:ext uri="{FF2B5EF4-FFF2-40B4-BE49-F238E27FC236}">
                  <a16:creationId xmlns:a16="http://schemas.microsoft.com/office/drawing/2014/main" id="{5B8F4965-B578-4CE1-ADCD-D7E6199B36B4}"/>
                </a:ext>
              </a:extLst>
            </p:cNvPr>
            <p:cNvPicPr>
              <a:picLocks noChangeAspect="1"/>
            </p:cNvPicPr>
            <p:nvPr/>
          </p:nvPicPr>
          <p:blipFill>
            <a:blip r:embed="rId11"/>
            <a:stretch>
              <a:fillRect/>
            </a:stretch>
          </p:blipFill>
          <p:spPr>
            <a:xfrm>
              <a:off x="7351634" y="2322500"/>
              <a:ext cx="698085" cy="222118"/>
            </a:xfrm>
            <a:prstGeom prst="rect">
              <a:avLst/>
            </a:prstGeom>
          </p:spPr>
        </p:pic>
      </p:grpSp>
      <p:grpSp>
        <p:nvGrpSpPr>
          <p:cNvPr id="28" name="Gruppe 27">
            <a:extLst>
              <a:ext uri="{FF2B5EF4-FFF2-40B4-BE49-F238E27FC236}">
                <a16:creationId xmlns:a16="http://schemas.microsoft.com/office/drawing/2014/main" id="{DC184763-520F-46D3-9C55-B11DD7140524}"/>
              </a:ext>
            </a:extLst>
          </p:cNvPr>
          <p:cNvGrpSpPr/>
          <p:nvPr/>
        </p:nvGrpSpPr>
        <p:grpSpPr>
          <a:xfrm>
            <a:off x="1687457" y="1954375"/>
            <a:ext cx="373572" cy="549339"/>
            <a:chOff x="8421153" y="1819865"/>
            <a:chExt cx="860734" cy="1046603"/>
          </a:xfrm>
        </p:grpSpPr>
        <p:pic>
          <p:nvPicPr>
            <p:cNvPr id="29" name="Billede 28">
              <a:extLst>
                <a:ext uri="{FF2B5EF4-FFF2-40B4-BE49-F238E27FC236}">
                  <a16:creationId xmlns:a16="http://schemas.microsoft.com/office/drawing/2014/main" id="{A08153FE-792A-4B23-8BE7-2DD032FC8586}"/>
                </a:ext>
              </a:extLst>
            </p:cNvPr>
            <p:cNvPicPr>
              <a:picLocks noChangeAspect="1"/>
            </p:cNvPicPr>
            <p:nvPr/>
          </p:nvPicPr>
          <p:blipFill>
            <a:blip r:embed="rId12"/>
            <a:stretch>
              <a:fillRect/>
            </a:stretch>
          </p:blipFill>
          <p:spPr>
            <a:xfrm>
              <a:off x="8421153" y="1819865"/>
              <a:ext cx="860734" cy="808961"/>
            </a:xfrm>
            <a:prstGeom prst="rect">
              <a:avLst/>
            </a:prstGeom>
          </p:spPr>
        </p:pic>
        <p:pic>
          <p:nvPicPr>
            <p:cNvPr id="30" name="Billede 29">
              <a:extLst>
                <a:ext uri="{FF2B5EF4-FFF2-40B4-BE49-F238E27FC236}">
                  <a16:creationId xmlns:a16="http://schemas.microsoft.com/office/drawing/2014/main" id="{8AFB9DD6-C075-444E-9531-DCF7A27A4C3B}"/>
                </a:ext>
              </a:extLst>
            </p:cNvPr>
            <p:cNvPicPr>
              <a:picLocks noChangeAspect="1"/>
            </p:cNvPicPr>
            <p:nvPr/>
          </p:nvPicPr>
          <p:blipFill>
            <a:blip r:embed="rId13"/>
            <a:stretch>
              <a:fillRect/>
            </a:stretch>
          </p:blipFill>
          <p:spPr>
            <a:xfrm>
              <a:off x="8446887" y="2612898"/>
              <a:ext cx="809265" cy="253570"/>
            </a:xfrm>
            <a:prstGeom prst="rect">
              <a:avLst/>
            </a:prstGeom>
          </p:spPr>
        </p:pic>
      </p:grpSp>
      <p:grpSp>
        <p:nvGrpSpPr>
          <p:cNvPr id="31" name="Gruppe 30">
            <a:extLst>
              <a:ext uri="{FF2B5EF4-FFF2-40B4-BE49-F238E27FC236}">
                <a16:creationId xmlns:a16="http://schemas.microsoft.com/office/drawing/2014/main" id="{7CFF8028-C111-41D1-B3AB-59344E461780}"/>
              </a:ext>
            </a:extLst>
          </p:cNvPr>
          <p:cNvGrpSpPr/>
          <p:nvPr/>
        </p:nvGrpSpPr>
        <p:grpSpPr>
          <a:xfrm>
            <a:off x="1405807" y="4801398"/>
            <a:ext cx="809265" cy="893056"/>
            <a:chOff x="1491923" y="2761460"/>
            <a:chExt cx="809265" cy="893056"/>
          </a:xfrm>
        </p:grpSpPr>
        <p:pic>
          <p:nvPicPr>
            <p:cNvPr id="32" name="Billede 31">
              <a:extLst>
                <a:ext uri="{FF2B5EF4-FFF2-40B4-BE49-F238E27FC236}">
                  <a16:creationId xmlns:a16="http://schemas.microsoft.com/office/drawing/2014/main" id="{9B32CFED-CC1A-47F1-897F-03AF7658E613}"/>
                </a:ext>
              </a:extLst>
            </p:cNvPr>
            <p:cNvPicPr>
              <a:picLocks noChangeAspect="1"/>
            </p:cNvPicPr>
            <p:nvPr/>
          </p:nvPicPr>
          <p:blipFill>
            <a:blip r:embed="rId14"/>
            <a:stretch>
              <a:fillRect/>
            </a:stretch>
          </p:blipFill>
          <p:spPr>
            <a:xfrm>
              <a:off x="1491923" y="2761460"/>
              <a:ext cx="809265" cy="634289"/>
            </a:xfrm>
            <a:prstGeom prst="rect">
              <a:avLst/>
            </a:prstGeom>
          </p:spPr>
        </p:pic>
        <p:pic>
          <p:nvPicPr>
            <p:cNvPr id="33" name="Billede 32">
              <a:extLst>
                <a:ext uri="{FF2B5EF4-FFF2-40B4-BE49-F238E27FC236}">
                  <a16:creationId xmlns:a16="http://schemas.microsoft.com/office/drawing/2014/main" id="{0653C8C8-0A98-4BBD-A236-9A4E99DA40A0}"/>
                </a:ext>
              </a:extLst>
            </p:cNvPr>
            <p:cNvPicPr>
              <a:picLocks noChangeAspect="1"/>
            </p:cNvPicPr>
            <p:nvPr/>
          </p:nvPicPr>
          <p:blipFill>
            <a:blip r:embed="rId15"/>
            <a:stretch>
              <a:fillRect/>
            </a:stretch>
          </p:blipFill>
          <p:spPr>
            <a:xfrm>
              <a:off x="1491923" y="3400384"/>
              <a:ext cx="742464" cy="254132"/>
            </a:xfrm>
            <a:prstGeom prst="rect">
              <a:avLst/>
            </a:prstGeom>
          </p:spPr>
        </p:pic>
      </p:grpSp>
      <p:grpSp>
        <p:nvGrpSpPr>
          <p:cNvPr id="34" name="Gruppe 33">
            <a:extLst>
              <a:ext uri="{FF2B5EF4-FFF2-40B4-BE49-F238E27FC236}">
                <a16:creationId xmlns:a16="http://schemas.microsoft.com/office/drawing/2014/main" id="{761972FC-D6FA-4BB9-A112-6288DD4DE383}"/>
              </a:ext>
            </a:extLst>
          </p:cNvPr>
          <p:cNvGrpSpPr/>
          <p:nvPr/>
        </p:nvGrpSpPr>
        <p:grpSpPr>
          <a:xfrm>
            <a:off x="304684" y="5240950"/>
            <a:ext cx="1016116" cy="724867"/>
            <a:chOff x="2940775" y="2783410"/>
            <a:chExt cx="1060904" cy="902002"/>
          </a:xfrm>
        </p:grpSpPr>
        <p:pic>
          <p:nvPicPr>
            <p:cNvPr id="35" name="Billede 34">
              <a:extLst>
                <a:ext uri="{FF2B5EF4-FFF2-40B4-BE49-F238E27FC236}">
                  <a16:creationId xmlns:a16="http://schemas.microsoft.com/office/drawing/2014/main" id="{21B1E69B-AFEE-4359-B881-C791A0026A08}"/>
                </a:ext>
              </a:extLst>
            </p:cNvPr>
            <p:cNvPicPr>
              <a:picLocks noChangeAspect="1"/>
            </p:cNvPicPr>
            <p:nvPr/>
          </p:nvPicPr>
          <p:blipFill>
            <a:blip r:embed="rId16"/>
            <a:stretch>
              <a:fillRect/>
            </a:stretch>
          </p:blipFill>
          <p:spPr>
            <a:xfrm>
              <a:off x="2940775" y="2783410"/>
              <a:ext cx="1060904" cy="679875"/>
            </a:xfrm>
            <a:prstGeom prst="rect">
              <a:avLst/>
            </a:prstGeom>
          </p:spPr>
        </p:pic>
        <p:sp>
          <p:nvSpPr>
            <p:cNvPr id="36" name="Tekstfelt 35">
              <a:extLst>
                <a:ext uri="{FF2B5EF4-FFF2-40B4-BE49-F238E27FC236}">
                  <a16:creationId xmlns:a16="http://schemas.microsoft.com/office/drawing/2014/main" id="{2F1EB150-A072-460C-AA78-8CC84FD3F5A2}"/>
                </a:ext>
              </a:extLst>
            </p:cNvPr>
            <p:cNvSpPr txBox="1"/>
            <p:nvPr/>
          </p:nvSpPr>
          <p:spPr>
            <a:xfrm>
              <a:off x="3105557" y="3427008"/>
              <a:ext cx="731339" cy="258404"/>
            </a:xfrm>
            <a:prstGeom prst="rect">
              <a:avLst/>
            </a:prstGeom>
            <a:noFill/>
          </p:spPr>
          <p:txBody>
            <a:bodyPr wrap="square" lIns="0" tIns="0" rIns="0" bIns="0" rtlCol="0">
              <a:spAutoFit/>
            </a:bodyPr>
            <a:lstStyle/>
            <a:p>
              <a:pPr algn="ctr">
                <a:lnSpc>
                  <a:spcPct val="110000"/>
                </a:lnSpc>
              </a:pPr>
              <a:r>
                <a:rPr lang="da-DK" sz="800">
                  <a:solidFill>
                    <a:schemeClr val="accent1"/>
                  </a:solidFill>
                </a:rPr>
                <a:t>Sustainable development</a:t>
              </a:r>
            </a:p>
          </p:txBody>
        </p:sp>
      </p:grpSp>
      <p:grpSp>
        <p:nvGrpSpPr>
          <p:cNvPr id="37" name="Gruppe 36">
            <a:extLst>
              <a:ext uri="{FF2B5EF4-FFF2-40B4-BE49-F238E27FC236}">
                <a16:creationId xmlns:a16="http://schemas.microsoft.com/office/drawing/2014/main" id="{B87A3684-5ACD-4BCB-8A48-09F533EB88D8}"/>
              </a:ext>
            </a:extLst>
          </p:cNvPr>
          <p:cNvGrpSpPr/>
          <p:nvPr/>
        </p:nvGrpSpPr>
        <p:grpSpPr>
          <a:xfrm>
            <a:off x="335013" y="3915960"/>
            <a:ext cx="731339" cy="944525"/>
            <a:chOff x="4708066" y="2811998"/>
            <a:chExt cx="731339" cy="944525"/>
          </a:xfrm>
        </p:grpSpPr>
        <p:pic>
          <p:nvPicPr>
            <p:cNvPr id="38" name="Billede 37">
              <a:extLst>
                <a:ext uri="{FF2B5EF4-FFF2-40B4-BE49-F238E27FC236}">
                  <a16:creationId xmlns:a16="http://schemas.microsoft.com/office/drawing/2014/main" id="{CE520B34-67A8-49EB-B532-4CE320B9DD93}"/>
                </a:ext>
              </a:extLst>
            </p:cNvPr>
            <p:cNvPicPr>
              <a:picLocks noChangeAspect="1"/>
            </p:cNvPicPr>
            <p:nvPr/>
          </p:nvPicPr>
          <p:blipFill>
            <a:blip r:embed="rId17"/>
            <a:stretch>
              <a:fillRect/>
            </a:stretch>
          </p:blipFill>
          <p:spPr>
            <a:xfrm>
              <a:off x="4708066" y="2811998"/>
              <a:ext cx="731339" cy="724867"/>
            </a:xfrm>
            <a:prstGeom prst="rect">
              <a:avLst/>
            </a:prstGeom>
          </p:spPr>
        </p:pic>
        <p:pic>
          <p:nvPicPr>
            <p:cNvPr id="39" name="Billede 38">
              <a:extLst>
                <a:ext uri="{FF2B5EF4-FFF2-40B4-BE49-F238E27FC236}">
                  <a16:creationId xmlns:a16="http://schemas.microsoft.com/office/drawing/2014/main" id="{76F967F4-A73D-4790-B132-9ABA6CA0EC67}"/>
                </a:ext>
              </a:extLst>
            </p:cNvPr>
            <p:cNvPicPr>
              <a:picLocks noChangeAspect="1"/>
            </p:cNvPicPr>
            <p:nvPr/>
          </p:nvPicPr>
          <p:blipFill>
            <a:blip r:embed="rId18"/>
            <a:stretch>
              <a:fillRect/>
            </a:stretch>
          </p:blipFill>
          <p:spPr>
            <a:xfrm>
              <a:off x="4855559" y="3508446"/>
              <a:ext cx="369584" cy="248077"/>
            </a:xfrm>
            <a:prstGeom prst="rect">
              <a:avLst/>
            </a:prstGeom>
          </p:spPr>
        </p:pic>
      </p:grpSp>
      <p:grpSp>
        <p:nvGrpSpPr>
          <p:cNvPr id="40" name="Gruppe 39">
            <a:extLst>
              <a:ext uri="{FF2B5EF4-FFF2-40B4-BE49-F238E27FC236}">
                <a16:creationId xmlns:a16="http://schemas.microsoft.com/office/drawing/2014/main" id="{015E4510-1599-4853-93D8-6B97B172F726}"/>
              </a:ext>
            </a:extLst>
          </p:cNvPr>
          <p:cNvGrpSpPr/>
          <p:nvPr/>
        </p:nvGrpSpPr>
        <p:grpSpPr>
          <a:xfrm>
            <a:off x="1510223" y="3886992"/>
            <a:ext cx="539637" cy="583408"/>
            <a:chOff x="5858103" y="2841339"/>
            <a:chExt cx="728831" cy="728206"/>
          </a:xfrm>
        </p:grpSpPr>
        <p:pic>
          <p:nvPicPr>
            <p:cNvPr id="41" name="Billede 40">
              <a:extLst>
                <a:ext uri="{FF2B5EF4-FFF2-40B4-BE49-F238E27FC236}">
                  <a16:creationId xmlns:a16="http://schemas.microsoft.com/office/drawing/2014/main" id="{C045B5A6-412D-44B1-82D1-B02CCEEAEC82}"/>
                </a:ext>
              </a:extLst>
            </p:cNvPr>
            <p:cNvPicPr>
              <a:picLocks noChangeAspect="1"/>
            </p:cNvPicPr>
            <p:nvPr/>
          </p:nvPicPr>
          <p:blipFill>
            <a:blip r:embed="rId19"/>
            <a:stretch>
              <a:fillRect/>
            </a:stretch>
          </p:blipFill>
          <p:spPr>
            <a:xfrm>
              <a:off x="5858103" y="2841339"/>
              <a:ext cx="728831" cy="531688"/>
            </a:xfrm>
            <a:prstGeom prst="rect">
              <a:avLst/>
            </a:prstGeom>
          </p:spPr>
        </p:pic>
        <p:sp>
          <p:nvSpPr>
            <p:cNvPr id="42" name="Tekstfelt 41">
              <a:extLst>
                <a:ext uri="{FF2B5EF4-FFF2-40B4-BE49-F238E27FC236}">
                  <a16:creationId xmlns:a16="http://schemas.microsoft.com/office/drawing/2014/main" id="{EE5F5D96-62E5-481C-BE89-74BC71B9E755}"/>
                </a:ext>
              </a:extLst>
            </p:cNvPr>
            <p:cNvSpPr txBox="1"/>
            <p:nvPr/>
          </p:nvSpPr>
          <p:spPr>
            <a:xfrm>
              <a:off x="5858103" y="3354101"/>
              <a:ext cx="673198" cy="215444"/>
            </a:xfrm>
            <a:prstGeom prst="rect">
              <a:avLst/>
            </a:prstGeom>
            <a:noFill/>
          </p:spPr>
          <p:txBody>
            <a:bodyPr wrap="square">
              <a:spAutoFit/>
            </a:bodyPr>
            <a:lstStyle/>
            <a:p>
              <a:r>
                <a:rPr lang="en-US" sz="800"/>
                <a:t>Simplicity</a:t>
              </a:r>
              <a:endParaRPr lang="da-DK" sz="800"/>
            </a:p>
          </p:txBody>
        </p:sp>
      </p:grpSp>
      <p:grpSp>
        <p:nvGrpSpPr>
          <p:cNvPr id="43" name="Gruppe 42">
            <a:extLst>
              <a:ext uri="{FF2B5EF4-FFF2-40B4-BE49-F238E27FC236}">
                <a16:creationId xmlns:a16="http://schemas.microsoft.com/office/drawing/2014/main" id="{5112ED89-0424-4291-AD5C-45940F627DD3}"/>
              </a:ext>
            </a:extLst>
          </p:cNvPr>
          <p:cNvGrpSpPr/>
          <p:nvPr/>
        </p:nvGrpSpPr>
        <p:grpSpPr>
          <a:xfrm>
            <a:off x="1473703" y="2795230"/>
            <a:ext cx="991950" cy="816163"/>
            <a:chOff x="6875468" y="2932545"/>
            <a:chExt cx="1219402" cy="898353"/>
          </a:xfrm>
        </p:grpSpPr>
        <p:pic>
          <p:nvPicPr>
            <p:cNvPr id="44" name="Billede 43">
              <a:extLst>
                <a:ext uri="{FF2B5EF4-FFF2-40B4-BE49-F238E27FC236}">
                  <a16:creationId xmlns:a16="http://schemas.microsoft.com/office/drawing/2014/main" id="{2DD209CD-7C60-4C23-B9E7-8FE2D6FC56CA}"/>
                </a:ext>
              </a:extLst>
            </p:cNvPr>
            <p:cNvPicPr>
              <a:picLocks noChangeAspect="1"/>
            </p:cNvPicPr>
            <p:nvPr/>
          </p:nvPicPr>
          <p:blipFill>
            <a:blip r:embed="rId20"/>
            <a:stretch>
              <a:fillRect/>
            </a:stretch>
          </p:blipFill>
          <p:spPr>
            <a:xfrm>
              <a:off x="7160236" y="2932545"/>
              <a:ext cx="649867" cy="582818"/>
            </a:xfrm>
            <a:prstGeom prst="rect">
              <a:avLst/>
            </a:prstGeom>
          </p:spPr>
        </p:pic>
        <p:sp>
          <p:nvSpPr>
            <p:cNvPr id="45" name="Tekstfelt 44">
              <a:extLst>
                <a:ext uri="{FF2B5EF4-FFF2-40B4-BE49-F238E27FC236}">
                  <a16:creationId xmlns:a16="http://schemas.microsoft.com/office/drawing/2014/main" id="{71582A70-0F6C-4263-9A13-54A9C4F77CFE}"/>
                </a:ext>
              </a:extLst>
            </p:cNvPr>
            <p:cNvSpPr txBox="1"/>
            <p:nvPr/>
          </p:nvSpPr>
          <p:spPr>
            <a:xfrm>
              <a:off x="6875468" y="3492344"/>
              <a:ext cx="1219402" cy="338554"/>
            </a:xfrm>
            <a:prstGeom prst="rect">
              <a:avLst/>
            </a:prstGeom>
            <a:noFill/>
          </p:spPr>
          <p:txBody>
            <a:bodyPr wrap="square">
              <a:spAutoFit/>
            </a:bodyPr>
            <a:lstStyle/>
            <a:p>
              <a:pPr algn="ctr"/>
              <a:r>
                <a:rPr lang="en-US" sz="800"/>
                <a:t>self-organizing </a:t>
              </a:r>
            </a:p>
            <a:p>
              <a:pPr algn="ctr"/>
              <a:r>
                <a:rPr lang="en-US" sz="800"/>
                <a:t>teams</a:t>
              </a:r>
              <a:endParaRPr lang="da-DK" sz="800"/>
            </a:p>
          </p:txBody>
        </p:sp>
      </p:grpSp>
      <p:grpSp>
        <p:nvGrpSpPr>
          <p:cNvPr id="46" name="Gruppe 45">
            <a:extLst>
              <a:ext uri="{FF2B5EF4-FFF2-40B4-BE49-F238E27FC236}">
                <a16:creationId xmlns:a16="http://schemas.microsoft.com/office/drawing/2014/main" id="{5A4ABFE1-8124-4907-A616-847498CD3BF5}"/>
              </a:ext>
            </a:extLst>
          </p:cNvPr>
          <p:cNvGrpSpPr/>
          <p:nvPr/>
        </p:nvGrpSpPr>
        <p:grpSpPr>
          <a:xfrm>
            <a:off x="2196135" y="1522243"/>
            <a:ext cx="613355" cy="591563"/>
            <a:chOff x="8369896" y="3027498"/>
            <a:chExt cx="793969" cy="890580"/>
          </a:xfrm>
        </p:grpSpPr>
        <p:pic>
          <p:nvPicPr>
            <p:cNvPr id="47" name="Billede 46">
              <a:extLst>
                <a:ext uri="{FF2B5EF4-FFF2-40B4-BE49-F238E27FC236}">
                  <a16:creationId xmlns:a16="http://schemas.microsoft.com/office/drawing/2014/main" id="{BF2846B2-97C7-42AA-877E-BD8C77843467}"/>
                </a:ext>
              </a:extLst>
            </p:cNvPr>
            <p:cNvPicPr>
              <a:picLocks noChangeAspect="1"/>
            </p:cNvPicPr>
            <p:nvPr/>
          </p:nvPicPr>
          <p:blipFill>
            <a:blip r:embed="rId21"/>
            <a:stretch>
              <a:fillRect/>
            </a:stretch>
          </p:blipFill>
          <p:spPr>
            <a:xfrm>
              <a:off x="8369896" y="3027498"/>
              <a:ext cx="793969" cy="647390"/>
            </a:xfrm>
            <a:prstGeom prst="rect">
              <a:avLst/>
            </a:prstGeom>
          </p:spPr>
        </p:pic>
        <p:pic>
          <p:nvPicPr>
            <p:cNvPr id="48" name="Billede 47">
              <a:extLst>
                <a:ext uri="{FF2B5EF4-FFF2-40B4-BE49-F238E27FC236}">
                  <a16:creationId xmlns:a16="http://schemas.microsoft.com/office/drawing/2014/main" id="{89C7C5F3-56A6-4562-93FB-74E5EBEA21C5}"/>
                </a:ext>
              </a:extLst>
            </p:cNvPr>
            <p:cNvPicPr>
              <a:picLocks noChangeAspect="1"/>
            </p:cNvPicPr>
            <p:nvPr/>
          </p:nvPicPr>
          <p:blipFill>
            <a:blip r:embed="rId22"/>
            <a:stretch>
              <a:fillRect/>
            </a:stretch>
          </p:blipFill>
          <p:spPr>
            <a:xfrm>
              <a:off x="8394627" y="3685412"/>
              <a:ext cx="688875" cy="232666"/>
            </a:xfrm>
            <a:prstGeom prst="rect">
              <a:avLst/>
            </a:prstGeom>
          </p:spPr>
        </p:pic>
      </p:grpSp>
      <p:sp>
        <p:nvSpPr>
          <p:cNvPr id="55" name="Tekstfelt 54">
            <a:extLst>
              <a:ext uri="{FF2B5EF4-FFF2-40B4-BE49-F238E27FC236}">
                <a16:creationId xmlns:a16="http://schemas.microsoft.com/office/drawing/2014/main" id="{1B8BFBA4-6C72-4618-A3DB-AFFD93BB445D}"/>
              </a:ext>
            </a:extLst>
          </p:cNvPr>
          <p:cNvSpPr txBox="1"/>
          <p:nvPr/>
        </p:nvSpPr>
        <p:spPr>
          <a:xfrm>
            <a:off x="457191" y="520257"/>
            <a:ext cx="9100248" cy="495649"/>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A – 12 Principles </a:t>
            </a:r>
            <a:r>
              <a:rPr lang="en-GB" sz="2000" b="1">
                <a:solidFill>
                  <a:srgbClr val="14143C"/>
                </a:solidFill>
                <a:latin typeface="Academy Sans Office" panose="020B0503030000000000" pitchFamily="34" charset="0"/>
              </a:rPr>
              <a:t>(while listening to the presenter)</a:t>
            </a:r>
            <a:endParaRPr lang="da-DK" sz="2000" b="1">
              <a:solidFill>
                <a:srgbClr val="14143C"/>
              </a:solidFill>
              <a:latin typeface="Academy Sans" panose="020B0503030000000000" pitchFamily="34" charset="0"/>
            </a:endParaRPr>
          </a:p>
        </p:txBody>
      </p:sp>
      <mc:AlternateContent xmlns:mc="http://schemas.openxmlformats.org/markup-compatibility/2006">
        <mc:Choice xmlns:p14="http://schemas.microsoft.com/office/powerpoint/2010/main" Requires="p14">
          <p:contentPart p14:bwMode="auto" r:id="rId23">
            <p14:nvContentPartPr>
              <p14:cNvPr id="2" name="Håndskrift 1">
                <a:extLst>
                  <a:ext uri="{FF2B5EF4-FFF2-40B4-BE49-F238E27FC236}">
                    <a16:creationId xmlns:a16="http://schemas.microsoft.com/office/drawing/2014/main" id="{3969E016-55D8-4DEC-AE33-CBBCD4F7CB49}"/>
                  </a:ext>
                </a:extLst>
              </p14:cNvPr>
              <p14:cNvContentPartPr/>
              <p14:nvPr/>
            </p14:nvContentPartPr>
            <p14:xfrm>
              <a:off x="1418760" y="1609200"/>
              <a:ext cx="9512280" cy="2121120"/>
            </p14:xfrm>
          </p:contentPart>
        </mc:Choice>
        <mc:Fallback>
          <p:pic>
            <p:nvPicPr>
              <p:cNvPr id="2" name="Håndskrift 1">
                <a:extLst>
                  <a:ext uri="{FF2B5EF4-FFF2-40B4-BE49-F238E27FC236}">
                    <a16:creationId xmlns:a16="http://schemas.microsoft.com/office/drawing/2014/main" id="{3969E016-55D8-4DEC-AE33-CBBCD4F7CB49}"/>
                  </a:ext>
                </a:extLst>
              </p:cNvPr>
              <p:cNvPicPr/>
              <p:nvPr/>
            </p:nvPicPr>
            <p:blipFill>
              <a:blip r:embed="rId24"/>
              <a:stretch>
                <a:fillRect/>
              </a:stretch>
            </p:blipFill>
            <p:spPr>
              <a:xfrm>
                <a:off x="1409400" y="1599840"/>
                <a:ext cx="9531000" cy="2139840"/>
              </a:xfrm>
              <a:prstGeom prst="rect">
                <a:avLst/>
              </a:prstGeom>
            </p:spPr>
          </p:pic>
        </mc:Fallback>
      </mc:AlternateContent>
    </p:spTree>
    <p:extLst>
      <p:ext uri="{BB962C8B-B14F-4D97-AF65-F5344CB8AC3E}">
        <p14:creationId xmlns:p14="http://schemas.microsoft.com/office/powerpoint/2010/main" val="697397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dirty="0" smtClean="0"/>
              <a:pPr/>
              <a:t>14</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1225000" y="1894692"/>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1260305" y="3709923"/>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7131761"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B – Discussing12 Principles</a:t>
            </a:r>
            <a:endParaRPr lang="da-DK" sz="3200" b="1">
              <a:solidFill>
                <a:srgbClr val="14143C"/>
              </a:solidFill>
              <a:latin typeface="Academy Sans" panose="020B0503030000000000" pitchFamily="34" charset="0"/>
            </a:endParaRPr>
          </a:p>
        </p:txBody>
      </p:sp>
      <p:sp>
        <p:nvSpPr>
          <p:cNvPr id="38" name="TextBox 7">
            <a:extLst>
              <a:ext uri="{FF2B5EF4-FFF2-40B4-BE49-F238E27FC236}">
                <a16:creationId xmlns:a16="http://schemas.microsoft.com/office/drawing/2014/main" id="{268A982B-23AF-4EFC-BD33-BC8E0A0115EA}"/>
              </a:ext>
            </a:extLst>
          </p:cNvPr>
          <p:cNvSpPr txBox="1"/>
          <p:nvPr/>
        </p:nvSpPr>
        <p:spPr>
          <a:xfrm>
            <a:off x="1978623" y="1846795"/>
            <a:ext cx="4106929" cy="369332"/>
          </a:xfrm>
          <a:prstGeom prst="rect">
            <a:avLst/>
          </a:prstGeom>
          <a:noFill/>
        </p:spPr>
        <p:txBody>
          <a:bodyPr wrap="square" rtlCol="0" anchor="b">
            <a:spAutoFit/>
          </a:bodyPr>
          <a:lstStyle/>
          <a:p>
            <a:r>
              <a:rPr lang="en-US" b="1"/>
              <a:t>1 min.  - Each team member</a:t>
            </a:r>
            <a:endParaRPr lang="en-US" b="1" spc="-15">
              <a:solidFill>
                <a:srgbClr val="111340"/>
              </a:solidFill>
              <a:latin typeface="Poppins" pitchFamily="2" charset="77"/>
              <a:cs typeface="Poppins" pitchFamily="2" charset="77"/>
            </a:endParaRPr>
          </a:p>
        </p:txBody>
      </p:sp>
      <p:sp>
        <p:nvSpPr>
          <p:cNvPr id="39" name="TextBox 8">
            <a:extLst>
              <a:ext uri="{FF2B5EF4-FFF2-40B4-BE49-F238E27FC236}">
                <a16:creationId xmlns:a16="http://schemas.microsoft.com/office/drawing/2014/main" id="{4808E042-686F-4355-8A1C-3B681B43E298}"/>
              </a:ext>
            </a:extLst>
          </p:cNvPr>
          <p:cNvSpPr txBox="1"/>
          <p:nvPr/>
        </p:nvSpPr>
        <p:spPr>
          <a:xfrm>
            <a:off x="2046499" y="2239644"/>
            <a:ext cx="5074560" cy="759247"/>
          </a:xfrm>
          <a:prstGeom prst="rect">
            <a:avLst/>
          </a:prstGeom>
          <a:noFill/>
        </p:spPr>
        <p:txBody>
          <a:bodyPr wrap="square" rtlCol="0">
            <a:spAutoFit/>
          </a:bodyPr>
          <a:lstStyle/>
          <a:p>
            <a:pPr>
              <a:lnSpc>
                <a:spcPts val="1800"/>
              </a:lnSpc>
            </a:pPr>
            <a:r>
              <a:rPr lang="en-US" sz="1200" spc="-10">
                <a:cs typeface="Poppins" pitchFamily="2" charset="77"/>
              </a:rPr>
              <a:t>Each person shares what he or she is thinking, in relation to the 12 principles. The team listen to one another’s reflections.</a:t>
            </a:r>
          </a:p>
          <a:p>
            <a:pPr>
              <a:lnSpc>
                <a:spcPts val="1800"/>
              </a:lnSpc>
            </a:pPr>
            <a:endParaRPr lang="en-US" sz="1200" spc="-10">
              <a:cs typeface="Poppins" pitchFamily="2" charset="77"/>
            </a:endParaRPr>
          </a:p>
        </p:txBody>
      </p:sp>
      <p:sp>
        <p:nvSpPr>
          <p:cNvPr id="40" name="TextBox 9">
            <a:extLst>
              <a:ext uri="{FF2B5EF4-FFF2-40B4-BE49-F238E27FC236}">
                <a16:creationId xmlns:a16="http://schemas.microsoft.com/office/drawing/2014/main" id="{78D7B770-0C4A-4235-92C1-1BC3DB2012C1}"/>
              </a:ext>
            </a:extLst>
          </p:cNvPr>
          <p:cNvSpPr txBox="1"/>
          <p:nvPr/>
        </p:nvSpPr>
        <p:spPr>
          <a:xfrm>
            <a:off x="2008964" y="3662027"/>
            <a:ext cx="5193446" cy="369332"/>
          </a:xfrm>
          <a:prstGeom prst="rect">
            <a:avLst/>
          </a:prstGeom>
          <a:noFill/>
        </p:spPr>
        <p:txBody>
          <a:bodyPr wrap="square" rtlCol="0" anchor="b">
            <a:spAutoFit/>
          </a:bodyPr>
          <a:lstStyle/>
          <a:p>
            <a:r>
              <a:rPr lang="en-US" sz="1800" b="1"/>
              <a:t>1 min.  - Listen and reflect</a:t>
            </a:r>
            <a:endParaRPr lang="en-US" sz="1700" b="1" spc="-15">
              <a:solidFill>
                <a:srgbClr val="111340"/>
              </a:solidFill>
              <a:latin typeface="Poppins" pitchFamily="2" charset="77"/>
              <a:cs typeface="Poppins" pitchFamily="2" charset="77"/>
            </a:endParaRPr>
          </a:p>
        </p:txBody>
      </p:sp>
      <p:sp>
        <p:nvSpPr>
          <p:cNvPr id="41" name="TextBox 10">
            <a:extLst>
              <a:ext uri="{FF2B5EF4-FFF2-40B4-BE49-F238E27FC236}">
                <a16:creationId xmlns:a16="http://schemas.microsoft.com/office/drawing/2014/main" id="{95E9BEB0-D235-4E2C-8708-781F1E69E66F}"/>
              </a:ext>
            </a:extLst>
          </p:cNvPr>
          <p:cNvSpPr txBox="1"/>
          <p:nvPr/>
        </p:nvSpPr>
        <p:spPr>
          <a:xfrm>
            <a:off x="2063330" y="4226735"/>
            <a:ext cx="3468752" cy="770211"/>
          </a:xfrm>
          <a:prstGeom prst="rect">
            <a:avLst/>
          </a:prstGeom>
          <a:noFill/>
        </p:spPr>
        <p:txBody>
          <a:bodyPr wrap="square" rtlCol="0">
            <a:spAutoFit/>
          </a:bodyPr>
          <a:lstStyle/>
          <a:p>
            <a:pPr>
              <a:lnSpc>
                <a:spcPts val="1800"/>
              </a:lnSpc>
            </a:pPr>
            <a:r>
              <a:rPr lang="en-US" sz="1200" spc="-10">
                <a:solidFill>
                  <a:srgbClr val="434363"/>
                </a:solidFill>
                <a:latin typeface="Poppins" pitchFamily="2" charset="77"/>
                <a:cs typeface="Poppins" pitchFamily="2" charset="77"/>
              </a:rPr>
              <a:t>Each person in the team shares thoughts and feelings after having listened to everybody in the group.  </a:t>
            </a:r>
          </a:p>
        </p:txBody>
      </p:sp>
      <mc:AlternateContent xmlns:mc="http://schemas.openxmlformats.org/markup-compatibility/2006">
        <mc:Choice xmlns:p14="http://schemas.microsoft.com/office/powerpoint/2010/main" Requires="p14">
          <p:contentPart p14:bwMode="auto" r:id="rId2">
            <p14:nvContentPartPr>
              <p14:cNvPr id="4" name="Håndskrift 3">
                <a:extLst>
                  <a:ext uri="{FF2B5EF4-FFF2-40B4-BE49-F238E27FC236}">
                    <a16:creationId xmlns:a16="http://schemas.microsoft.com/office/drawing/2014/main" id="{897B5E35-8E7A-4AB3-85CC-781558ECF896}"/>
                  </a:ext>
                </a:extLst>
              </p14:cNvPr>
              <p14:cNvContentPartPr/>
              <p14:nvPr/>
            </p14:nvContentPartPr>
            <p14:xfrm>
              <a:off x="1996200" y="2152440"/>
              <a:ext cx="3410640" cy="1941840"/>
            </p14:xfrm>
          </p:contentPart>
        </mc:Choice>
        <mc:Fallback>
          <p:pic>
            <p:nvPicPr>
              <p:cNvPr id="4" name="Håndskrift 3">
                <a:extLst>
                  <a:ext uri="{FF2B5EF4-FFF2-40B4-BE49-F238E27FC236}">
                    <a16:creationId xmlns:a16="http://schemas.microsoft.com/office/drawing/2014/main" id="{897B5E35-8E7A-4AB3-85CC-781558ECF896}"/>
                  </a:ext>
                </a:extLst>
              </p:cNvPr>
              <p:cNvPicPr/>
              <p:nvPr/>
            </p:nvPicPr>
            <p:blipFill>
              <a:blip r:embed="rId3"/>
              <a:stretch>
                <a:fillRect/>
              </a:stretch>
            </p:blipFill>
            <p:spPr>
              <a:xfrm>
                <a:off x="1986840" y="2143080"/>
                <a:ext cx="3429360" cy="1960560"/>
              </a:xfrm>
              <a:prstGeom prst="rect">
                <a:avLst/>
              </a:prstGeom>
            </p:spPr>
          </p:pic>
        </mc:Fallback>
      </mc:AlternateContent>
    </p:spTree>
    <p:extLst>
      <p:ext uri="{BB962C8B-B14F-4D97-AF65-F5344CB8AC3E}">
        <p14:creationId xmlns:p14="http://schemas.microsoft.com/office/powerpoint/2010/main" val="973024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74337ADA-B9FE-49D5-833F-475B9F802F5A}"/>
              </a:ext>
            </a:extLst>
          </p:cNvPr>
          <p:cNvSpPr txBox="1"/>
          <p:nvPr/>
        </p:nvSpPr>
        <p:spPr>
          <a:xfrm>
            <a:off x="457191" y="520257"/>
            <a:ext cx="4397038"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The Agile team &amp; roles</a:t>
            </a:r>
            <a:endParaRPr lang="da-DK" sz="3200" b="1">
              <a:solidFill>
                <a:srgbClr val="14143C"/>
              </a:solidFill>
              <a:latin typeface="Academy Sans" panose="020B0503030000000000" pitchFamily="34" charset="0"/>
            </a:endParaRPr>
          </a:p>
        </p:txBody>
      </p:sp>
      <p:sp>
        <p:nvSpPr>
          <p:cNvPr id="3" name="Tekstfelt 2">
            <a:extLst>
              <a:ext uri="{FF2B5EF4-FFF2-40B4-BE49-F238E27FC236}">
                <a16:creationId xmlns:a16="http://schemas.microsoft.com/office/drawing/2014/main" id="{8EFE00FA-3DB8-446C-8992-20B7CB7CEE48}"/>
              </a:ext>
            </a:extLst>
          </p:cNvPr>
          <p:cNvSpPr txBox="1"/>
          <p:nvPr/>
        </p:nvSpPr>
        <p:spPr>
          <a:xfrm>
            <a:off x="1574791" y="954031"/>
            <a:ext cx="3191579"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A graphical presentation</a:t>
            </a:r>
            <a:endParaRPr lang="da-DK" sz="2000" b="1">
              <a:solidFill>
                <a:srgbClr val="14143C"/>
              </a:solidFill>
              <a:latin typeface="Academy Sans" panose="020B0503030000000000" pitchFamily="34" charset="0"/>
            </a:endParaRPr>
          </a:p>
        </p:txBody>
      </p:sp>
      <mc:AlternateContent xmlns:mc="http://schemas.openxmlformats.org/markup-compatibility/2006">
        <mc:Choice xmlns:p14="http://schemas.microsoft.com/office/powerpoint/2010/main" Requires="p14">
          <p:contentPart p14:bwMode="auto" r:id="rId2">
            <p14:nvContentPartPr>
              <p14:cNvPr id="4" name="Håndskrift 3">
                <a:extLst>
                  <a:ext uri="{FF2B5EF4-FFF2-40B4-BE49-F238E27FC236}">
                    <a16:creationId xmlns:a16="http://schemas.microsoft.com/office/drawing/2014/main" id="{53F3D0FE-B12A-437C-9572-B49ECB77089D}"/>
                  </a:ext>
                </a:extLst>
              </p14:cNvPr>
              <p14:cNvContentPartPr/>
              <p14:nvPr/>
            </p14:nvContentPartPr>
            <p14:xfrm>
              <a:off x="462600" y="47880"/>
              <a:ext cx="11200680" cy="6609960"/>
            </p14:xfrm>
          </p:contentPart>
        </mc:Choice>
        <mc:Fallback>
          <p:pic>
            <p:nvPicPr>
              <p:cNvPr id="4" name="Håndskrift 3">
                <a:extLst>
                  <a:ext uri="{FF2B5EF4-FFF2-40B4-BE49-F238E27FC236}">
                    <a16:creationId xmlns:a16="http://schemas.microsoft.com/office/drawing/2014/main" id="{53F3D0FE-B12A-437C-9572-B49ECB77089D}"/>
                  </a:ext>
                </a:extLst>
              </p:cNvPr>
              <p:cNvPicPr/>
              <p:nvPr/>
            </p:nvPicPr>
            <p:blipFill>
              <a:blip r:embed="rId3"/>
              <a:stretch>
                <a:fillRect/>
              </a:stretch>
            </p:blipFill>
            <p:spPr>
              <a:xfrm>
                <a:off x="453240" y="38520"/>
                <a:ext cx="11219400" cy="6628680"/>
              </a:xfrm>
              <a:prstGeom prst="rect">
                <a:avLst/>
              </a:prstGeom>
            </p:spPr>
          </p:pic>
        </mc:Fallback>
      </mc:AlternateContent>
      <mc:AlternateContent xmlns:mc="http://schemas.openxmlformats.org/markup-compatibility/2006">
        <mc:Choice xmlns:p14="http://schemas.microsoft.com/office/powerpoint/2010/main" Requires="p14">
          <p:contentPart p14:bwMode="auto" r:id="rId4">
            <p14:nvContentPartPr>
              <p14:cNvPr id="5" name="Håndskrift 4">
                <a:extLst>
                  <a:ext uri="{FF2B5EF4-FFF2-40B4-BE49-F238E27FC236}">
                    <a16:creationId xmlns:a16="http://schemas.microsoft.com/office/drawing/2014/main" id="{DA3EB2FB-C1FC-4AE1-839C-7B8C7FE46DB9}"/>
                  </a:ext>
                </a:extLst>
              </p14:cNvPr>
              <p14:cNvContentPartPr/>
              <p14:nvPr/>
            </p14:nvContentPartPr>
            <p14:xfrm>
              <a:off x="3085920" y="101160"/>
              <a:ext cx="6543720" cy="3404160"/>
            </p14:xfrm>
          </p:contentPart>
        </mc:Choice>
        <mc:Fallback>
          <p:pic>
            <p:nvPicPr>
              <p:cNvPr id="5" name="Håndskrift 4">
                <a:extLst>
                  <a:ext uri="{FF2B5EF4-FFF2-40B4-BE49-F238E27FC236}">
                    <a16:creationId xmlns:a16="http://schemas.microsoft.com/office/drawing/2014/main" id="{DA3EB2FB-C1FC-4AE1-839C-7B8C7FE46DB9}"/>
                  </a:ext>
                </a:extLst>
              </p:cNvPr>
              <p:cNvPicPr/>
              <p:nvPr/>
            </p:nvPicPr>
            <p:blipFill>
              <a:blip r:embed="rId5"/>
              <a:stretch>
                <a:fillRect/>
              </a:stretch>
            </p:blipFill>
            <p:spPr>
              <a:xfrm>
                <a:off x="3076560" y="91800"/>
                <a:ext cx="6562440" cy="3422880"/>
              </a:xfrm>
              <a:prstGeom prst="rect">
                <a:avLst/>
              </a:prstGeom>
            </p:spPr>
          </p:pic>
        </mc:Fallback>
      </mc:AlternateContent>
    </p:spTree>
    <p:extLst>
      <p:ext uri="{BB962C8B-B14F-4D97-AF65-F5344CB8AC3E}">
        <p14:creationId xmlns:p14="http://schemas.microsoft.com/office/powerpoint/2010/main" val="2749321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74337ADA-B9FE-49D5-833F-475B9F802F5A}"/>
              </a:ext>
            </a:extLst>
          </p:cNvPr>
          <p:cNvSpPr txBox="1"/>
          <p:nvPr/>
        </p:nvSpPr>
        <p:spPr>
          <a:xfrm>
            <a:off x="457191" y="520257"/>
            <a:ext cx="995465" cy="513602"/>
          </a:xfrm>
          <a:prstGeom prst="rect">
            <a:avLst/>
          </a:prstGeom>
          <a:noFill/>
        </p:spPr>
        <p:txBody>
          <a:bodyPr wrap="none" lIns="0" tIns="0" rIns="0" bIns="0" rtlCol="0">
            <a:spAutoFit/>
          </a:bodyPr>
          <a:lstStyle/>
          <a:p>
            <a:pPr>
              <a:lnSpc>
                <a:spcPct val="111000"/>
              </a:lnSpc>
            </a:pPr>
            <a:r>
              <a:rPr lang="en-GB" sz="3200" b="1" dirty="0">
                <a:solidFill>
                  <a:srgbClr val="14143C"/>
                </a:solidFill>
                <a:latin typeface="Academy Sans Office" panose="020B0503030000000000" pitchFamily="34" charset="0"/>
              </a:rPr>
              <a:t>SAFe</a:t>
            </a:r>
            <a:endParaRPr lang="da-DK" sz="3200" b="1" dirty="0">
              <a:solidFill>
                <a:srgbClr val="14143C"/>
              </a:solidFill>
              <a:latin typeface="Academy Sans" panose="020B0503030000000000" pitchFamily="34" charset="0"/>
            </a:endParaRPr>
          </a:p>
        </p:txBody>
      </p:sp>
      <p:sp>
        <p:nvSpPr>
          <p:cNvPr id="3" name="Tekstfelt 2">
            <a:extLst>
              <a:ext uri="{FF2B5EF4-FFF2-40B4-BE49-F238E27FC236}">
                <a16:creationId xmlns:a16="http://schemas.microsoft.com/office/drawing/2014/main" id="{8EFE00FA-3DB8-446C-8992-20B7CB7CEE48}"/>
              </a:ext>
            </a:extLst>
          </p:cNvPr>
          <p:cNvSpPr txBox="1"/>
          <p:nvPr/>
        </p:nvSpPr>
        <p:spPr>
          <a:xfrm>
            <a:off x="456202" y="954031"/>
            <a:ext cx="3191579" cy="320985"/>
          </a:xfrm>
          <a:prstGeom prst="rect">
            <a:avLst/>
          </a:prstGeom>
          <a:noFill/>
        </p:spPr>
        <p:txBody>
          <a:bodyPr wrap="none" lIns="0" tIns="0" rIns="0" bIns="0" rtlCol="0">
            <a:spAutoFit/>
          </a:bodyPr>
          <a:lstStyle/>
          <a:p>
            <a:pPr>
              <a:lnSpc>
                <a:spcPct val="111000"/>
              </a:lnSpc>
            </a:pPr>
            <a:r>
              <a:rPr lang="en-GB" sz="2000" b="1" dirty="0">
                <a:solidFill>
                  <a:srgbClr val="14143C"/>
                </a:solidFill>
                <a:latin typeface="Academy Sans Office" panose="020B0503030000000000" pitchFamily="34" charset="0"/>
              </a:rPr>
              <a:t>- A graphical presentation</a:t>
            </a:r>
            <a:endParaRPr lang="da-DK" sz="2000" b="1" dirty="0">
              <a:solidFill>
                <a:srgbClr val="14143C"/>
              </a:solidFill>
              <a:latin typeface="Academy Sans" panose="020B0503030000000000" pitchFamily="34" charset="0"/>
            </a:endParaRPr>
          </a:p>
        </p:txBody>
      </p:sp>
      <mc:AlternateContent xmlns:mc="http://schemas.openxmlformats.org/markup-compatibility/2006">
        <mc:Choice xmlns:p14="http://schemas.microsoft.com/office/powerpoint/2010/main" Requires="p14">
          <p:contentPart p14:bwMode="auto" r:id="rId2">
            <p14:nvContentPartPr>
              <p14:cNvPr id="5" name="Håndskrift 4">
                <a:extLst>
                  <a:ext uri="{FF2B5EF4-FFF2-40B4-BE49-F238E27FC236}">
                    <a16:creationId xmlns:a16="http://schemas.microsoft.com/office/drawing/2014/main" id="{344FC0BC-5530-49C9-B57A-8C2227CEA910}"/>
                  </a:ext>
                </a:extLst>
              </p14:cNvPr>
              <p14:cNvContentPartPr/>
              <p14:nvPr/>
            </p14:nvContentPartPr>
            <p14:xfrm>
              <a:off x="53280" y="8280"/>
              <a:ext cx="12120480" cy="6813360"/>
            </p14:xfrm>
          </p:contentPart>
        </mc:Choice>
        <mc:Fallback>
          <p:pic>
            <p:nvPicPr>
              <p:cNvPr id="5" name="Håndskrift 4">
                <a:extLst>
                  <a:ext uri="{FF2B5EF4-FFF2-40B4-BE49-F238E27FC236}">
                    <a16:creationId xmlns:a16="http://schemas.microsoft.com/office/drawing/2014/main" id="{344FC0BC-5530-49C9-B57A-8C2227CEA910}"/>
                  </a:ext>
                </a:extLst>
              </p:cNvPr>
              <p:cNvPicPr/>
              <p:nvPr/>
            </p:nvPicPr>
            <p:blipFill>
              <a:blip r:embed="rId3"/>
              <a:stretch>
                <a:fillRect/>
              </a:stretch>
            </p:blipFill>
            <p:spPr>
              <a:xfrm>
                <a:off x="43920" y="-1080"/>
                <a:ext cx="12139200" cy="6832080"/>
              </a:xfrm>
              <a:prstGeom prst="rect">
                <a:avLst/>
              </a:prstGeom>
            </p:spPr>
          </p:pic>
        </mc:Fallback>
      </mc:AlternateContent>
    </p:spTree>
    <p:extLst>
      <p:ext uri="{BB962C8B-B14F-4D97-AF65-F5344CB8AC3E}">
        <p14:creationId xmlns:p14="http://schemas.microsoft.com/office/powerpoint/2010/main" val="34573713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D29C6EC5-8F55-A240-B1C9-A05DA6EB82E4}"/>
              </a:ext>
            </a:extLst>
          </p:cNvPr>
          <p:cNvSpPr txBox="1"/>
          <p:nvPr/>
        </p:nvSpPr>
        <p:spPr>
          <a:xfrm>
            <a:off x="4314928" y="383789"/>
            <a:ext cx="3562194" cy="600164"/>
          </a:xfrm>
          <a:prstGeom prst="rect">
            <a:avLst/>
          </a:prstGeom>
          <a:noFill/>
          <a:ln>
            <a:noFill/>
          </a:ln>
        </p:spPr>
        <p:txBody>
          <a:bodyPr wrap="none" rtlCol="0" anchor="t">
            <a:spAutoFit/>
          </a:bodyPr>
          <a:lstStyle/>
          <a:p>
            <a:pPr algn="ctr"/>
            <a:r>
              <a:rPr lang="en-US" sz="3300" b="1" spc="150">
                <a:solidFill>
                  <a:schemeClr val="accent1"/>
                </a:solidFill>
                <a:latin typeface="Nunito Sans" pitchFamily="2" charset="77"/>
                <a:ea typeface="Source Sans Pro" panose="020B0503030403020204" pitchFamily="34" charset="0"/>
                <a:cs typeface="Lato Heavy" panose="020F0502020204030203" pitchFamily="34" charset="0"/>
              </a:rPr>
              <a:t>Implementation</a:t>
            </a:r>
          </a:p>
        </p:txBody>
      </p:sp>
      <p:sp>
        <p:nvSpPr>
          <p:cNvPr id="34" name="Subtitle 2">
            <a:extLst>
              <a:ext uri="{FF2B5EF4-FFF2-40B4-BE49-F238E27FC236}">
                <a16:creationId xmlns:a16="http://schemas.microsoft.com/office/drawing/2014/main" id="{66D34B8F-21AD-9044-B176-8F4B8054D0DD}"/>
              </a:ext>
            </a:extLst>
          </p:cNvPr>
          <p:cNvSpPr txBox="1">
            <a:spLocks/>
          </p:cNvSpPr>
          <p:nvPr/>
        </p:nvSpPr>
        <p:spPr>
          <a:xfrm>
            <a:off x="5565726" y="924896"/>
            <a:ext cx="1060547"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Kotter </a:t>
            </a:r>
          </a:p>
        </p:txBody>
      </p:sp>
      <p:sp>
        <p:nvSpPr>
          <p:cNvPr id="2" name="Donut 1">
            <a:extLst>
              <a:ext uri="{FF2B5EF4-FFF2-40B4-BE49-F238E27FC236}">
                <a16:creationId xmlns:a16="http://schemas.microsoft.com/office/drawing/2014/main" id="{A8276DB9-ECDE-CB4D-94C9-A73B6F75EA06}"/>
              </a:ext>
            </a:extLst>
          </p:cNvPr>
          <p:cNvSpPr>
            <a:spLocks noChangeAspect="1"/>
          </p:cNvSpPr>
          <p:nvPr/>
        </p:nvSpPr>
        <p:spPr>
          <a:xfrm>
            <a:off x="1640264"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37" name="Donut 36">
            <a:extLst>
              <a:ext uri="{FF2B5EF4-FFF2-40B4-BE49-F238E27FC236}">
                <a16:creationId xmlns:a16="http://schemas.microsoft.com/office/drawing/2014/main" id="{045EC588-95B2-934D-86A8-579D04F0CA79}"/>
              </a:ext>
            </a:extLst>
          </p:cNvPr>
          <p:cNvSpPr>
            <a:spLocks noChangeAspect="1"/>
          </p:cNvSpPr>
          <p:nvPr/>
        </p:nvSpPr>
        <p:spPr>
          <a:xfrm>
            <a:off x="1640264"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0" name="Donut 39">
            <a:extLst>
              <a:ext uri="{FF2B5EF4-FFF2-40B4-BE49-F238E27FC236}">
                <a16:creationId xmlns:a16="http://schemas.microsoft.com/office/drawing/2014/main" id="{54518AA7-7D00-9149-A298-85EB8A9BF304}"/>
              </a:ext>
            </a:extLst>
          </p:cNvPr>
          <p:cNvSpPr>
            <a:spLocks noChangeAspect="1"/>
          </p:cNvSpPr>
          <p:nvPr/>
        </p:nvSpPr>
        <p:spPr>
          <a:xfrm>
            <a:off x="1640264"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41" name="Donut 40">
            <a:extLst>
              <a:ext uri="{FF2B5EF4-FFF2-40B4-BE49-F238E27FC236}">
                <a16:creationId xmlns:a16="http://schemas.microsoft.com/office/drawing/2014/main" id="{24333D15-0025-2C49-8088-D4BA016DD9D4}"/>
              </a:ext>
            </a:extLst>
          </p:cNvPr>
          <p:cNvSpPr>
            <a:spLocks noChangeAspect="1"/>
          </p:cNvSpPr>
          <p:nvPr/>
        </p:nvSpPr>
        <p:spPr>
          <a:xfrm>
            <a:off x="1640264"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2" name="Donut 51">
            <a:extLst>
              <a:ext uri="{FF2B5EF4-FFF2-40B4-BE49-F238E27FC236}">
                <a16:creationId xmlns:a16="http://schemas.microsoft.com/office/drawing/2014/main" id="{23BB74D8-C840-4549-AF7C-11EF6D7B5513}"/>
              </a:ext>
            </a:extLst>
          </p:cNvPr>
          <p:cNvSpPr>
            <a:spLocks noChangeAspect="1"/>
          </p:cNvSpPr>
          <p:nvPr/>
        </p:nvSpPr>
        <p:spPr>
          <a:xfrm>
            <a:off x="6630931" y="154612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5" name="Donut 54">
            <a:extLst>
              <a:ext uri="{FF2B5EF4-FFF2-40B4-BE49-F238E27FC236}">
                <a16:creationId xmlns:a16="http://schemas.microsoft.com/office/drawing/2014/main" id="{B670CF3A-19D5-6D4A-853C-86965D1202BF}"/>
              </a:ext>
            </a:extLst>
          </p:cNvPr>
          <p:cNvSpPr>
            <a:spLocks noChangeAspect="1"/>
          </p:cNvSpPr>
          <p:nvPr/>
        </p:nvSpPr>
        <p:spPr>
          <a:xfrm>
            <a:off x="6630931" y="2819383"/>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6" name="Donut 55">
            <a:extLst>
              <a:ext uri="{FF2B5EF4-FFF2-40B4-BE49-F238E27FC236}">
                <a16:creationId xmlns:a16="http://schemas.microsoft.com/office/drawing/2014/main" id="{AA01C644-04C3-C24D-87B0-D8F53869357D}"/>
              </a:ext>
            </a:extLst>
          </p:cNvPr>
          <p:cNvSpPr>
            <a:spLocks noChangeAspect="1"/>
          </p:cNvSpPr>
          <p:nvPr/>
        </p:nvSpPr>
        <p:spPr>
          <a:xfrm>
            <a:off x="6630931" y="4092644"/>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57" name="Donut 56">
            <a:extLst>
              <a:ext uri="{FF2B5EF4-FFF2-40B4-BE49-F238E27FC236}">
                <a16:creationId xmlns:a16="http://schemas.microsoft.com/office/drawing/2014/main" id="{A3BA9BFE-45B5-3E4E-8534-D65D7728ED81}"/>
              </a:ext>
            </a:extLst>
          </p:cNvPr>
          <p:cNvSpPr>
            <a:spLocks noChangeAspect="1"/>
          </p:cNvSpPr>
          <p:nvPr/>
        </p:nvSpPr>
        <p:spPr>
          <a:xfrm>
            <a:off x="6630931" y="5365905"/>
            <a:ext cx="1005840" cy="1005840"/>
          </a:xfrm>
          <a:prstGeom prst="donut">
            <a:avLst>
              <a:gd name="adj" fmla="val 8150"/>
            </a:avLst>
          </a:prstGeom>
          <a:gradFill>
            <a:gsLst>
              <a:gs pos="0">
                <a:schemeClr val="accent1"/>
              </a:gs>
              <a:gs pos="50000">
                <a:schemeClr val="accent2"/>
              </a:gs>
              <a:gs pos="100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latin typeface="Nunito Sans ExtraLight" pitchFamily="2" charset="77"/>
            </a:endParaRPr>
          </a:p>
        </p:txBody>
      </p:sp>
      <p:sp>
        <p:nvSpPr>
          <p:cNvPr id="67" name="Shape 2665">
            <a:extLst>
              <a:ext uri="{FF2B5EF4-FFF2-40B4-BE49-F238E27FC236}">
                <a16:creationId xmlns:a16="http://schemas.microsoft.com/office/drawing/2014/main" id="{2996A48B-2296-CB40-AE4A-2C43346EA003}"/>
              </a:ext>
            </a:extLst>
          </p:cNvPr>
          <p:cNvSpPr>
            <a:spLocks noChangeAspect="1"/>
          </p:cNvSpPr>
          <p:nvPr/>
        </p:nvSpPr>
        <p:spPr>
          <a:xfrm>
            <a:off x="6930729" y="3211509"/>
            <a:ext cx="406244" cy="221588"/>
          </a:xfrm>
          <a:custGeom>
            <a:avLst/>
            <a:gdLst/>
            <a:ahLst/>
            <a:cxnLst>
              <a:cxn ang="0">
                <a:pos x="wd2" y="hd2"/>
              </a:cxn>
              <a:cxn ang="5400000">
                <a:pos x="wd2" y="hd2"/>
              </a:cxn>
              <a:cxn ang="10800000">
                <a:pos x="wd2" y="hd2"/>
              </a:cxn>
              <a:cxn ang="16200000">
                <a:pos x="wd2" y="hd2"/>
              </a:cxn>
            </a:cxnLst>
            <a:rect l="0" t="0" r="r" b="b"/>
            <a:pathLst>
              <a:path w="21600" h="21600" extrusionOk="0">
                <a:moveTo>
                  <a:pt x="19636" y="18000"/>
                </a:moveTo>
                <a:cubicBezTo>
                  <a:pt x="19636" y="18995"/>
                  <a:pt x="19196" y="19800"/>
                  <a:pt x="18655" y="19800"/>
                </a:cubicBezTo>
                <a:lnTo>
                  <a:pt x="1964" y="19800"/>
                </a:lnTo>
                <a:cubicBezTo>
                  <a:pt x="1422" y="19800"/>
                  <a:pt x="982" y="18995"/>
                  <a:pt x="982" y="18000"/>
                </a:cubicBezTo>
                <a:lnTo>
                  <a:pt x="982" y="3600"/>
                </a:lnTo>
                <a:cubicBezTo>
                  <a:pt x="982" y="2607"/>
                  <a:pt x="1422" y="1800"/>
                  <a:pt x="1964" y="1800"/>
                </a:cubicBezTo>
                <a:lnTo>
                  <a:pt x="18655" y="1800"/>
                </a:lnTo>
                <a:cubicBezTo>
                  <a:pt x="19196" y="1800"/>
                  <a:pt x="19636" y="2607"/>
                  <a:pt x="19636" y="3600"/>
                </a:cubicBezTo>
                <a:cubicBezTo>
                  <a:pt x="19636" y="3600"/>
                  <a:pt x="19636" y="18000"/>
                  <a:pt x="19636" y="18000"/>
                </a:cubicBezTo>
                <a:close/>
                <a:moveTo>
                  <a:pt x="20618" y="7200"/>
                </a:moveTo>
                <a:lnTo>
                  <a:pt x="20618" y="3600"/>
                </a:lnTo>
                <a:cubicBezTo>
                  <a:pt x="20618" y="1612"/>
                  <a:pt x="19739" y="0"/>
                  <a:pt x="18655" y="0"/>
                </a:cubicBezTo>
                <a:lnTo>
                  <a:pt x="1964" y="0"/>
                </a:lnTo>
                <a:cubicBezTo>
                  <a:pt x="879" y="0"/>
                  <a:pt x="0" y="1612"/>
                  <a:pt x="0" y="3600"/>
                </a:cubicBezTo>
                <a:lnTo>
                  <a:pt x="0" y="18000"/>
                </a:lnTo>
                <a:cubicBezTo>
                  <a:pt x="0" y="19989"/>
                  <a:pt x="879" y="21600"/>
                  <a:pt x="1964" y="21600"/>
                </a:cubicBezTo>
                <a:lnTo>
                  <a:pt x="18655" y="21600"/>
                </a:lnTo>
                <a:cubicBezTo>
                  <a:pt x="19739" y="21600"/>
                  <a:pt x="20618" y="19989"/>
                  <a:pt x="20618" y="18000"/>
                </a:cubicBezTo>
                <a:lnTo>
                  <a:pt x="20618" y="14400"/>
                </a:lnTo>
                <a:cubicBezTo>
                  <a:pt x="21160" y="14400"/>
                  <a:pt x="21600" y="13595"/>
                  <a:pt x="21600" y="12600"/>
                </a:cubicBezTo>
                <a:lnTo>
                  <a:pt x="21600" y="9000"/>
                </a:lnTo>
                <a:cubicBezTo>
                  <a:pt x="21600" y="8007"/>
                  <a:pt x="21160" y="7200"/>
                  <a:pt x="20618" y="7200"/>
                </a:cubicBezTo>
                <a:moveTo>
                  <a:pt x="1964" y="18000"/>
                </a:moveTo>
                <a:lnTo>
                  <a:pt x="6873" y="18000"/>
                </a:lnTo>
                <a:lnTo>
                  <a:pt x="6873" y="3600"/>
                </a:lnTo>
                <a:lnTo>
                  <a:pt x="1964" y="3600"/>
                </a:lnTo>
                <a:cubicBezTo>
                  <a:pt x="1964" y="3600"/>
                  <a:pt x="1964" y="18000"/>
                  <a:pt x="1964" y="18000"/>
                </a:cubicBezTo>
                <a:close/>
              </a:path>
            </a:pathLst>
          </a:custGeom>
          <a:solidFill>
            <a:schemeClr val="tx2"/>
          </a:solidFill>
          <a:ln w="12700">
            <a:miter lim="400000"/>
          </a:ln>
        </p:spPr>
        <p:txBody>
          <a:bodyPr lIns="19045" tIns="19045" rIns="19045" bIns="19045" anchor="ctr"/>
          <a:lstStyle/>
          <a:p>
            <a:pPr defTabSz="228532">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sz="1500">
              <a:latin typeface="Nunito Sans ExtraLight" pitchFamily="2" charset="77"/>
              <a:ea typeface="Open Sans Semibold" charset="0"/>
              <a:cs typeface="Open Sans Semibold" charset="0"/>
            </a:endParaRPr>
          </a:p>
        </p:txBody>
      </p:sp>
      <p:sp>
        <p:nvSpPr>
          <p:cNvPr id="70" name="TextBox 69">
            <a:extLst>
              <a:ext uri="{FF2B5EF4-FFF2-40B4-BE49-F238E27FC236}">
                <a16:creationId xmlns:a16="http://schemas.microsoft.com/office/drawing/2014/main" id="{99E6E3C0-1C3D-AF4F-A334-0DA4DA039437}"/>
              </a:ext>
            </a:extLst>
          </p:cNvPr>
          <p:cNvSpPr txBox="1"/>
          <p:nvPr/>
        </p:nvSpPr>
        <p:spPr>
          <a:xfrm>
            <a:off x="2871760"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1</a:t>
            </a:r>
          </a:p>
        </p:txBody>
      </p:sp>
      <p:sp>
        <p:nvSpPr>
          <p:cNvPr id="71" name="Subtitle 2">
            <a:extLst>
              <a:ext uri="{FF2B5EF4-FFF2-40B4-BE49-F238E27FC236}">
                <a16:creationId xmlns:a16="http://schemas.microsoft.com/office/drawing/2014/main" id="{372D8B03-C106-6545-B076-0B990722954E}"/>
              </a:ext>
            </a:extLst>
          </p:cNvPr>
          <p:cNvSpPr txBox="1">
            <a:spLocks/>
          </p:cNvSpPr>
          <p:nvPr/>
        </p:nvSpPr>
        <p:spPr>
          <a:xfrm>
            <a:off x="2871760" y="1943107"/>
            <a:ext cx="2701668" cy="58124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10000"/>
              </a:lnSpc>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burning platform  &amp; Proactive leadership</a:t>
            </a:r>
            <a:endPar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3" name="TextBox 72">
            <a:extLst>
              <a:ext uri="{FF2B5EF4-FFF2-40B4-BE49-F238E27FC236}">
                <a16:creationId xmlns:a16="http://schemas.microsoft.com/office/drawing/2014/main" id="{FBCBB35D-6ABF-CE4A-8531-2778D60C64CC}"/>
              </a:ext>
            </a:extLst>
          </p:cNvPr>
          <p:cNvSpPr txBox="1"/>
          <p:nvPr/>
        </p:nvSpPr>
        <p:spPr>
          <a:xfrm>
            <a:off x="2871760"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3</a:t>
            </a:r>
          </a:p>
        </p:txBody>
      </p:sp>
      <p:sp>
        <p:nvSpPr>
          <p:cNvPr id="74" name="Subtitle 2">
            <a:extLst>
              <a:ext uri="{FF2B5EF4-FFF2-40B4-BE49-F238E27FC236}">
                <a16:creationId xmlns:a16="http://schemas.microsoft.com/office/drawing/2014/main" id="{0CFDD534-4B05-D640-B5E1-98B66DD54DEB}"/>
              </a:ext>
            </a:extLst>
          </p:cNvPr>
          <p:cNvSpPr txBox="1">
            <a:spLocks/>
          </p:cNvSpPr>
          <p:nvPr/>
        </p:nvSpPr>
        <p:spPr>
          <a:xfrm>
            <a:off x="2871760" y="3216368"/>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executives, managers &amp; leaders</a:t>
            </a:r>
          </a:p>
        </p:txBody>
      </p:sp>
      <p:sp>
        <p:nvSpPr>
          <p:cNvPr id="76" name="TextBox 75">
            <a:extLst>
              <a:ext uri="{FF2B5EF4-FFF2-40B4-BE49-F238E27FC236}">
                <a16:creationId xmlns:a16="http://schemas.microsoft.com/office/drawing/2014/main" id="{A65214D5-4626-234C-B569-476D29CE1A81}"/>
              </a:ext>
            </a:extLst>
          </p:cNvPr>
          <p:cNvSpPr txBox="1"/>
          <p:nvPr/>
        </p:nvSpPr>
        <p:spPr>
          <a:xfrm>
            <a:off x="2871760" y="4114159"/>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5</a:t>
            </a:r>
          </a:p>
        </p:txBody>
      </p:sp>
      <p:sp>
        <p:nvSpPr>
          <p:cNvPr id="77" name="Subtitle 2">
            <a:extLst>
              <a:ext uri="{FF2B5EF4-FFF2-40B4-BE49-F238E27FC236}">
                <a16:creationId xmlns:a16="http://schemas.microsoft.com/office/drawing/2014/main" id="{7C8DA79E-C323-994E-9872-B3D2A217FE40}"/>
              </a:ext>
            </a:extLst>
          </p:cNvPr>
          <p:cNvSpPr txBox="1">
            <a:spLocks/>
          </p:cNvSpPr>
          <p:nvPr/>
        </p:nvSpPr>
        <p:spPr>
          <a:xfrm>
            <a:off x="2871760"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A guiding coalition</a:t>
            </a:r>
          </a:p>
        </p:txBody>
      </p:sp>
      <p:sp>
        <p:nvSpPr>
          <p:cNvPr id="79" name="TextBox 78">
            <a:extLst>
              <a:ext uri="{FF2B5EF4-FFF2-40B4-BE49-F238E27FC236}">
                <a16:creationId xmlns:a16="http://schemas.microsoft.com/office/drawing/2014/main" id="{1141DF43-619F-CB47-9499-30E2AC024241}"/>
              </a:ext>
            </a:extLst>
          </p:cNvPr>
          <p:cNvSpPr txBox="1"/>
          <p:nvPr/>
        </p:nvSpPr>
        <p:spPr>
          <a:xfrm>
            <a:off x="2871760" y="5387420"/>
            <a:ext cx="85632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7</a:t>
            </a:r>
          </a:p>
        </p:txBody>
      </p:sp>
      <p:sp>
        <p:nvSpPr>
          <p:cNvPr id="80" name="Subtitle 2">
            <a:extLst>
              <a:ext uri="{FF2B5EF4-FFF2-40B4-BE49-F238E27FC236}">
                <a16:creationId xmlns:a16="http://schemas.microsoft.com/office/drawing/2014/main" id="{E0342747-6FBB-9744-BA19-281897EC22E3}"/>
              </a:ext>
            </a:extLst>
          </p:cNvPr>
          <p:cNvSpPr txBox="1">
            <a:spLocks/>
          </p:cNvSpPr>
          <p:nvPr/>
        </p:nvSpPr>
        <p:spPr>
          <a:xfrm>
            <a:off x="2871760" y="5762889"/>
            <a:ext cx="2701668" cy="55656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reate the implementation plan.</a:t>
            </a:r>
          </a:p>
        </p:txBody>
      </p:sp>
      <p:sp>
        <p:nvSpPr>
          <p:cNvPr id="82" name="TextBox 81">
            <a:extLst>
              <a:ext uri="{FF2B5EF4-FFF2-40B4-BE49-F238E27FC236}">
                <a16:creationId xmlns:a16="http://schemas.microsoft.com/office/drawing/2014/main" id="{16339A6E-672F-8A4B-B0B8-FA408A5E7274}"/>
              </a:ext>
            </a:extLst>
          </p:cNvPr>
          <p:cNvSpPr txBox="1"/>
          <p:nvPr/>
        </p:nvSpPr>
        <p:spPr>
          <a:xfrm>
            <a:off x="7850069" y="156763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2</a:t>
            </a:r>
          </a:p>
        </p:txBody>
      </p:sp>
      <p:sp>
        <p:nvSpPr>
          <p:cNvPr id="83" name="Subtitle 2">
            <a:extLst>
              <a:ext uri="{FF2B5EF4-FFF2-40B4-BE49-F238E27FC236}">
                <a16:creationId xmlns:a16="http://schemas.microsoft.com/office/drawing/2014/main" id="{4B1DA067-2C25-F94C-8B83-5DF44851FD5A}"/>
              </a:ext>
            </a:extLst>
          </p:cNvPr>
          <p:cNvSpPr txBox="1">
            <a:spLocks/>
          </p:cNvSpPr>
          <p:nvPr/>
        </p:nvSpPr>
        <p:spPr>
          <a:xfrm>
            <a:off x="7850069" y="1943107"/>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Train change Agents</a:t>
            </a:r>
          </a:p>
        </p:txBody>
      </p:sp>
      <p:sp>
        <p:nvSpPr>
          <p:cNvPr id="85" name="TextBox 84">
            <a:extLst>
              <a:ext uri="{FF2B5EF4-FFF2-40B4-BE49-F238E27FC236}">
                <a16:creationId xmlns:a16="http://schemas.microsoft.com/office/drawing/2014/main" id="{9AAA4B1F-A1AE-E64A-AB9D-2C53E1D1EE5E}"/>
              </a:ext>
            </a:extLst>
          </p:cNvPr>
          <p:cNvSpPr txBox="1"/>
          <p:nvPr/>
        </p:nvSpPr>
        <p:spPr>
          <a:xfrm>
            <a:off x="7850069" y="2840898"/>
            <a:ext cx="856325" cy="338554"/>
          </a:xfrm>
          <a:prstGeom prst="rect">
            <a:avLst/>
          </a:prstGeom>
          <a:noFill/>
          <a:ln>
            <a:noFill/>
          </a:ln>
        </p:spPr>
        <p:txBody>
          <a:bodyPr wrap="none" rtlCol="0" anchor="b">
            <a:spAutoFit/>
          </a:bodyPr>
          <a:lstStyle/>
          <a:p>
            <a:r>
              <a:rPr lang="en-US" sz="1600" spc="75">
                <a:solidFill>
                  <a:schemeClr val="accent1"/>
                </a:solidFill>
                <a:latin typeface="Nunito Sans SemiBold" pitchFamily="2" charset="77"/>
                <a:ea typeface="Source Sans Pro" panose="020B0503030403020204" pitchFamily="34" charset="0"/>
                <a:cs typeface="Lato Heavy" panose="020F0502020204030203" pitchFamily="34" charset="0"/>
              </a:rPr>
              <a:t>Step 4</a:t>
            </a:r>
          </a:p>
        </p:txBody>
      </p:sp>
      <p:sp>
        <p:nvSpPr>
          <p:cNvPr id="86" name="Subtitle 2">
            <a:extLst>
              <a:ext uri="{FF2B5EF4-FFF2-40B4-BE49-F238E27FC236}">
                <a16:creationId xmlns:a16="http://schemas.microsoft.com/office/drawing/2014/main" id="{1FC2677F-9EC4-E940-AC78-AFE7F63815EA}"/>
              </a:ext>
            </a:extLst>
          </p:cNvPr>
          <p:cNvSpPr txBox="1">
            <a:spLocks/>
          </p:cNvSpPr>
          <p:nvPr/>
        </p:nvSpPr>
        <p:spPr>
          <a:xfrm>
            <a:off x="7850069" y="3216368"/>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Change mindset</a:t>
            </a:r>
          </a:p>
        </p:txBody>
      </p:sp>
      <p:sp>
        <p:nvSpPr>
          <p:cNvPr id="88" name="TextBox 87">
            <a:extLst>
              <a:ext uri="{FF2B5EF4-FFF2-40B4-BE49-F238E27FC236}">
                <a16:creationId xmlns:a16="http://schemas.microsoft.com/office/drawing/2014/main" id="{1D95973B-261A-B54E-A414-4DADF138B2B9}"/>
              </a:ext>
            </a:extLst>
          </p:cNvPr>
          <p:cNvSpPr txBox="1"/>
          <p:nvPr/>
        </p:nvSpPr>
        <p:spPr>
          <a:xfrm>
            <a:off x="7850069" y="4114159"/>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6 </a:t>
            </a:r>
          </a:p>
        </p:txBody>
      </p:sp>
      <p:sp>
        <p:nvSpPr>
          <p:cNvPr id="89" name="Subtitle 2">
            <a:extLst>
              <a:ext uri="{FF2B5EF4-FFF2-40B4-BE49-F238E27FC236}">
                <a16:creationId xmlns:a16="http://schemas.microsoft.com/office/drawing/2014/main" id="{7299D0FF-D9EA-7845-9673-8176AA0EF87F}"/>
              </a:ext>
            </a:extLst>
          </p:cNvPr>
          <p:cNvSpPr txBox="1">
            <a:spLocks/>
          </p:cNvSpPr>
          <p:nvPr/>
        </p:nvSpPr>
        <p:spPr>
          <a:xfrm>
            <a:off x="7850069" y="4489628"/>
            <a:ext cx="2701668" cy="29963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accent1"/>
                </a:solidFill>
                <a:latin typeface="Open Sans" panose="020B0606030504020204" pitchFamily="34" charset="0"/>
                <a:ea typeface="Open Sans" panose="020B0606030504020204" pitchFamily="34" charset="0"/>
                <a:cs typeface="Open Sans" panose="020B0606030504020204" pitchFamily="34" charset="0"/>
              </a:rPr>
              <a:t>Organize around value</a:t>
            </a:r>
          </a:p>
        </p:txBody>
      </p:sp>
      <p:sp>
        <p:nvSpPr>
          <p:cNvPr id="91" name="TextBox 90">
            <a:extLst>
              <a:ext uri="{FF2B5EF4-FFF2-40B4-BE49-F238E27FC236}">
                <a16:creationId xmlns:a16="http://schemas.microsoft.com/office/drawing/2014/main" id="{41EC7EC0-4B3C-2342-9822-4E190D9E3114}"/>
              </a:ext>
            </a:extLst>
          </p:cNvPr>
          <p:cNvSpPr txBox="1"/>
          <p:nvPr/>
        </p:nvSpPr>
        <p:spPr>
          <a:xfrm>
            <a:off x="7850069" y="5387420"/>
            <a:ext cx="920445" cy="338554"/>
          </a:xfrm>
          <a:prstGeom prst="rect">
            <a:avLst/>
          </a:prstGeom>
          <a:noFill/>
          <a:ln>
            <a:noFill/>
          </a:ln>
        </p:spPr>
        <p:txBody>
          <a:bodyPr wrap="none" rtlCol="0" anchor="b">
            <a:spAutoFit/>
          </a:bodyPr>
          <a:lstStyle/>
          <a:p>
            <a:r>
              <a:rPr lang="en-US" sz="1600" b="1" spc="75">
                <a:solidFill>
                  <a:schemeClr val="accent1"/>
                </a:solidFill>
                <a:latin typeface="Nunito Sans SemiBold" pitchFamily="2" charset="77"/>
                <a:ea typeface="Source Sans Pro" panose="020B0503030403020204" pitchFamily="34" charset="0"/>
                <a:cs typeface="Lato Heavy" panose="020F0502020204030203" pitchFamily="34" charset="0"/>
              </a:rPr>
              <a:t>Step 8 </a:t>
            </a:r>
          </a:p>
        </p:txBody>
      </p:sp>
      <p:sp>
        <p:nvSpPr>
          <p:cNvPr id="92" name="Subtitle 2">
            <a:extLst>
              <a:ext uri="{FF2B5EF4-FFF2-40B4-BE49-F238E27FC236}">
                <a16:creationId xmlns:a16="http://schemas.microsoft.com/office/drawing/2014/main" id="{5D346F76-CA35-AA47-9C2C-196A3358171E}"/>
              </a:ext>
            </a:extLst>
          </p:cNvPr>
          <p:cNvSpPr txBox="1">
            <a:spLocks/>
          </p:cNvSpPr>
          <p:nvPr/>
        </p:nvSpPr>
        <p:spPr>
          <a:xfrm>
            <a:off x="7850069" y="5762889"/>
            <a:ext cx="2701668" cy="300082"/>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600">
                <a:solidFill>
                  <a:schemeClr val="tx1"/>
                </a:solidFill>
                <a:latin typeface="Open Sans" panose="020B0606030504020204" pitchFamily="34" charset="0"/>
                <a:ea typeface="Open Sans" panose="020B0606030504020204" pitchFamily="34" charset="0"/>
                <a:cs typeface="Open Sans" panose="020B0606030504020204" pitchFamily="34" charset="0"/>
              </a:rPr>
              <a:t>Prepare launch</a:t>
            </a:r>
          </a:p>
        </p:txBody>
      </p:sp>
      <p:sp>
        <p:nvSpPr>
          <p:cNvPr id="42" name="Freeform 94">
            <a:extLst>
              <a:ext uri="{FF2B5EF4-FFF2-40B4-BE49-F238E27FC236}">
                <a16:creationId xmlns:a16="http://schemas.microsoft.com/office/drawing/2014/main" id="{35AD6971-F0D6-42B6-8DDB-F94741E0164B}"/>
              </a:ext>
            </a:extLst>
          </p:cNvPr>
          <p:cNvSpPr>
            <a:spLocks noEditPoints="1"/>
          </p:cNvSpPr>
          <p:nvPr/>
        </p:nvSpPr>
        <p:spPr bwMode="auto">
          <a:xfrm>
            <a:off x="1950879" y="5644066"/>
            <a:ext cx="366952" cy="438059"/>
          </a:xfrm>
          <a:custGeom>
            <a:avLst/>
            <a:gdLst>
              <a:gd name="T0" fmla="*/ 127 w 186"/>
              <a:gd name="T1" fmla="*/ 0 h 185"/>
              <a:gd name="T2" fmla="*/ 59 w 186"/>
              <a:gd name="T3" fmla="*/ 0 h 185"/>
              <a:gd name="T4" fmla="*/ 0 w 186"/>
              <a:gd name="T5" fmla="*/ 185 h 185"/>
              <a:gd name="T6" fmla="*/ 186 w 186"/>
              <a:gd name="T7" fmla="*/ 185 h 185"/>
              <a:gd name="T8" fmla="*/ 127 w 186"/>
              <a:gd name="T9" fmla="*/ 0 h 185"/>
              <a:gd name="T10" fmla="*/ 105 w 186"/>
              <a:gd name="T11" fmla="*/ 172 h 185"/>
              <a:gd name="T12" fmla="*/ 81 w 186"/>
              <a:gd name="T13" fmla="*/ 172 h 185"/>
              <a:gd name="T14" fmla="*/ 81 w 186"/>
              <a:gd name="T15" fmla="*/ 139 h 185"/>
              <a:gd name="T16" fmla="*/ 105 w 186"/>
              <a:gd name="T17" fmla="*/ 139 h 185"/>
              <a:gd name="T18" fmla="*/ 105 w 186"/>
              <a:gd name="T19" fmla="*/ 172 h 185"/>
              <a:gd name="T20" fmla="*/ 105 w 186"/>
              <a:gd name="T21" fmla="*/ 115 h 185"/>
              <a:gd name="T22" fmla="*/ 81 w 186"/>
              <a:gd name="T23" fmla="*/ 115 h 185"/>
              <a:gd name="T24" fmla="*/ 81 w 186"/>
              <a:gd name="T25" fmla="*/ 80 h 185"/>
              <a:gd name="T26" fmla="*/ 105 w 186"/>
              <a:gd name="T27" fmla="*/ 80 h 185"/>
              <a:gd name="T28" fmla="*/ 105 w 186"/>
              <a:gd name="T29" fmla="*/ 115 h 185"/>
              <a:gd name="T30" fmla="*/ 105 w 186"/>
              <a:gd name="T31" fmla="*/ 58 h 185"/>
              <a:gd name="T32" fmla="*/ 81 w 186"/>
              <a:gd name="T33" fmla="*/ 58 h 185"/>
              <a:gd name="T34" fmla="*/ 81 w 186"/>
              <a:gd name="T35" fmla="*/ 23 h 185"/>
              <a:gd name="T36" fmla="*/ 105 w 186"/>
              <a:gd name="T37" fmla="*/ 23 h 185"/>
              <a:gd name="T38" fmla="*/ 105 w 186"/>
              <a:gd name="T39" fmla="*/ 58 h 18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86" h="185">
                <a:moveTo>
                  <a:pt x="127" y="0"/>
                </a:moveTo>
                <a:lnTo>
                  <a:pt x="59" y="0"/>
                </a:lnTo>
                <a:lnTo>
                  <a:pt x="0" y="185"/>
                </a:lnTo>
                <a:lnTo>
                  <a:pt x="186" y="185"/>
                </a:lnTo>
                <a:lnTo>
                  <a:pt x="127" y="0"/>
                </a:lnTo>
                <a:close/>
                <a:moveTo>
                  <a:pt x="105" y="172"/>
                </a:moveTo>
                <a:lnTo>
                  <a:pt x="81" y="172"/>
                </a:lnTo>
                <a:lnTo>
                  <a:pt x="81" y="139"/>
                </a:lnTo>
                <a:lnTo>
                  <a:pt x="105" y="139"/>
                </a:lnTo>
                <a:lnTo>
                  <a:pt x="105" y="172"/>
                </a:lnTo>
                <a:close/>
                <a:moveTo>
                  <a:pt x="105" y="115"/>
                </a:moveTo>
                <a:lnTo>
                  <a:pt x="81" y="115"/>
                </a:lnTo>
                <a:lnTo>
                  <a:pt x="81" y="80"/>
                </a:lnTo>
                <a:lnTo>
                  <a:pt x="105" y="80"/>
                </a:lnTo>
                <a:lnTo>
                  <a:pt x="105" y="115"/>
                </a:lnTo>
                <a:close/>
                <a:moveTo>
                  <a:pt x="105" y="58"/>
                </a:moveTo>
                <a:lnTo>
                  <a:pt x="81" y="58"/>
                </a:lnTo>
                <a:lnTo>
                  <a:pt x="81" y="23"/>
                </a:lnTo>
                <a:lnTo>
                  <a:pt x="105" y="23"/>
                </a:lnTo>
                <a:lnTo>
                  <a:pt x="105" y="58"/>
                </a:lnTo>
                <a:close/>
              </a:path>
            </a:pathLst>
          </a:custGeom>
          <a:solidFill>
            <a:srgbClr val="1C69B9"/>
          </a:solidFill>
          <a:ln>
            <a:noFill/>
          </a:ln>
        </p:spPr>
        <p:txBody>
          <a:bodyPr/>
          <a:lstStyle/>
          <a:p>
            <a:endParaRPr lang="en-US"/>
          </a:p>
        </p:txBody>
      </p:sp>
      <p:sp>
        <p:nvSpPr>
          <p:cNvPr id="48" name="Freeform 224">
            <a:extLst>
              <a:ext uri="{FF2B5EF4-FFF2-40B4-BE49-F238E27FC236}">
                <a16:creationId xmlns:a16="http://schemas.microsoft.com/office/drawing/2014/main" id="{64CE93FF-05ED-4AB7-97BC-A91E6E9ED047}"/>
              </a:ext>
            </a:extLst>
          </p:cNvPr>
          <p:cNvSpPr>
            <a:spLocks noEditPoints="1"/>
          </p:cNvSpPr>
          <p:nvPr/>
        </p:nvSpPr>
        <p:spPr bwMode="auto">
          <a:xfrm>
            <a:off x="7043590" y="173244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49" name="Freeform 63">
            <a:extLst>
              <a:ext uri="{FF2B5EF4-FFF2-40B4-BE49-F238E27FC236}">
                <a16:creationId xmlns:a16="http://schemas.microsoft.com/office/drawing/2014/main" id="{84FA60F8-C20A-4A5A-85CC-CEB2C3CA84EB}"/>
              </a:ext>
            </a:extLst>
          </p:cNvPr>
          <p:cNvSpPr>
            <a:spLocks noEditPoints="1"/>
          </p:cNvSpPr>
          <p:nvPr/>
        </p:nvSpPr>
        <p:spPr bwMode="auto">
          <a:xfrm>
            <a:off x="1960858" y="4392442"/>
            <a:ext cx="364648" cy="341168"/>
          </a:xfrm>
          <a:custGeom>
            <a:avLst/>
            <a:gdLst>
              <a:gd name="T0" fmla="*/ 60 w 351"/>
              <a:gd name="T1" fmla="*/ 188 h 328"/>
              <a:gd name="T2" fmla="*/ 10 w 351"/>
              <a:gd name="T3" fmla="*/ 180 h 328"/>
              <a:gd name="T4" fmla="*/ 22 w 351"/>
              <a:gd name="T5" fmla="*/ 94 h 328"/>
              <a:gd name="T6" fmla="*/ 48 w 351"/>
              <a:gd name="T7" fmla="*/ 106 h 328"/>
              <a:gd name="T8" fmla="*/ 94 w 351"/>
              <a:gd name="T9" fmla="*/ 105 h 328"/>
              <a:gd name="T10" fmla="*/ 108 w 351"/>
              <a:gd name="T11" fmla="*/ 164 h 328"/>
              <a:gd name="T12" fmla="*/ 291 w 351"/>
              <a:gd name="T13" fmla="*/ 315 h 328"/>
              <a:gd name="T14" fmla="*/ 95 w 351"/>
              <a:gd name="T15" fmla="*/ 328 h 328"/>
              <a:gd name="T16" fmla="*/ 46 w 351"/>
              <a:gd name="T17" fmla="*/ 281 h 328"/>
              <a:gd name="T18" fmla="*/ 50 w 351"/>
              <a:gd name="T19" fmla="*/ 242 h 328"/>
              <a:gd name="T20" fmla="*/ 62 w 351"/>
              <a:gd name="T21" fmla="*/ 204 h 328"/>
              <a:gd name="T22" fmla="*/ 89 w 351"/>
              <a:gd name="T23" fmla="*/ 180 h 328"/>
              <a:gd name="T24" fmla="*/ 118 w 351"/>
              <a:gd name="T25" fmla="*/ 180 h 328"/>
              <a:gd name="T26" fmla="*/ 151 w 351"/>
              <a:gd name="T27" fmla="*/ 197 h 328"/>
              <a:gd name="T28" fmla="*/ 200 w 351"/>
              <a:gd name="T29" fmla="*/ 197 h 328"/>
              <a:gd name="T30" fmla="*/ 233 w 351"/>
              <a:gd name="T31" fmla="*/ 180 h 328"/>
              <a:gd name="T32" fmla="*/ 261 w 351"/>
              <a:gd name="T33" fmla="*/ 180 h 328"/>
              <a:gd name="T34" fmla="*/ 288 w 351"/>
              <a:gd name="T35" fmla="*/ 204 h 328"/>
              <a:gd name="T36" fmla="*/ 301 w 351"/>
              <a:gd name="T37" fmla="*/ 242 h 328"/>
              <a:gd name="T38" fmla="*/ 304 w 351"/>
              <a:gd name="T39" fmla="*/ 281 h 328"/>
              <a:gd name="T40" fmla="*/ 103 w 351"/>
              <a:gd name="T41" fmla="*/ 80 h 328"/>
              <a:gd name="T42" fmla="*/ 37 w 351"/>
              <a:gd name="T43" fmla="*/ 80 h 328"/>
              <a:gd name="T44" fmla="*/ 37 w 351"/>
              <a:gd name="T45" fmla="*/ 14 h 328"/>
              <a:gd name="T46" fmla="*/ 103 w 351"/>
              <a:gd name="T47" fmla="*/ 14 h 328"/>
              <a:gd name="T48" fmla="*/ 245 w 351"/>
              <a:gd name="T49" fmla="*/ 117 h 328"/>
              <a:gd name="T50" fmla="*/ 175 w 351"/>
              <a:gd name="T51" fmla="*/ 188 h 328"/>
              <a:gd name="T52" fmla="*/ 105 w 351"/>
              <a:gd name="T53" fmla="*/ 117 h 328"/>
              <a:gd name="T54" fmla="*/ 175 w 351"/>
              <a:gd name="T55" fmla="*/ 47 h 328"/>
              <a:gd name="T56" fmla="*/ 245 w 351"/>
              <a:gd name="T57" fmla="*/ 117 h 328"/>
              <a:gd name="T58" fmla="*/ 341 w 351"/>
              <a:gd name="T59" fmla="*/ 180 h 328"/>
              <a:gd name="T60" fmla="*/ 291 w 351"/>
              <a:gd name="T61" fmla="*/ 188 h 328"/>
              <a:gd name="T62" fmla="*/ 257 w 351"/>
              <a:gd name="T63" fmla="*/ 117 h 328"/>
              <a:gd name="T64" fmla="*/ 281 w 351"/>
              <a:gd name="T65" fmla="*/ 110 h 328"/>
              <a:gd name="T66" fmla="*/ 320 w 351"/>
              <a:gd name="T67" fmla="*/ 98 h 328"/>
              <a:gd name="T68" fmla="*/ 351 w 351"/>
              <a:gd name="T69" fmla="*/ 159 h 328"/>
              <a:gd name="T70" fmla="*/ 314 w 351"/>
              <a:gd name="T71" fmla="*/ 80 h 328"/>
              <a:gd name="T72" fmla="*/ 247 w 351"/>
              <a:gd name="T73" fmla="*/ 80 h 328"/>
              <a:gd name="T74" fmla="*/ 247 w 351"/>
              <a:gd name="T75" fmla="*/ 14 h 328"/>
              <a:gd name="T76" fmla="*/ 314 w 351"/>
              <a:gd name="T77" fmla="*/ 14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1" h="328">
                <a:moveTo>
                  <a:pt x="108" y="164"/>
                </a:moveTo>
                <a:cubicBezTo>
                  <a:pt x="88" y="165"/>
                  <a:pt x="72" y="173"/>
                  <a:pt x="60" y="188"/>
                </a:cubicBezTo>
                <a:cubicBezTo>
                  <a:pt x="35" y="188"/>
                  <a:pt x="35" y="188"/>
                  <a:pt x="35" y="188"/>
                </a:cubicBezTo>
                <a:cubicBezTo>
                  <a:pt x="25" y="188"/>
                  <a:pt x="17" y="185"/>
                  <a:pt x="10" y="180"/>
                </a:cubicBezTo>
                <a:cubicBezTo>
                  <a:pt x="3" y="175"/>
                  <a:pt x="0" y="168"/>
                  <a:pt x="0" y="159"/>
                </a:cubicBezTo>
                <a:cubicBezTo>
                  <a:pt x="0" y="116"/>
                  <a:pt x="7" y="94"/>
                  <a:pt x="22" y="94"/>
                </a:cubicBezTo>
                <a:cubicBezTo>
                  <a:pt x="23" y="94"/>
                  <a:pt x="26" y="95"/>
                  <a:pt x="30" y="98"/>
                </a:cubicBezTo>
                <a:cubicBezTo>
                  <a:pt x="35" y="100"/>
                  <a:pt x="41" y="103"/>
                  <a:pt x="48" y="106"/>
                </a:cubicBezTo>
                <a:cubicBezTo>
                  <a:pt x="55" y="108"/>
                  <a:pt x="63" y="110"/>
                  <a:pt x="70" y="110"/>
                </a:cubicBezTo>
                <a:cubicBezTo>
                  <a:pt x="78" y="110"/>
                  <a:pt x="86" y="108"/>
                  <a:pt x="94" y="105"/>
                </a:cubicBezTo>
                <a:cubicBezTo>
                  <a:pt x="94" y="110"/>
                  <a:pt x="93" y="114"/>
                  <a:pt x="93" y="117"/>
                </a:cubicBezTo>
                <a:cubicBezTo>
                  <a:pt x="93" y="134"/>
                  <a:pt x="98" y="150"/>
                  <a:pt x="108" y="164"/>
                </a:cubicBezTo>
                <a:close/>
                <a:moveTo>
                  <a:pt x="304" y="281"/>
                </a:moveTo>
                <a:cubicBezTo>
                  <a:pt x="304" y="295"/>
                  <a:pt x="299" y="307"/>
                  <a:pt x="291" y="315"/>
                </a:cubicBezTo>
                <a:cubicBezTo>
                  <a:pt x="282" y="324"/>
                  <a:pt x="270" y="328"/>
                  <a:pt x="255" y="328"/>
                </a:cubicBezTo>
                <a:cubicBezTo>
                  <a:pt x="95" y="328"/>
                  <a:pt x="95" y="328"/>
                  <a:pt x="95" y="328"/>
                </a:cubicBezTo>
                <a:cubicBezTo>
                  <a:pt x="81" y="328"/>
                  <a:pt x="69" y="324"/>
                  <a:pt x="60" y="315"/>
                </a:cubicBezTo>
                <a:cubicBezTo>
                  <a:pt x="51" y="307"/>
                  <a:pt x="46" y="295"/>
                  <a:pt x="46" y="281"/>
                </a:cubicBezTo>
                <a:cubicBezTo>
                  <a:pt x="46" y="274"/>
                  <a:pt x="47" y="268"/>
                  <a:pt x="47" y="262"/>
                </a:cubicBezTo>
                <a:cubicBezTo>
                  <a:pt x="48" y="256"/>
                  <a:pt x="48" y="249"/>
                  <a:pt x="50" y="242"/>
                </a:cubicBezTo>
                <a:cubicBezTo>
                  <a:pt x="51" y="235"/>
                  <a:pt x="53" y="228"/>
                  <a:pt x="55" y="222"/>
                </a:cubicBezTo>
                <a:cubicBezTo>
                  <a:pt x="56" y="216"/>
                  <a:pt x="59" y="210"/>
                  <a:pt x="62" y="204"/>
                </a:cubicBezTo>
                <a:cubicBezTo>
                  <a:pt x="66" y="198"/>
                  <a:pt x="69" y="193"/>
                  <a:pt x="74" y="189"/>
                </a:cubicBezTo>
                <a:cubicBezTo>
                  <a:pt x="78" y="185"/>
                  <a:pt x="83" y="182"/>
                  <a:pt x="89" y="180"/>
                </a:cubicBezTo>
                <a:cubicBezTo>
                  <a:pt x="96" y="177"/>
                  <a:pt x="102" y="176"/>
                  <a:pt x="110" y="176"/>
                </a:cubicBezTo>
                <a:cubicBezTo>
                  <a:pt x="111" y="176"/>
                  <a:pt x="114" y="177"/>
                  <a:pt x="118" y="180"/>
                </a:cubicBezTo>
                <a:cubicBezTo>
                  <a:pt x="122" y="183"/>
                  <a:pt x="126" y="185"/>
                  <a:pt x="131" y="189"/>
                </a:cubicBezTo>
                <a:cubicBezTo>
                  <a:pt x="136" y="192"/>
                  <a:pt x="142" y="195"/>
                  <a:pt x="151" y="197"/>
                </a:cubicBezTo>
                <a:cubicBezTo>
                  <a:pt x="159" y="200"/>
                  <a:pt x="167" y="201"/>
                  <a:pt x="175" y="201"/>
                </a:cubicBezTo>
                <a:cubicBezTo>
                  <a:pt x="183" y="201"/>
                  <a:pt x="192" y="200"/>
                  <a:pt x="200" y="197"/>
                </a:cubicBezTo>
                <a:cubicBezTo>
                  <a:pt x="208" y="195"/>
                  <a:pt x="215" y="192"/>
                  <a:pt x="219" y="189"/>
                </a:cubicBezTo>
                <a:cubicBezTo>
                  <a:pt x="224" y="185"/>
                  <a:pt x="229" y="183"/>
                  <a:pt x="233" y="180"/>
                </a:cubicBezTo>
                <a:cubicBezTo>
                  <a:pt x="237" y="177"/>
                  <a:pt x="239" y="176"/>
                  <a:pt x="241" y="176"/>
                </a:cubicBezTo>
                <a:cubicBezTo>
                  <a:pt x="248" y="176"/>
                  <a:pt x="255" y="177"/>
                  <a:pt x="261" y="180"/>
                </a:cubicBezTo>
                <a:cubicBezTo>
                  <a:pt x="267" y="182"/>
                  <a:pt x="272" y="185"/>
                  <a:pt x="277" y="189"/>
                </a:cubicBezTo>
                <a:cubicBezTo>
                  <a:pt x="281" y="193"/>
                  <a:pt x="285" y="198"/>
                  <a:pt x="288" y="204"/>
                </a:cubicBezTo>
                <a:cubicBezTo>
                  <a:pt x="291" y="210"/>
                  <a:pt x="294" y="216"/>
                  <a:pt x="296" y="222"/>
                </a:cubicBezTo>
                <a:cubicBezTo>
                  <a:pt x="298" y="228"/>
                  <a:pt x="299" y="235"/>
                  <a:pt x="301" y="242"/>
                </a:cubicBezTo>
                <a:cubicBezTo>
                  <a:pt x="302" y="249"/>
                  <a:pt x="303" y="256"/>
                  <a:pt x="303" y="262"/>
                </a:cubicBezTo>
                <a:cubicBezTo>
                  <a:pt x="304" y="268"/>
                  <a:pt x="304" y="274"/>
                  <a:pt x="304" y="281"/>
                </a:cubicBezTo>
                <a:close/>
                <a:moveTo>
                  <a:pt x="117" y="47"/>
                </a:moveTo>
                <a:cubicBezTo>
                  <a:pt x="117" y="60"/>
                  <a:pt x="112" y="71"/>
                  <a:pt x="103" y="80"/>
                </a:cubicBezTo>
                <a:cubicBezTo>
                  <a:pt x="94" y="89"/>
                  <a:pt x="83" y="94"/>
                  <a:pt x="70" y="94"/>
                </a:cubicBezTo>
                <a:cubicBezTo>
                  <a:pt x="57" y="94"/>
                  <a:pt x="46" y="89"/>
                  <a:pt x="37" y="80"/>
                </a:cubicBezTo>
                <a:cubicBezTo>
                  <a:pt x="28" y="71"/>
                  <a:pt x="23" y="60"/>
                  <a:pt x="23" y="47"/>
                </a:cubicBezTo>
                <a:cubicBezTo>
                  <a:pt x="23" y="34"/>
                  <a:pt x="28" y="23"/>
                  <a:pt x="37" y="14"/>
                </a:cubicBezTo>
                <a:cubicBezTo>
                  <a:pt x="46" y="5"/>
                  <a:pt x="57" y="0"/>
                  <a:pt x="70" y="0"/>
                </a:cubicBezTo>
                <a:cubicBezTo>
                  <a:pt x="83" y="0"/>
                  <a:pt x="94" y="5"/>
                  <a:pt x="103" y="14"/>
                </a:cubicBezTo>
                <a:cubicBezTo>
                  <a:pt x="112" y="23"/>
                  <a:pt x="117" y="34"/>
                  <a:pt x="117" y="47"/>
                </a:cubicBezTo>
                <a:close/>
                <a:moveTo>
                  <a:pt x="245" y="117"/>
                </a:moveTo>
                <a:cubicBezTo>
                  <a:pt x="245" y="137"/>
                  <a:pt x="239" y="153"/>
                  <a:pt x="225" y="167"/>
                </a:cubicBezTo>
                <a:cubicBezTo>
                  <a:pt x="211" y="181"/>
                  <a:pt x="195" y="188"/>
                  <a:pt x="175" y="188"/>
                </a:cubicBezTo>
                <a:cubicBezTo>
                  <a:pt x="156" y="188"/>
                  <a:pt x="139" y="181"/>
                  <a:pt x="126" y="167"/>
                </a:cubicBezTo>
                <a:cubicBezTo>
                  <a:pt x="112" y="153"/>
                  <a:pt x="105" y="137"/>
                  <a:pt x="105" y="117"/>
                </a:cubicBezTo>
                <a:cubicBezTo>
                  <a:pt x="105" y="98"/>
                  <a:pt x="112" y="82"/>
                  <a:pt x="126" y="68"/>
                </a:cubicBezTo>
                <a:cubicBezTo>
                  <a:pt x="139" y="54"/>
                  <a:pt x="156" y="47"/>
                  <a:pt x="175" y="47"/>
                </a:cubicBezTo>
                <a:cubicBezTo>
                  <a:pt x="195" y="47"/>
                  <a:pt x="211" y="54"/>
                  <a:pt x="225" y="68"/>
                </a:cubicBezTo>
                <a:cubicBezTo>
                  <a:pt x="239" y="82"/>
                  <a:pt x="245" y="98"/>
                  <a:pt x="245" y="117"/>
                </a:cubicBezTo>
                <a:close/>
                <a:moveTo>
                  <a:pt x="351" y="159"/>
                </a:moveTo>
                <a:cubicBezTo>
                  <a:pt x="351" y="168"/>
                  <a:pt x="347" y="175"/>
                  <a:pt x="341" y="180"/>
                </a:cubicBezTo>
                <a:cubicBezTo>
                  <a:pt x="334" y="185"/>
                  <a:pt x="325" y="188"/>
                  <a:pt x="315" y="188"/>
                </a:cubicBezTo>
                <a:cubicBezTo>
                  <a:pt x="291" y="188"/>
                  <a:pt x="291" y="188"/>
                  <a:pt x="291" y="188"/>
                </a:cubicBezTo>
                <a:cubicBezTo>
                  <a:pt x="278" y="173"/>
                  <a:pt x="262" y="165"/>
                  <a:pt x="242" y="164"/>
                </a:cubicBezTo>
                <a:cubicBezTo>
                  <a:pt x="252" y="150"/>
                  <a:pt x="257" y="134"/>
                  <a:pt x="257" y="117"/>
                </a:cubicBezTo>
                <a:cubicBezTo>
                  <a:pt x="257" y="114"/>
                  <a:pt x="257" y="110"/>
                  <a:pt x="256" y="105"/>
                </a:cubicBezTo>
                <a:cubicBezTo>
                  <a:pt x="264" y="108"/>
                  <a:pt x="272" y="110"/>
                  <a:pt x="281" y="110"/>
                </a:cubicBezTo>
                <a:cubicBezTo>
                  <a:pt x="288" y="110"/>
                  <a:pt x="295" y="108"/>
                  <a:pt x="302" y="106"/>
                </a:cubicBezTo>
                <a:cubicBezTo>
                  <a:pt x="310" y="103"/>
                  <a:pt x="316" y="100"/>
                  <a:pt x="320" y="98"/>
                </a:cubicBezTo>
                <a:cubicBezTo>
                  <a:pt x="325" y="95"/>
                  <a:pt x="327" y="94"/>
                  <a:pt x="328" y="94"/>
                </a:cubicBezTo>
                <a:cubicBezTo>
                  <a:pt x="343" y="94"/>
                  <a:pt x="351" y="116"/>
                  <a:pt x="351" y="159"/>
                </a:cubicBezTo>
                <a:close/>
                <a:moveTo>
                  <a:pt x="327" y="47"/>
                </a:moveTo>
                <a:cubicBezTo>
                  <a:pt x="327" y="60"/>
                  <a:pt x="323" y="71"/>
                  <a:pt x="314" y="80"/>
                </a:cubicBezTo>
                <a:cubicBezTo>
                  <a:pt x="304" y="89"/>
                  <a:pt x="293" y="94"/>
                  <a:pt x="281" y="94"/>
                </a:cubicBezTo>
                <a:cubicBezTo>
                  <a:pt x="268" y="94"/>
                  <a:pt x="257" y="89"/>
                  <a:pt x="247" y="80"/>
                </a:cubicBezTo>
                <a:cubicBezTo>
                  <a:pt x="238" y="71"/>
                  <a:pt x="234" y="60"/>
                  <a:pt x="234" y="47"/>
                </a:cubicBezTo>
                <a:cubicBezTo>
                  <a:pt x="234" y="34"/>
                  <a:pt x="238" y="23"/>
                  <a:pt x="247" y="14"/>
                </a:cubicBezTo>
                <a:cubicBezTo>
                  <a:pt x="257" y="5"/>
                  <a:pt x="268" y="0"/>
                  <a:pt x="281" y="0"/>
                </a:cubicBezTo>
                <a:cubicBezTo>
                  <a:pt x="293" y="0"/>
                  <a:pt x="304" y="5"/>
                  <a:pt x="314" y="14"/>
                </a:cubicBezTo>
                <a:cubicBezTo>
                  <a:pt x="323" y="23"/>
                  <a:pt x="327" y="34"/>
                  <a:pt x="327" y="47"/>
                </a:cubicBezTo>
                <a:close/>
              </a:path>
            </a:pathLst>
          </a:custGeom>
          <a:solidFill>
            <a:srgbClr val="7030A0"/>
          </a:solidFill>
          <a:ln>
            <a:noFill/>
          </a:ln>
        </p:spPr>
        <p:txBody>
          <a:bodyPr vert="horz" wrap="square" lIns="91440" tIns="45720" rIns="91440" bIns="45720" numCol="1" anchor="t" anchorCtr="0" compatLnSpc="1">
            <a:prstTxWarp prst="textNoShape">
              <a:avLst/>
            </a:prstTxWarp>
          </a:bodyPr>
          <a:lstStyle/>
          <a:p>
            <a:endParaRPr lang="uk-UA"/>
          </a:p>
        </p:txBody>
      </p:sp>
      <p:sp>
        <p:nvSpPr>
          <p:cNvPr id="50" name="Freeform 48">
            <a:extLst>
              <a:ext uri="{FF2B5EF4-FFF2-40B4-BE49-F238E27FC236}">
                <a16:creationId xmlns:a16="http://schemas.microsoft.com/office/drawing/2014/main" id="{550E6873-37A4-47FB-B9BF-945317737B79}"/>
              </a:ext>
            </a:extLst>
          </p:cNvPr>
          <p:cNvSpPr>
            <a:spLocks noEditPoints="1"/>
          </p:cNvSpPr>
          <p:nvPr/>
        </p:nvSpPr>
        <p:spPr bwMode="auto">
          <a:xfrm>
            <a:off x="1923868" y="3148471"/>
            <a:ext cx="401638" cy="347663"/>
          </a:xfrm>
          <a:custGeom>
            <a:avLst/>
            <a:gdLst>
              <a:gd name="T0" fmla="*/ 123 w 123"/>
              <a:gd name="T1" fmla="*/ 100 h 107"/>
              <a:gd name="T2" fmla="*/ 115 w 123"/>
              <a:gd name="T3" fmla="*/ 107 h 107"/>
              <a:gd name="T4" fmla="*/ 107 w 123"/>
              <a:gd name="T5" fmla="*/ 100 h 107"/>
              <a:gd name="T6" fmla="*/ 115 w 123"/>
              <a:gd name="T7" fmla="*/ 84 h 107"/>
              <a:gd name="T8" fmla="*/ 123 w 123"/>
              <a:gd name="T9" fmla="*/ 100 h 107"/>
              <a:gd name="T10" fmla="*/ 111 w 123"/>
              <a:gd name="T11" fmla="*/ 42 h 107"/>
              <a:gd name="T12" fmla="*/ 111 w 123"/>
              <a:gd name="T13" fmla="*/ 77 h 107"/>
              <a:gd name="T14" fmla="*/ 115 w 123"/>
              <a:gd name="T15" fmla="*/ 80 h 107"/>
              <a:gd name="T16" fmla="*/ 119 w 123"/>
              <a:gd name="T17" fmla="*/ 77 h 107"/>
              <a:gd name="T18" fmla="*/ 119 w 123"/>
              <a:gd name="T19" fmla="*/ 42 h 107"/>
              <a:gd name="T20" fmla="*/ 115 w 123"/>
              <a:gd name="T21" fmla="*/ 38 h 107"/>
              <a:gd name="T22" fmla="*/ 111 w 123"/>
              <a:gd name="T23" fmla="*/ 42 h 107"/>
              <a:gd name="T24" fmla="*/ 114 w 123"/>
              <a:gd name="T25" fmla="*/ 34 h 107"/>
              <a:gd name="T26" fmla="*/ 104 w 123"/>
              <a:gd name="T27" fmla="*/ 36 h 107"/>
              <a:gd name="T28" fmla="*/ 104 w 123"/>
              <a:gd name="T29" fmla="*/ 69 h 107"/>
              <a:gd name="T30" fmla="*/ 61 w 123"/>
              <a:gd name="T31" fmla="*/ 88 h 107"/>
              <a:gd name="T32" fmla="*/ 19 w 123"/>
              <a:gd name="T33" fmla="*/ 69 h 107"/>
              <a:gd name="T34" fmla="*/ 19 w 123"/>
              <a:gd name="T35" fmla="*/ 36 h 107"/>
              <a:gd name="T36" fmla="*/ 9 w 123"/>
              <a:gd name="T37" fmla="*/ 34 h 107"/>
              <a:gd name="T38" fmla="*/ 0 w 123"/>
              <a:gd name="T39" fmla="*/ 23 h 107"/>
              <a:gd name="T40" fmla="*/ 9 w 123"/>
              <a:gd name="T41" fmla="*/ 12 h 107"/>
              <a:gd name="T42" fmla="*/ 59 w 123"/>
              <a:gd name="T43" fmla="*/ 0 h 107"/>
              <a:gd name="T44" fmla="*/ 61 w 123"/>
              <a:gd name="T45" fmla="*/ 0 h 107"/>
              <a:gd name="T46" fmla="*/ 64 w 123"/>
              <a:gd name="T47" fmla="*/ 0 h 107"/>
              <a:gd name="T48" fmla="*/ 114 w 123"/>
              <a:gd name="T49" fmla="*/ 12 h 107"/>
              <a:gd name="T50" fmla="*/ 123 w 123"/>
              <a:gd name="T51" fmla="*/ 23 h 107"/>
              <a:gd name="T52" fmla="*/ 114 w 123"/>
              <a:gd name="T53" fmla="*/ 34 h 107"/>
              <a:gd name="T54" fmla="*/ 96 w 123"/>
              <a:gd name="T55" fmla="*/ 38 h 107"/>
              <a:gd name="T56" fmla="*/ 64 w 123"/>
              <a:gd name="T57" fmla="*/ 46 h 107"/>
              <a:gd name="T58" fmla="*/ 61 w 123"/>
              <a:gd name="T59" fmla="*/ 46 h 107"/>
              <a:gd name="T60" fmla="*/ 59 w 123"/>
              <a:gd name="T61" fmla="*/ 46 h 107"/>
              <a:gd name="T62" fmla="*/ 27 w 123"/>
              <a:gd name="T63" fmla="*/ 38 h 107"/>
              <a:gd name="T64" fmla="*/ 27 w 123"/>
              <a:gd name="T65" fmla="*/ 69 h 107"/>
              <a:gd name="T66" fmla="*/ 61 w 123"/>
              <a:gd name="T67" fmla="*/ 80 h 107"/>
              <a:gd name="T68" fmla="*/ 96 w 123"/>
              <a:gd name="T69" fmla="*/ 69 h 107"/>
              <a:gd name="T70" fmla="*/ 96 w 123"/>
              <a:gd name="T71" fmla="*/ 38 h 107"/>
              <a:gd name="T72" fmla="*/ 112 w 123"/>
              <a:gd name="T73" fmla="*/ 27 h 107"/>
              <a:gd name="T74" fmla="*/ 115 w 123"/>
              <a:gd name="T75" fmla="*/ 23 h 107"/>
              <a:gd name="T76" fmla="*/ 112 w 123"/>
              <a:gd name="T77" fmla="*/ 19 h 107"/>
              <a:gd name="T78" fmla="*/ 62 w 123"/>
              <a:gd name="T79" fmla="*/ 8 h 107"/>
              <a:gd name="T80" fmla="*/ 61 w 123"/>
              <a:gd name="T81" fmla="*/ 7 h 107"/>
              <a:gd name="T82" fmla="*/ 61 w 123"/>
              <a:gd name="T83" fmla="*/ 8 h 107"/>
              <a:gd name="T84" fmla="*/ 11 w 123"/>
              <a:gd name="T85" fmla="*/ 19 h 107"/>
              <a:gd name="T86" fmla="*/ 8 w 123"/>
              <a:gd name="T87" fmla="*/ 23 h 107"/>
              <a:gd name="T88" fmla="*/ 11 w 123"/>
              <a:gd name="T89" fmla="*/ 27 h 107"/>
              <a:gd name="T90" fmla="*/ 61 w 123"/>
              <a:gd name="T91" fmla="*/ 38 h 107"/>
              <a:gd name="T92" fmla="*/ 61 w 123"/>
              <a:gd name="T93" fmla="*/ 38 h 107"/>
              <a:gd name="T94" fmla="*/ 62 w 123"/>
              <a:gd name="T95" fmla="*/ 38 h 107"/>
              <a:gd name="T96" fmla="*/ 112 w 123"/>
              <a:gd name="T97" fmla="*/ 27 h 107"/>
              <a:gd name="T98" fmla="*/ 112 w 123"/>
              <a:gd name="T99" fmla="*/ 27 h 107"/>
              <a:gd name="T100" fmla="*/ 112 w 123"/>
              <a:gd name="T101" fmla="*/ 27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23" h="107">
                <a:moveTo>
                  <a:pt x="123" y="100"/>
                </a:moveTo>
                <a:cubicBezTo>
                  <a:pt x="123" y="104"/>
                  <a:pt x="119" y="107"/>
                  <a:pt x="115" y="107"/>
                </a:cubicBezTo>
                <a:cubicBezTo>
                  <a:pt x="111" y="107"/>
                  <a:pt x="107" y="104"/>
                  <a:pt x="107" y="100"/>
                </a:cubicBezTo>
                <a:cubicBezTo>
                  <a:pt x="107" y="95"/>
                  <a:pt x="111" y="84"/>
                  <a:pt x="115" y="84"/>
                </a:cubicBezTo>
                <a:cubicBezTo>
                  <a:pt x="119" y="84"/>
                  <a:pt x="123" y="95"/>
                  <a:pt x="123" y="100"/>
                </a:cubicBezTo>
                <a:close/>
                <a:moveTo>
                  <a:pt x="111" y="42"/>
                </a:moveTo>
                <a:cubicBezTo>
                  <a:pt x="111" y="77"/>
                  <a:pt x="111" y="77"/>
                  <a:pt x="111" y="77"/>
                </a:cubicBezTo>
                <a:cubicBezTo>
                  <a:pt x="111" y="79"/>
                  <a:pt x="113" y="80"/>
                  <a:pt x="115" y="80"/>
                </a:cubicBezTo>
                <a:cubicBezTo>
                  <a:pt x="117" y="80"/>
                  <a:pt x="119" y="79"/>
                  <a:pt x="119" y="77"/>
                </a:cubicBezTo>
                <a:cubicBezTo>
                  <a:pt x="119" y="42"/>
                  <a:pt x="119" y="42"/>
                  <a:pt x="119" y="42"/>
                </a:cubicBezTo>
                <a:cubicBezTo>
                  <a:pt x="119" y="40"/>
                  <a:pt x="117" y="38"/>
                  <a:pt x="115" y="38"/>
                </a:cubicBezTo>
                <a:cubicBezTo>
                  <a:pt x="113" y="38"/>
                  <a:pt x="111" y="40"/>
                  <a:pt x="111" y="42"/>
                </a:cubicBezTo>
                <a:close/>
                <a:moveTo>
                  <a:pt x="114" y="34"/>
                </a:moveTo>
                <a:cubicBezTo>
                  <a:pt x="104" y="36"/>
                  <a:pt x="104" y="36"/>
                  <a:pt x="104" y="36"/>
                </a:cubicBezTo>
                <a:cubicBezTo>
                  <a:pt x="104" y="69"/>
                  <a:pt x="104" y="69"/>
                  <a:pt x="104" y="69"/>
                </a:cubicBezTo>
                <a:cubicBezTo>
                  <a:pt x="104" y="79"/>
                  <a:pt x="92" y="88"/>
                  <a:pt x="61" y="88"/>
                </a:cubicBezTo>
                <a:cubicBezTo>
                  <a:pt x="31" y="88"/>
                  <a:pt x="19" y="79"/>
                  <a:pt x="19" y="69"/>
                </a:cubicBezTo>
                <a:cubicBezTo>
                  <a:pt x="19" y="36"/>
                  <a:pt x="19" y="36"/>
                  <a:pt x="19" y="36"/>
                </a:cubicBezTo>
                <a:cubicBezTo>
                  <a:pt x="9" y="34"/>
                  <a:pt x="9" y="34"/>
                  <a:pt x="9" y="34"/>
                </a:cubicBezTo>
                <a:cubicBezTo>
                  <a:pt x="4" y="33"/>
                  <a:pt x="0" y="28"/>
                  <a:pt x="0" y="23"/>
                </a:cubicBezTo>
                <a:cubicBezTo>
                  <a:pt x="0" y="17"/>
                  <a:pt x="4" y="13"/>
                  <a:pt x="9" y="12"/>
                </a:cubicBezTo>
                <a:cubicBezTo>
                  <a:pt x="59" y="0"/>
                  <a:pt x="59" y="0"/>
                  <a:pt x="59" y="0"/>
                </a:cubicBezTo>
                <a:cubicBezTo>
                  <a:pt x="60" y="0"/>
                  <a:pt x="61" y="0"/>
                  <a:pt x="61" y="0"/>
                </a:cubicBezTo>
                <a:cubicBezTo>
                  <a:pt x="62" y="0"/>
                  <a:pt x="63" y="0"/>
                  <a:pt x="64" y="0"/>
                </a:cubicBezTo>
                <a:cubicBezTo>
                  <a:pt x="114" y="12"/>
                  <a:pt x="114" y="12"/>
                  <a:pt x="114" y="12"/>
                </a:cubicBezTo>
                <a:cubicBezTo>
                  <a:pt x="119" y="13"/>
                  <a:pt x="123" y="17"/>
                  <a:pt x="123" y="23"/>
                </a:cubicBezTo>
                <a:cubicBezTo>
                  <a:pt x="123" y="28"/>
                  <a:pt x="119" y="33"/>
                  <a:pt x="114" y="34"/>
                </a:cubicBezTo>
                <a:close/>
                <a:moveTo>
                  <a:pt x="96" y="38"/>
                </a:moveTo>
                <a:cubicBezTo>
                  <a:pt x="64" y="46"/>
                  <a:pt x="64" y="46"/>
                  <a:pt x="64" y="46"/>
                </a:cubicBezTo>
                <a:cubicBezTo>
                  <a:pt x="63" y="46"/>
                  <a:pt x="62" y="46"/>
                  <a:pt x="61" y="46"/>
                </a:cubicBezTo>
                <a:cubicBezTo>
                  <a:pt x="61" y="46"/>
                  <a:pt x="60" y="46"/>
                  <a:pt x="59" y="46"/>
                </a:cubicBezTo>
                <a:cubicBezTo>
                  <a:pt x="27" y="38"/>
                  <a:pt x="27" y="38"/>
                  <a:pt x="27" y="38"/>
                </a:cubicBezTo>
                <a:cubicBezTo>
                  <a:pt x="27" y="69"/>
                  <a:pt x="27" y="69"/>
                  <a:pt x="27" y="69"/>
                </a:cubicBezTo>
                <a:cubicBezTo>
                  <a:pt x="27" y="73"/>
                  <a:pt x="38" y="80"/>
                  <a:pt x="61" y="80"/>
                </a:cubicBezTo>
                <a:cubicBezTo>
                  <a:pt x="84" y="80"/>
                  <a:pt x="96" y="73"/>
                  <a:pt x="96" y="69"/>
                </a:cubicBezTo>
                <a:lnTo>
                  <a:pt x="96" y="38"/>
                </a:lnTo>
                <a:close/>
                <a:moveTo>
                  <a:pt x="112" y="27"/>
                </a:moveTo>
                <a:cubicBezTo>
                  <a:pt x="114" y="26"/>
                  <a:pt x="115" y="25"/>
                  <a:pt x="115" y="23"/>
                </a:cubicBezTo>
                <a:cubicBezTo>
                  <a:pt x="115" y="21"/>
                  <a:pt x="114" y="19"/>
                  <a:pt x="112" y="19"/>
                </a:cubicBezTo>
                <a:cubicBezTo>
                  <a:pt x="62" y="8"/>
                  <a:pt x="62" y="8"/>
                  <a:pt x="62" y="8"/>
                </a:cubicBezTo>
                <a:cubicBezTo>
                  <a:pt x="61" y="7"/>
                  <a:pt x="61" y="7"/>
                  <a:pt x="61" y="7"/>
                </a:cubicBezTo>
                <a:cubicBezTo>
                  <a:pt x="61" y="8"/>
                  <a:pt x="61" y="8"/>
                  <a:pt x="61" y="8"/>
                </a:cubicBezTo>
                <a:cubicBezTo>
                  <a:pt x="11" y="19"/>
                  <a:pt x="11" y="19"/>
                  <a:pt x="11" y="19"/>
                </a:cubicBezTo>
                <a:cubicBezTo>
                  <a:pt x="9" y="19"/>
                  <a:pt x="8" y="21"/>
                  <a:pt x="8" y="23"/>
                </a:cubicBezTo>
                <a:cubicBezTo>
                  <a:pt x="8" y="25"/>
                  <a:pt x="9" y="26"/>
                  <a:pt x="11" y="27"/>
                </a:cubicBezTo>
                <a:cubicBezTo>
                  <a:pt x="61" y="38"/>
                  <a:pt x="61" y="38"/>
                  <a:pt x="61" y="38"/>
                </a:cubicBezTo>
                <a:cubicBezTo>
                  <a:pt x="61" y="38"/>
                  <a:pt x="61" y="38"/>
                  <a:pt x="61" y="38"/>
                </a:cubicBezTo>
                <a:cubicBezTo>
                  <a:pt x="62" y="38"/>
                  <a:pt x="62" y="38"/>
                  <a:pt x="62" y="38"/>
                </a:cubicBezTo>
                <a:lnTo>
                  <a:pt x="112" y="27"/>
                </a:lnTo>
                <a:close/>
                <a:moveTo>
                  <a:pt x="112" y="27"/>
                </a:moveTo>
                <a:cubicBezTo>
                  <a:pt x="112" y="27"/>
                  <a:pt x="112" y="27"/>
                  <a:pt x="112" y="27"/>
                </a:cubicBezTo>
              </a:path>
            </a:pathLst>
          </a:custGeom>
          <a:solidFill>
            <a:schemeClr val="accent6">
              <a:lumMod val="25000"/>
            </a:schemeClr>
          </a:solidFill>
          <a:ln>
            <a:noFill/>
          </a:ln>
        </p:spPr>
        <p:txBody>
          <a:bodyPr/>
          <a:lstStyle/>
          <a:p>
            <a:endParaRPr lang="en-US"/>
          </a:p>
        </p:txBody>
      </p:sp>
      <p:pic>
        <p:nvPicPr>
          <p:cNvPr id="5" name="Billede 4">
            <a:extLst>
              <a:ext uri="{FF2B5EF4-FFF2-40B4-BE49-F238E27FC236}">
                <a16:creationId xmlns:a16="http://schemas.microsoft.com/office/drawing/2014/main" id="{EB01B74A-25F7-49C6-9DD1-E2300F59F5F8}"/>
              </a:ext>
            </a:extLst>
          </p:cNvPr>
          <p:cNvPicPr>
            <a:picLocks noChangeAspect="1"/>
          </p:cNvPicPr>
          <p:nvPr/>
        </p:nvPicPr>
        <p:blipFill>
          <a:blip r:embed="rId3"/>
          <a:stretch>
            <a:fillRect/>
          </a:stretch>
        </p:blipFill>
        <p:spPr>
          <a:xfrm flipH="1">
            <a:off x="6829078" y="3080904"/>
            <a:ext cx="572039" cy="539604"/>
          </a:xfrm>
          <a:prstGeom prst="rect">
            <a:avLst/>
          </a:prstGeom>
        </p:spPr>
      </p:pic>
      <p:grpSp>
        <p:nvGrpSpPr>
          <p:cNvPr id="51" name="Group 267">
            <a:extLst>
              <a:ext uri="{FF2B5EF4-FFF2-40B4-BE49-F238E27FC236}">
                <a16:creationId xmlns:a16="http://schemas.microsoft.com/office/drawing/2014/main" id="{A1FAA11E-C7A5-41FD-A0A3-435C6D8F0A95}"/>
              </a:ext>
            </a:extLst>
          </p:cNvPr>
          <p:cNvGrpSpPr/>
          <p:nvPr/>
        </p:nvGrpSpPr>
        <p:grpSpPr>
          <a:xfrm>
            <a:off x="6992354" y="5693234"/>
            <a:ext cx="292100" cy="292100"/>
            <a:chOff x="328613" y="4186238"/>
            <a:chExt cx="292100" cy="292100"/>
          </a:xfrm>
          <a:solidFill>
            <a:srgbClr val="FFC000"/>
          </a:solidFill>
        </p:grpSpPr>
        <p:sp>
          <p:nvSpPr>
            <p:cNvPr id="53" name="Freeform 71">
              <a:extLst>
                <a:ext uri="{FF2B5EF4-FFF2-40B4-BE49-F238E27FC236}">
                  <a16:creationId xmlns:a16="http://schemas.microsoft.com/office/drawing/2014/main" id="{F4100E9B-0896-470A-8B21-81C86F204820}"/>
                </a:ext>
              </a:extLst>
            </p:cNvPr>
            <p:cNvSpPr>
              <a:spLocks noEditPoints="1"/>
            </p:cNvSpPr>
            <p:nvPr/>
          </p:nvSpPr>
          <p:spPr bwMode="auto">
            <a:xfrm>
              <a:off x="414338" y="4186238"/>
              <a:ext cx="206375" cy="206375"/>
            </a:xfrm>
            <a:custGeom>
              <a:avLst/>
              <a:gdLst/>
              <a:ahLst/>
              <a:cxnLst>
                <a:cxn ang="0">
                  <a:pos x="57" y="8"/>
                </a:cxn>
                <a:cxn ang="0">
                  <a:pos x="33" y="23"/>
                </a:cxn>
                <a:cxn ang="0">
                  <a:pos x="2" y="54"/>
                </a:cxn>
                <a:cxn ang="0">
                  <a:pos x="2" y="64"/>
                </a:cxn>
                <a:cxn ang="0">
                  <a:pos x="18" y="79"/>
                </a:cxn>
                <a:cxn ang="0">
                  <a:pos x="28" y="79"/>
                </a:cxn>
                <a:cxn ang="0">
                  <a:pos x="59" y="49"/>
                </a:cxn>
                <a:cxn ang="0">
                  <a:pos x="74" y="25"/>
                </a:cxn>
                <a:cxn ang="0">
                  <a:pos x="82" y="0"/>
                </a:cxn>
                <a:cxn ang="0">
                  <a:pos x="57" y="8"/>
                </a:cxn>
                <a:cxn ang="0">
                  <a:pos x="36" y="61"/>
                </a:cxn>
                <a:cxn ang="0">
                  <a:pos x="20" y="61"/>
                </a:cxn>
                <a:cxn ang="0">
                  <a:pos x="20" y="46"/>
                </a:cxn>
                <a:cxn ang="0">
                  <a:pos x="36" y="46"/>
                </a:cxn>
                <a:cxn ang="0">
                  <a:pos x="36" y="61"/>
                </a:cxn>
                <a:cxn ang="0">
                  <a:pos x="56" y="41"/>
                </a:cxn>
                <a:cxn ang="0">
                  <a:pos x="41" y="41"/>
                </a:cxn>
                <a:cxn ang="0">
                  <a:pos x="41" y="26"/>
                </a:cxn>
                <a:cxn ang="0">
                  <a:pos x="56" y="26"/>
                </a:cxn>
                <a:cxn ang="0">
                  <a:pos x="56" y="41"/>
                </a:cxn>
              </a:cxnLst>
              <a:rect l="0" t="0" r="r" b="b"/>
              <a:pathLst>
                <a:path w="82" h="82">
                  <a:moveTo>
                    <a:pt x="57" y="8"/>
                  </a:moveTo>
                  <a:cubicBezTo>
                    <a:pt x="50" y="11"/>
                    <a:pt x="39" y="17"/>
                    <a:pt x="33" y="23"/>
                  </a:cubicBezTo>
                  <a:cubicBezTo>
                    <a:pt x="2" y="54"/>
                    <a:pt x="2" y="54"/>
                    <a:pt x="2" y="54"/>
                  </a:cubicBezTo>
                  <a:cubicBezTo>
                    <a:pt x="0" y="57"/>
                    <a:pt x="0" y="61"/>
                    <a:pt x="2" y="64"/>
                  </a:cubicBezTo>
                  <a:cubicBezTo>
                    <a:pt x="18" y="79"/>
                    <a:pt x="18" y="79"/>
                    <a:pt x="18" y="79"/>
                  </a:cubicBezTo>
                  <a:cubicBezTo>
                    <a:pt x="21" y="82"/>
                    <a:pt x="25" y="82"/>
                    <a:pt x="28" y="79"/>
                  </a:cubicBezTo>
                  <a:cubicBezTo>
                    <a:pt x="59" y="49"/>
                    <a:pt x="59" y="49"/>
                    <a:pt x="59" y="49"/>
                  </a:cubicBezTo>
                  <a:cubicBezTo>
                    <a:pt x="65" y="43"/>
                    <a:pt x="71" y="32"/>
                    <a:pt x="74" y="25"/>
                  </a:cubicBezTo>
                  <a:cubicBezTo>
                    <a:pt x="82" y="0"/>
                    <a:pt x="82" y="0"/>
                    <a:pt x="82" y="0"/>
                  </a:cubicBezTo>
                  <a:lnTo>
                    <a:pt x="57" y="8"/>
                  </a:lnTo>
                  <a:close/>
                  <a:moveTo>
                    <a:pt x="36" y="61"/>
                  </a:moveTo>
                  <a:cubicBezTo>
                    <a:pt x="32" y="66"/>
                    <a:pt x="25" y="66"/>
                    <a:pt x="20" y="61"/>
                  </a:cubicBezTo>
                  <a:cubicBezTo>
                    <a:pt x="16" y="57"/>
                    <a:pt x="16" y="50"/>
                    <a:pt x="20" y="46"/>
                  </a:cubicBezTo>
                  <a:cubicBezTo>
                    <a:pt x="25" y="42"/>
                    <a:pt x="32" y="42"/>
                    <a:pt x="36" y="46"/>
                  </a:cubicBezTo>
                  <a:cubicBezTo>
                    <a:pt x="40" y="50"/>
                    <a:pt x="40" y="57"/>
                    <a:pt x="36" y="61"/>
                  </a:cubicBezTo>
                  <a:close/>
                  <a:moveTo>
                    <a:pt x="56" y="41"/>
                  </a:moveTo>
                  <a:cubicBezTo>
                    <a:pt x="52" y="45"/>
                    <a:pt x="45" y="45"/>
                    <a:pt x="41" y="41"/>
                  </a:cubicBezTo>
                  <a:cubicBezTo>
                    <a:pt x="37" y="37"/>
                    <a:pt x="37" y="30"/>
                    <a:pt x="41" y="26"/>
                  </a:cubicBezTo>
                  <a:cubicBezTo>
                    <a:pt x="45" y="21"/>
                    <a:pt x="52" y="21"/>
                    <a:pt x="56" y="26"/>
                  </a:cubicBezTo>
                  <a:cubicBezTo>
                    <a:pt x="61" y="30"/>
                    <a:pt x="61" y="37"/>
                    <a:pt x="56" y="4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4" name="Freeform 72">
              <a:extLst>
                <a:ext uri="{FF2B5EF4-FFF2-40B4-BE49-F238E27FC236}">
                  <a16:creationId xmlns:a16="http://schemas.microsoft.com/office/drawing/2014/main" id="{A6F6FC88-B0EE-4D49-8D59-BD7AA97BEC0E}"/>
                </a:ext>
              </a:extLst>
            </p:cNvPr>
            <p:cNvSpPr>
              <a:spLocks/>
            </p:cNvSpPr>
            <p:nvPr/>
          </p:nvSpPr>
          <p:spPr bwMode="auto">
            <a:xfrm>
              <a:off x="334963" y="4270375"/>
              <a:ext cx="98425" cy="85725"/>
            </a:xfrm>
            <a:custGeom>
              <a:avLst/>
              <a:gdLst/>
              <a:ahLst/>
              <a:cxnLst>
                <a:cxn ang="0">
                  <a:pos x="13" y="31"/>
                </a:cxn>
                <a:cxn ang="0">
                  <a:pos x="39" y="5"/>
                </a:cxn>
                <a:cxn ang="0">
                  <a:pos x="18" y="5"/>
                </a:cxn>
                <a:cxn ang="0">
                  <a:pos x="3" y="21"/>
                </a:cxn>
                <a:cxn ang="0">
                  <a:pos x="3" y="31"/>
                </a:cxn>
                <a:cxn ang="0">
                  <a:pos x="13" y="31"/>
                </a:cxn>
              </a:cxnLst>
              <a:rect l="0" t="0" r="r" b="b"/>
              <a:pathLst>
                <a:path w="39" h="34">
                  <a:moveTo>
                    <a:pt x="13" y="31"/>
                  </a:moveTo>
                  <a:cubicBezTo>
                    <a:pt x="39" y="5"/>
                    <a:pt x="39" y="5"/>
                    <a:pt x="39" y="5"/>
                  </a:cubicBezTo>
                  <a:cubicBezTo>
                    <a:pt x="33" y="0"/>
                    <a:pt x="24" y="0"/>
                    <a:pt x="18" y="5"/>
                  </a:cubicBezTo>
                  <a:cubicBezTo>
                    <a:pt x="3" y="21"/>
                    <a:pt x="3" y="21"/>
                    <a:pt x="3" y="21"/>
                  </a:cubicBezTo>
                  <a:cubicBezTo>
                    <a:pt x="0" y="24"/>
                    <a:pt x="0" y="28"/>
                    <a:pt x="3" y="31"/>
                  </a:cubicBezTo>
                  <a:cubicBezTo>
                    <a:pt x="5" y="34"/>
                    <a:pt x="10" y="34"/>
                    <a:pt x="13" y="31"/>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8" name="Freeform 73">
              <a:extLst>
                <a:ext uri="{FF2B5EF4-FFF2-40B4-BE49-F238E27FC236}">
                  <a16:creationId xmlns:a16="http://schemas.microsoft.com/office/drawing/2014/main" id="{EB4E6EAD-764B-4E3E-AACA-024609C94AD9}"/>
                </a:ext>
              </a:extLst>
            </p:cNvPr>
            <p:cNvSpPr>
              <a:spLocks/>
            </p:cNvSpPr>
            <p:nvPr/>
          </p:nvSpPr>
          <p:spPr bwMode="auto">
            <a:xfrm>
              <a:off x="450851" y="4373563"/>
              <a:ext cx="85725" cy="98425"/>
            </a:xfrm>
            <a:custGeom>
              <a:avLst/>
              <a:gdLst/>
              <a:ahLst/>
              <a:cxnLst>
                <a:cxn ang="0">
                  <a:pos x="3" y="26"/>
                </a:cxn>
                <a:cxn ang="0">
                  <a:pos x="3" y="36"/>
                </a:cxn>
                <a:cxn ang="0">
                  <a:pos x="13" y="36"/>
                </a:cxn>
                <a:cxn ang="0">
                  <a:pos x="29" y="21"/>
                </a:cxn>
                <a:cxn ang="0">
                  <a:pos x="29" y="0"/>
                </a:cxn>
                <a:cxn ang="0">
                  <a:pos x="3" y="26"/>
                </a:cxn>
              </a:cxnLst>
              <a:rect l="0" t="0" r="r" b="b"/>
              <a:pathLst>
                <a:path w="34" h="39">
                  <a:moveTo>
                    <a:pt x="3" y="26"/>
                  </a:moveTo>
                  <a:cubicBezTo>
                    <a:pt x="0" y="29"/>
                    <a:pt x="0" y="33"/>
                    <a:pt x="3" y="36"/>
                  </a:cubicBezTo>
                  <a:cubicBezTo>
                    <a:pt x="6" y="39"/>
                    <a:pt x="10" y="39"/>
                    <a:pt x="13" y="36"/>
                  </a:cubicBezTo>
                  <a:cubicBezTo>
                    <a:pt x="29" y="21"/>
                    <a:pt x="29" y="21"/>
                    <a:pt x="29" y="21"/>
                  </a:cubicBezTo>
                  <a:cubicBezTo>
                    <a:pt x="34" y="15"/>
                    <a:pt x="34" y="6"/>
                    <a:pt x="29" y="0"/>
                  </a:cubicBezTo>
                  <a:lnTo>
                    <a:pt x="3" y="26"/>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59" name="Freeform 74">
              <a:extLst>
                <a:ext uri="{FF2B5EF4-FFF2-40B4-BE49-F238E27FC236}">
                  <a16:creationId xmlns:a16="http://schemas.microsoft.com/office/drawing/2014/main" id="{09906D40-EFE7-4DBF-A561-94B035CD792D}"/>
                </a:ext>
              </a:extLst>
            </p:cNvPr>
            <p:cNvSpPr>
              <a:spLocks/>
            </p:cNvSpPr>
            <p:nvPr/>
          </p:nvSpPr>
          <p:spPr bwMode="auto">
            <a:xfrm>
              <a:off x="396876" y="4360863"/>
              <a:ext cx="49213" cy="50800"/>
            </a:xfrm>
            <a:custGeom>
              <a:avLst/>
              <a:gdLst/>
              <a:ahLst/>
              <a:cxnLst>
                <a:cxn ang="0">
                  <a:pos x="2" y="3"/>
                </a:cxn>
                <a:cxn ang="0">
                  <a:pos x="2" y="8"/>
                </a:cxn>
                <a:cxn ang="0">
                  <a:pos x="12" y="18"/>
                </a:cxn>
                <a:cxn ang="0">
                  <a:pos x="17" y="18"/>
                </a:cxn>
                <a:cxn ang="0">
                  <a:pos x="20" y="16"/>
                </a:cxn>
                <a:cxn ang="0">
                  <a:pos x="4" y="0"/>
                </a:cxn>
                <a:cxn ang="0">
                  <a:pos x="2" y="3"/>
                </a:cxn>
              </a:cxnLst>
              <a:rect l="0" t="0" r="r" b="b"/>
              <a:pathLst>
                <a:path w="20" h="20">
                  <a:moveTo>
                    <a:pt x="2" y="3"/>
                  </a:moveTo>
                  <a:cubicBezTo>
                    <a:pt x="0" y="4"/>
                    <a:pt x="0" y="6"/>
                    <a:pt x="2" y="8"/>
                  </a:cubicBezTo>
                  <a:cubicBezTo>
                    <a:pt x="12" y="18"/>
                    <a:pt x="12" y="18"/>
                    <a:pt x="12" y="18"/>
                  </a:cubicBezTo>
                  <a:cubicBezTo>
                    <a:pt x="13" y="20"/>
                    <a:pt x="16" y="20"/>
                    <a:pt x="17" y="18"/>
                  </a:cubicBezTo>
                  <a:cubicBezTo>
                    <a:pt x="20" y="16"/>
                    <a:pt x="20" y="16"/>
                    <a:pt x="20" y="16"/>
                  </a:cubicBezTo>
                  <a:cubicBezTo>
                    <a:pt x="4" y="0"/>
                    <a:pt x="4" y="0"/>
                    <a:pt x="4" y="0"/>
                  </a:cubicBezTo>
                  <a:lnTo>
                    <a:pt x="2" y="3"/>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61" name="Freeform 75">
              <a:extLst>
                <a:ext uri="{FF2B5EF4-FFF2-40B4-BE49-F238E27FC236}">
                  <a16:creationId xmlns:a16="http://schemas.microsoft.com/office/drawing/2014/main" id="{58173E86-7D09-4B5D-87DC-E55FB565E457}"/>
                </a:ext>
              </a:extLst>
            </p:cNvPr>
            <p:cNvSpPr>
              <a:spLocks/>
            </p:cNvSpPr>
            <p:nvPr/>
          </p:nvSpPr>
          <p:spPr bwMode="auto">
            <a:xfrm>
              <a:off x="328613" y="4387850"/>
              <a:ext cx="90488" cy="90488"/>
            </a:xfrm>
            <a:custGeom>
              <a:avLst/>
              <a:gdLst/>
              <a:ahLst/>
              <a:cxnLst>
                <a:cxn ang="0">
                  <a:pos x="0" y="36"/>
                </a:cxn>
                <a:cxn ang="0">
                  <a:pos x="29" y="7"/>
                </a:cxn>
                <a:cxn ang="0">
                  <a:pos x="0" y="36"/>
                </a:cxn>
              </a:cxnLst>
              <a:rect l="0" t="0" r="r" b="b"/>
              <a:pathLst>
                <a:path w="36" h="36">
                  <a:moveTo>
                    <a:pt x="0" y="36"/>
                  </a:moveTo>
                  <a:cubicBezTo>
                    <a:pt x="14" y="29"/>
                    <a:pt x="36" y="14"/>
                    <a:pt x="29" y="7"/>
                  </a:cubicBezTo>
                  <a:cubicBezTo>
                    <a:pt x="22" y="0"/>
                    <a:pt x="7" y="21"/>
                    <a:pt x="0" y="36"/>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grpSp>
        <p:nvGrpSpPr>
          <p:cNvPr id="62" name="Group 72">
            <a:extLst>
              <a:ext uri="{FF2B5EF4-FFF2-40B4-BE49-F238E27FC236}">
                <a16:creationId xmlns:a16="http://schemas.microsoft.com/office/drawing/2014/main" id="{32BB890E-EF7E-4EA4-BDF7-5F7125E1579E}"/>
              </a:ext>
            </a:extLst>
          </p:cNvPr>
          <p:cNvGrpSpPr/>
          <p:nvPr/>
        </p:nvGrpSpPr>
        <p:grpSpPr>
          <a:xfrm>
            <a:off x="1890539" y="1706129"/>
            <a:ext cx="530225" cy="625476"/>
            <a:chOff x="6426200" y="292100"/>
            <a:chExt cx="530225" cy="625476"/>
          </a:xfrm>
          <a:solidFill>
            <a:srgbClr val="FF0000"/>
          </a:solidFill>
        </p:grpSpPr>
        <p:sp>
          <p:nvSpPr>
            <p:cNvPr id="72" name="Freeform 24">
              <a:extLst>
                <a:ext uri="{FF2B5EF4-FFF2-40B4-BE49-F238E27FC236}">
                  <a16:creationId xmlns:a16="http://schemas.microsoft.com/office/drawing/2014/main" id="{04946BBF-D4D5-45BF-845B-8B2969D4CF5B}"/>
                </a:ext>
              </a:extLst>
            </p:cNvPr>
            <p:cNvSpPr>
              <a:spLocks/>
            </p:cNvSpPr>
            <p:nvPr/>
          </p:nvSpPr>
          <p:spPr bwMode="auto">
            <a:xfrm>
              <a:off x="6426200" y="500063"/>
              <a:ext cx="333375" cy="417513"/>
            </a:xfrm>
            <a:custGeom>
              <a:avLst/>
              <a:gdLst/>
              <a:ahLst/>
              <a:cxnLst>
                <a:cxn ang="0">
                  <a:pos x="70" y="31"/>
                </a:cxn>
                <a:cxn ang="0">
                  <a:pos x="117" y="88"/>
                </a:cxn>
                <a:cxn ang="0">
                  <a:pos x="59" y="146"/>
                </a:cxn>
                <a:cxn ang="0">
                  <a:pos x="0" y="88"/>
                </a:cxn>
                <a:cxn ang="0">
                  <a:pos x="47" y="31"/>
                </a:cxn>
                <a:cxn ang="0">
                  <a:pos x="47" y="0"/>
                </a:cxn>
                <a:cxn ang="0">
                  <a:pos x="70" y="0"/>
                </a:cxn>
                <a:cxn ang="0">
                  <a:pos x="70" y="31"/>
                </a:cxn>
              </a:cxnLst>
              <a:rect l="0" t="0" r="r" b="b"/>
              <a:pathLst>
                <a:path w="117" h="146">
                  <a:moveTo>
                    <a:pt x="70" y="31"/>
                  </a:moveTo>
                  <a:cubicBezTo>
                    <a:pt x="97" y="36"/>
                    <a:pt x="117" y="59"/>
                    <a:pt x="117" y="88"/>
                  </a:cubicBezTo>
                  <a:cubicBezTo>
                    <a:pt x="117" y="120"/>
                    <a:pt x="91" y="146"/>
                    <a:pt x="59" y="146"/>
                  </a:cubicBezTo>
                  <a:cubicBezTo>
                    <a:pt x="26" y="146"/>
                    <a:pt x="0" y="120"/>
                    <a:pt x="0" y="88"/>
                  </a:cubicBezTo>
                  <a:cubicBezTo>
                    <a:pt x="0" y="59"/>
                    <a:pt x="21" y="36"/>
                    <a:pt x="47" y="31"/>
                  </a:cubicBezTo>
                  <a:cubicBezTo>
                    <a:pt x="47" y="0"/>
                    <a:pt x="47" y="0"/>
                    <a:pt x="47" y="0"/>
                  </a:cubicBezTo>
                  <a:cubicBezTo>
                    <a:pt x="70" y="0"/>
                    <a:pt x="70" y="0"/>
                    <a:pt x="70" y="0"/>
                  </a:cubicBezTo>
                  <a:lnTo>
                    <a:pt x="70" y="31"/>
                  </a:ln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sp>
          <p:nvSpPr>
            <p:cNvPr id="75" name="Freeform 25">
              <a:extLst>
                <a:ext uri="{FF2B5EF4-FFF2-40B4-BE49-F238E27FC236}">
                  <a16:creationId xmlns:a16="http://schemas.microsoft.com/office/drawing/2014/main" id="{D953CEA1-810D-478E-B34A-26978856F833}"/>
                </a:ext>
              </a:extLst>
            </p:cNvPr>
            <p:cNvSpPr>
              <a:spLocks noEditPoints="1"/>
            </p:cNvSpPr>
            <p:nvPr/>
          </p:nvSpPr>
          <p:spPr bwMode="auto">
            <a:xfrm>
              <a:off x="6591300" y="292100"/>
              <a:ext cx="365125" cy="239713"/>
            </a:xfrm>
            <a:custGeom>
              <a:avLst/>
              <a:gdLst/>
              <a:ahLst/>
              <a:cxnLst>
                <a:cxn ang="0">
                  <a:pos x="88" y="0"/>
                </a:cxn>
                <a:cxn ang="0">
                  <a:pos x="91" y="35"/>
                </a:cxn>
                <a:cxn ang="0">
                  <a:pos x="113" y="8"/>
                </a:cxn>
                <a:cxn ang="0">
                  <a:pos x="95" y="38"/>
                </a:cxn>
                <a:cxn ang="0">
                  <a:pos x="128" y="29"/>
                </a:cxn>
                <a:cxn ang="0">
                  <a:pos x="96" y="42"/>
                </a:cxn>
                <a:cxn ang="0">
                  <a:pos x="128" y="55"/>
                </a:cxn>
                <a:cxn ang="0">
                  <a:pos x="94" y="47"/>
                </a:cxn>
                <a:cxn ang="0">
                  <a:pos x="113" y="76"/>
                </a:cxn>
                <a:cxn ang="0">
                  <a:pos x="90" y="50"/>
                </a:cxn>
                <a:cxn ang="0">
                  <a:pos x="88" y="84"/>
                </a:cxn>
                <a:cxn ang="0">
                  <a:pos x="85" y="49"/>
                </a:cxn>
                <a:cxn ang="0">
                  <a:pos x="63" y="76"/>
                </a:cxn>
                <a:cxn ang="0">
                  <a:pos x="81" y="46"/>
                </a:cxn>
                <a:cxn ang="0">
                  <a:pos x="48" y="55"/>
                </a:cxn>
                <a:cxn ang="0">
                  <a:pos x="46" y="55"/>
                </a:cxn>
                <a:cxn ang="0">
                  <a:pos x="27" y="55"/>
                </a:cxn>
                <a:cxn ang="0">
                  <a:pos x="1" y="70"/>
                </a:cxn>
                <a:cxn ang="0">
                  <a:pos x="0" y="71"/>
                </a:cxn>
                <a:cxn ang="0">
                  <a:pos x="0" y="69"/>
                </a:cxn>
                <a:cxn ang="0">
                  <a:pos x="28" y="54"/>
                </a:cxn>
                <a:cxn ang="0">
                  <a:pos x="46" y="54"/>
                </a:cxn>
                <a:cxn ang="0">
                  <a:pos x="62" y="44"/>
                </a:cxn>
                <a:cxn ang="0">
                  <a:pos x="63" y="43"/>
                </a:cxn>
                <a:cxn ang="0">
                  <a:pos x="71" y="38"/>
                </a:cxn>
                <a:cxn ang="0">
                  <a:pos x="48" y="29"/>
                </a:cxn>
                <a:cxn ang="0">
                  <a:pos x="82" y="37"/>
                </a:cxn>
                <a:cxn ang="0">
                  <a:pos x="63" y="8"/>
                </a:cxn>
                <a:cxn ang="0">
                  <a:pos x="86" y="34"/>
                </a:cxn>
                <a:cxn ang="0">
                  <a:pos x="88" y="0"/>
                </a:cxn>
                <a:cxn ang="0">
                  <a:pos x="54" y="52"/>
                </a:cxn>
                <a:cxn ang="0">
                  <a:pos x="80" y="42"/>
                </a:cxn>
                <a:cxn ang="0">
                  <a:pos x="73" y="39"/>
                </a:cxn>
                <a:cxn ang="0">
                  <a:pos x="64" y="44"/>
                </a:cxn>
                <a:cxn ang="0">
                  <a:pos x="63" y="45"/>
                </a:cxn>
                <a:cxn ang="0">
                  <a:pos x="54" y="52"/>
                </a:cxn>
              </a:cxnLst>
              <a:rect l="0" t="0" r="r" b="b"/>
              <a:pathLst>
                <a:path w="128" h="84">
                  <a:moveTo>
                    <a:pt x="88" y="0"/>
                  </a:moveTo>
                  <a:cubicBezTo>
                    <a:pt x="91" y="35"/>
                    <a:pt x="91" y="35"/>
                    <a:pt x="91" y="35"/>
                  </a:cubicBezTo>
                  <a:cubicBezTo>
                    <a:pt x="113" y="8"/>
                    <a:pt x="113" y="8"/>
                    <a:pt x="113" y="8"/>
                  </a:cubicBezTo>
                  <a:cubicBezTo>
                    <a:pt x="95" y="38"/>
                    <a:pt x="95" y="38"/>
                    <a:pt x="95" y="38"/>
                  </a:cubicBezTo>
                  <a:cubicBezTo>
                    <a:pt x="128" y="29"/>
                    <a:pt x="128" y="29"/>
                    <a:pt x="128" y="29"/>
                  </a:cubicBezTo>
                  <a:cubicBezTo>
                    <a:pt x="96" y="42"/>
                    <a:pt x="96" y="42"/>
                    <a:pt x="96" y="42"/>
                  </a:cubicBezTo>
                  <a:cubicBezTo>
                    <a:pt x="128" y="55"/>
                    <a:pt x="128" y="55"/>
                    <a:pt x="128" y="55"/>
                  </a:cubicBezTo>
                  <a:cubicBezTo>
                    <a:pt x="94" y="47"/>
                    <a:pt x="94" y="47"/>
                    <a:pt x="94" y="47"/>
                  </a:cubicBezTo>
                  <a:cubicBezTo>
                    <a:pt x="113" y="76"/>
                    <a:pt x="113" y="76"/>
                    <a:pt x="113" y="76"/>
                  </a:cubicBezTo>
                  <a:cubicBezTo>
                    <a:pt x="90" y="50"/>
                    <a:pt x="90" y="50"/>
                    <a:pt x="90" y="50"/>
                  </a:cubicBezTo>
                  <a:cubicBezTo>
                    <a:pt x="88" y="84"/>
                    <a:pt x="88" y="84"/>
                    <a:pt x="88" y="84"/>
                  </a:cubicBezTo>
                  <a:cubicBezTo>
                    <a:pt x="85" y="49"/>
                    <a:pt x="85" y="49"/>
                    <a:pt x="85" y="49"/>
                  </a:cubicBezTo>
                  <a:cubicBezTo>
                    <a:pt x="63" y="76"/>
                    <a:pt x="63" y="76"/>
                    <a:pt x="63" y="76"/>
                  </a:cubicBezTo>
                  <a:cubicBezTo>
                    <a:pt x="81" y="46"/>
                    <a:pt x="81" y="46"/>
                    <a:pt x="81" y="46"/>
                  </a:cubicBezTo>
                  <a:cubicBezTo>
                    <a:pt x="48" y="55"/>
                    <a:pt x="48" y="55"/>
                    <a:pt x="48" y="55"/>
                  </a:cubicBezTo>
                  <a:cubicBezTo>
                    <a:pt x="47" y="55"/>
                    <a:pt x="47" y="55"/>
                    <a:pt x="46" y="55"/>
                  </a:cubicBezTo>
                  <a:cubicBezTo>
                    <a:pt x="40" y="57"/>
                    <a:pt x="33" y="57"/>
                    <a:pt x="27" y="55"/>
                  </a:cubicBezTo>
                  <a:cubicBezTo>
                    <a:pt x="14" y="51"/>
                    <a:pt x="1" y="70"/>
                    <a:pt x="1" y="70"/>
                  </a:cubicBezTo>
                  <a:cubicBezTo>
                    <a:pt x="1" y="71"/>
                    <a:pt x="1" y="71"/>
                    <a:pt x="0" y="71"/>
                  </a:cubicBezTo>
                  <a:cubicBezTo>
                    <a:pt x="0" y="70"/>
                    <a:pt x="0" y="70"/>
                    <a:pt x="0" y="69"/>
                  </a:cubicBezTo>
                  <a:cubicBezTo>
                    <a:pt x="0" y="69"/>
                    <a:pt x="14" y="49"/>
                    <a:pt x="28" y="54"/>
                  </a:cubicBezTo>
                  <a:cubicBezTo>
                    <a:pt x="34" y="56"/>
                    <a:pt x="40" y="55"/>
                    <a:pt x="46" y="54"/>
                  </a:cubicBezTo>
                  <a:cubicBezTo>
                    <a:pt x="53" y="52"/>
                    <a:pt x="59" y="48"/>
                    <a:pt x="62" y="44"/>
                  </a:cubicBezTo>
                  <a:cubicBezTo>
                    <a:pt x="62" y="44"/>
                    <a:pt x="62" y="44"/>
                    <a:pt x="63" y="43"/>
                  </a:cubicBezTo>
                  <a:cubicBezTo>
                    <a:pt x="65" y="41"/>
                    <a:pt x="68" y="39"/>
                    <a:pt x="71" y="38"/>
                  </a:cubicBezTo>
                  <a:cubicBezTo>
                    <a:pt x="48" y="29"/>
                    <a:pt x="48" y="29"/>
                    <a:pt x="48" y="29"/>
                  </a:cubicBezTo>
                  <a:cubicBezTo>
                    <a:pt x="82" y="37"/>
                    <a:pt x="82" y="37"/>
                    <a:pt x="82" y="37"/>
                  </a:cubicBezTo>
                  <a:cubicBezTo>
                    <a:pt x="63" y="8"/>
                    <a:pt x="63" y="8"/>
                    <a:pt x="63" y="8"/>
                  </a:cubicBezTo>
                  <a:cubicBezTo>
                    <a:pt x="86" y="34"/>
                    <a:pt x="86" y="34"/>
                    <a:pt x="86" y="34"/>
                  </a:cubicBezTo>
                  <a:cubicBezTo>
                    <a:pt x="88" y="0"/>
                    <a:pt x="88" y="0"/>
                    <a:pt x="88" y="0"/>
                  </a:cubicBezTo>
                  <a:close/>
                  <a:moveTo>
                    <a:pt x="54" y="52"/>
                  </a:moveTo>
                  <a:cubicBezTo>
                    <a:pt x="80" y="42"/>
                    <a:pt x="80" y="42"/>
                    <a:pt x="80" y="42"/>
                  </a:cubicBezTo>
                  <a:cubicBezTo>
                    <a:pt x="73" y="39"/>
                    <a:pt x="73" y="39"/>
                    <a:pt x="73" y="39"/>
                  </a:cubicBezTo>
                  <a:cubicBezTo>
                    <a:pt x="69" y="40"/>
                    <a:pt x="66" y="42"/>
                    <a:pt x="64" y="44"/>
                  </a:cubicBezTo>
                  <a:cubicBezTo>
                    <a:pt x="64" y="45"/>
                    <a:pt x="63" y="45"/>
                    <a:pt x="63" y="45"/>
                  </a:cubicBezTo>
                  <a:cubicBezTo>
                    <a:pt x="61" y="48"/>
                    <a:pt x="58" y="50"/>
                    <a:pt x="54" y="52"/>
                  </a:cubicBezTo>
                  <a:close/>
                </a:path>
              </a:pathLst>
            </a:custGeom>
            <a:grpFill/>
            <a:ln w="9525">
              <a:noFill/>
              <a:round/>
              <a:headEnd/>
              <a:tailEnd/>
            </a:ln>
          </p:spPr>
          <p:txBody>
            <a:bodyPr/>
            <a:lstStyle/>
            <a:p>
              <a:pPr fontAlgn="auto">
                <a:spcBef>
                  <a:spcPts val="0"/>
                </a:spcBef>
                <a:spcAft>
                  <a:spcPts val="0"/>
                </a:spcAft>
                <a:defRPr/>
              </a:pPr>
              <a:endParaRPr lang="en-US">
                <a:latin typeface="+mn-lt"/>
                <a:ea typeface="+mn-ea"/>
              </a:endParaRPr>
            </a:p>
          </p:txBody>
        </p:sp>
      </p:grpSp>
      <p:pic>
        <p:nvPicPr>
          <p:cNvPr id="8" name="Billede 7">
            <a:extLst>
              <a:ext uri="{FF2B5EF4-FFF2-40B4-BE49-F238E27FC236}">
                <a16:creationId xmlns:a16="http://schemas.microsoft.com/office/drawing/2014/main" id="{ECB02332-3218-4C5A-9278-319A9793673F}"/>
              </a:ext>
            </a:extLst>
          </p:cNvPr>
          <p:cNvPicPr>
            <a:picLocks noChangeAspect="1"/>
          </p:cNvPicPr>
          <p:nvPr/>
        </p:nvPicPr>
        <p:blipFill>
          <a:blip r:embed="rId4"/>
          <a:stretch>
            <a:fillRect/>
          </a:stretch>
        </p:blipFill>
        <p:spPr>
          <a:xfrm flipV="1">
            <a:off x="6763811" y="4489628"/>
            <a:ext cx="740078" cy="158388"/>
          </a:xfrm>
          <a:prstGeom prst="rect">
            <a:avLst/>
          </a:prstGeom>
        </p:spPr>
      </p:pic>
      <p:sp>
        <p:nvSpPr>
          <p:cNvPr id="81" name="Freeform 224">
            <a:extLst>
              <a:ext uri="{FF2B5EF4-FFF2-40B4-BE49-F238E27FC236}">
                <a16:creationId xmlns:a16="http://schemas.microsoft.com/office/drawing/2014/main" id="{A987F54F-BCE5-466C-9027-A0202F9DF943}"/>
              </a:ext>
            </a:extLst>
          </p:cNvPr>
          <p:cNvSpPr>
            <a:spLocks noEditPoints="1"/>
          </p:cNvSpPr>
          <p:nvPr/>
        </p:nvSpPr>
        <p:spPr bwMode="auto">
          <a:xfrm>
            <a:off x="7155098" y="1999866"/>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224">
            <a:extLst>
              <a:ext uri="{FF2B5EF4-FFF2-40B4-BE49-F238E27FC236}">
                <a16:creationId xmlns:a16="http://schemas.microsoft.com/office/drawing/2014/main" id="{9305D0BF-5CFF-49C4-BACF-9DF90AD7AF89}"/>
              </a:ext>
            </a:extLst>
          </p:cNvPr>
          <p:cNvSpPr>
            <a:spLocks noEditPoints="1"/>
          </p:cNvSpPr>
          <p:nvPr/>
        </p:nvSpPr>
        <p:spPr bwMode="auto">
          <a:xfrm>
            <a:off x="6762854" y="1930415"/>
            <a:ext cx="334275" cy="334275"/>
          </a:xfrm>
          <a:custGeom>
            <a:avLst/>
            <a:gdLst>
              <a:gd name="T0" fmla="*/ 160 w 176"/>
              <a:gd name="T1" fmla="*/ 52 h 176"/>
              <a:gd name="T2" fmla="*/ 160 w 176"/>
              <a:gd name="T3" fmla="*/ 12 h 176"/>
              <a:gd name="T4" fmla="*/ 148 w 176"/>
              <a:gd name="T5" fmla="*/ 0 h 176"/>
              <a:gd name="T6" fmla="*/ 136 w 176"/>
              <a:gd name="T7" fmla="*/ 12 h 176"/>
              <a:gd name="T8" fmla="*/ 136 w 176"/>
              <a:gd name="T9" fmla="*/ 15 h 176"/>
              <a:gd name="T10" fmla="*/ 20 w 176"/>
              <a:gd name="T11" fmla="*/ 49 h 176"/>
              <a:gd name="T12" fmla="*/ 16 w 176"/>
              <a:gd name="T13" fmla="*/ 48 h 176"/>
              <a:gd name="T14" fmla="*/ 8 w 176"/>
              <a:gd name="T15" fmla="*/ 48 h 176"/>
              <a:gd name="T16" fmla="*/ 0 w 176"/>
              <a:gd name="T17" fmla="*/ 56 h 176"/>
              <a:gd name="T18" fmla="*/ 0 w 176"/>
              <a:gd name="T19" fmla="*/ 96 h 176"/>
              <a:gd name="T20" fmla="*/ 8 w 176"/>
              <a:gd name="T21" fmla="*/ 104 h 176"/>
              <a:gd name="T22" fmla="*/ 16 w 176"/>
              <a:gd name="T23" fmla="*/ 104 h 176"/>
              <a:gd name="T24" fmla="*/ 20 w 176"/>
              <a:gd name="T25" fmla="*/ 103 h 176"/>
              <a:gd name="T26" fmla="*/ 25 w 176"/>
              <a:gd name="T27" fmla="*/ 104 h 176"/>
              <a:gd name="T28" fmla="*/ 40 w 176"/>
              <a:gd name="T29" fmla="*/ 173 h 176"/>
              <a:gd name="T30" fmla="*/ 40 w 176"/>
              <a:gd name="T31" fmla="*/ 173 h 176"/>
              <a:gd name="T32" fmla="*/ 44 w 176"/>
              <a:gd name="T33" fmla="*/ 176 h 176"/>
              <a:gd name="T34" fmla="*/ 76 w 176"/>
              <a:gd name="T35" fmla="*/ 176 h 176"/>
              <a:gd name="T36" fmla="*/ 80 w 176"/>
              <a:gd name="T37" fmla="*/ 172 h 176"/>
              <a:gd name="T38" fmla="*/ 80 w 176"/>
              <a:gd name="T39" fmla="*/ 171 h 176"/>
              <a:gd name="T40" fmla="*/ 80 w 176"/>
              <a:gd name="T41" fmla="*/ 171 h 176"/>
              <a:gd name="T42" fmla="*/ 67 w 176"/>
              <a:gd name="T43" fmla="*/ 117 h 176"/>
              <a:gd name="T44" fmla="*/ 136 w 176"/>
              <a:gd name="T45" fmla="*/ 137 h 176"/>
              <a:gd name="T46" fmla="*/ 136 w 176"/>
              <a:gd name="T47" fmla="*/ 140 h 176"/>
              <a:gd name="T48" fmla="*/ 148 w 176"/>
              <a:gd name="T49" fmla="*/ 152 h 176"/>
              <a:gd name="T50" fmla="*/ 160 w 176"/>
              <a:gd name="T51" fmla="*/ 140 h 176"/>
              <a:gd name="T52" fmla="*/ 160 w 176"/>
              <a:gd name="T53" fmla="*/ 100 h 176"/>
              <a:gd name="T54" fmla="*/ 176 w 176"/>
              <a:gd name="T55" fmla="*/ 84 h 176"/>
              <a:gd name="T56" fmla="*/ 176 w 176"/>
              <a:gd name="T57" fmla="*/ 68 h 176"/>
              <a:gd name="T58" fmla="*/ 160 w 176"/>
              <a:gd name="T59" fmla="*/ 52 h 176"/>
              <a:gd name="T60" fmla="*/ 16 w 176"/>
              <a:gd name="T61" fmla="*/ 96 h 176"/>
              <a:gd name="T62" fmla="*/ 8 w 176"/>
              <a:gd name="T63" fmla="*/ 96 h 176"/>
              <a:gd name="T64" fmla="*/ 8 w 176"/>
              <a:gd name="T65" fmla="*/ 56 h 176"/>
              <a:gd name="T66" fmla="*/ 16 w 176"/>
              <a:gd name="T67" fmla="*/ 56 h 176"/>
              <a:gd name="T68" fmla="*/ 16 w 176"/>
              <a:gd name="T69" fmla="*/ 96 h 176"/>
              <a:gd name="T70" fmla="*/ 71 w 176"/>
              <a:gd name="T71" fmla="*/ 168 h 176"/>
              <a:gd name="T72" fmla="*/ 47 w 176"/>
              <a:gd name="T73" fmla="*/ 168 h 176"/>
              <a:gd name="T74" fmla="*/ 45 w 176"/>
              <a:gd name="T75" fmla="*/ 160 h 176"/>
              <a:gd name="T76" fmla="*/ 69 w 176"/>
              <a:gd name="T77" fmla="*/ 160 h 176"/>
              <a:gd name="T78" fmla="*/ 71 w 176"/>
              <a:gd name="T79" fmla="*/ 168 h 176"/>
              <a:gd name="T80" fmla="*/ 67 w 176"/>
              <a:gd name="T81" fmla="*/ 152 h 176"/>
              <a:gd name="T82" fmla="*/ 44 w 176"/>
              <a:gd name="T83" fmla="*/ 152 h 176"/>
              <a:gd name="T84" fmla="*/ 34 w 176"/>
              <a:gd name="T85" fmla="*/ 107 h 176"/>
              <a:gd name="T86" fmla="*/ 58 w 176"/>
              <a:gd name="T87" fmla="*/ 114 h 176"/>
              <a:gd name="T88" fmla="*/ 67 w 176"/>
              <a:gd name="T89" fmla="*/ 152 h 176"/>
              <a:gd name="T90" fmla="*/ 136 w 176"/>
              <a:gd name="T91" fmla="*/ 129 h 176"/>
              <a:gd name="T92" fmla="*/ 24 w 176"/>
              <a:gd name="T93" fmla="*/ 96 h 176"/>
              <a:gd name="T94" fmla="*/ 24 w 176"/>
              <a:gd name="T95" fmla="*/ 56 h 176"/>
              <a:gd name="T96" fmla="*/ 136 w 176"/>
              <a:gd name="T97" fmla="*/ 23 h 176"/>
              <a:gd name="T98" fmla="*/ 136 w 176"/>
              <a:gd name="T99" fmla="*/ 129 h 176"/>
              <a:gd name="T100" fmla="*/ 152 w 176"/>
              <a:gd name="T101" fmla="*/ 140 h 176"/>
              <a:gd name="T102" fmla="*/ 148 w 176"/>
              <a:gd name="T103" fmla="*/ 144 h 176"/>
              <a:gd name="T104" fmla="*/ 144 w 176"/>
              <a:gd name="T105" fmla="*/ 140 h 176"/>
              <a:gd name="T106" fmla="*/ 144 w 176"/>
              <a:gd name="T107" fmla="*/ 12 h 176"/>
              <a:gd name="T108" fmla="*/ 148 w 176"/>
              <a:gd name="T109" fmla="*/ 8 h 176"/>
              <a:gd name="T110" fmla="*/ 152 w 176"/>
              <a:gd name="T111" fmla="*/ 12 h 176"/>
              <a:gd name="T112" fmla="*/ 152 w 176"/>
              <a:gd name="T113" fmla="*/ 140 h 176"/>
              <a:gd name="T114" fmla="*/ 168 w 176"/>
              <a:gd name="T115" fmla="*/ 84 h 176"/>
              <a:gd name="T116" fmla="*/ 160 w 176"/>
              <a:gd name="T117" fmla="*/ 92 h 176"/>
              <a:gd name="T118" fmla="*/ 160 w 176"/>
              <a:gd name="T119" fmla="*/ 60 h 176"/>
              <a:gd name="T120" fmla="*/ 168 w 176"/>
              <a:gd name="T121" fmla="*/ 68 h 176"/>
              <a:gd name="T122" fmla="*/ 168 w 176"/>
              <a:gd name="T123" fmla="*/ 8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 h="176">
                <a:moveTo>
                  <a:pt x="160" y="52"/>
                </a:moveTo>
                <a:cubicBezTo>
                  <a:pt x="160" y="12"/>
                  <a:pt x="160" y="12"/>
                  <a:pt x="160" y="12"/>
                </a:cubicBezTo>
                <a:cubicBezTo>
                  <a:pt x="160" y="5"/>
                  <a:pt x="155" y="0"/>
                  <a:pt x="148" y="0"/>
                </a:cubicBezTo>
                <a:cubicBezTo>
                  <a:pt x="141" y="0"/>
                  <a:pt x="136" y="5"/>
                  <a:pt x="136" y="12"/>
                </a:cubicBezTo>
                <a:cubicBezTo>
                  <a:pt x="136" y="15"/>
                  <a:pt x="136" y="15"/>
                  <a:pt x="136" y="15"/>
                </a:cubicBezTo>
                <a:cubicBezTo>
                  <a:pt x="20" y="49"/>
                  <a:pt x="20" y="49"/>
                  <a:pt x="20" y="49"/>
                </a:cubicBezTo>
                <a:cubicBezTo>
                  <a:pt x="19" y="48"/>
                  <a:pt x="17" y="48"/>
                  <a:pt x="16" y="48"/>
                </a:cubicBezTo>
                <a:cubicBezTo>
                  <a:pt x="8" y="48"/>
                  <a:pt x="8" y="48"/>
                  <a:pt x="8" y="48"/>
                </a:cubicBezTo>
                <a:cubicBezTo>
                  <a:pt x="4" y="48"/>
                  <a:pt x="0" y="52"/>
                  <a:pt x="0" y="56"/>
                </a:cubicBezTo>
                <a:cubicBezTo>
                  <a:pt x="0" y="96"/>
                  <a:pt x="0" y="96"/>
                  <a:pt x="0" y="96"/>
                </a:cubicBezTo>
                <a:cubicBezTo>
                  <a:pt x="0" y="100"/>
                  <a:pt x="4" y="104"/>
                  <a:pt x="8" y="104"/>
                </a:cubicBezTo>
                <a:cubicBezTo>
                  <a:pt x="16" y="104"/>
                  <a:pt x="16" y="104"/>
                  <a:pt x="16" y="104"/>
                </a:cubicBezTo>
                <a:cubicBezTo>
                  <a:pt x="17" y="104"/>
                  <a:pt x="19" y="104"/>
                  <a:pt x="20" y="103"/>
                </a:cubicBezTo>
                <a:cubicBezTo>
                  <a:pt x="25" y="104"/>
                  <a:pt x="25" y="104"/>
                  <a:pt x="25" y="104"/>
                </a:cubicBezTo>
                <a:cubicBezTo>
                  <a:pt x="40" y="173"/>
                  <a:pt x="40" y="173"/>
                  <a:pt x="40" y="173"/>
                </a:cubicBezTo>
                <a:cubicBezTo>
                  <a:pt x="40" y="173"/>
                  <a:pt x="40" y="173"/>
                  <a:pt x="40" y="173"/>
                </a:cubicBezTo>
                <a:cubicBezTo>
                  <a:pt x="41" y="175"/>
                  <a:pt x="42" y="176"/>
                  <a:pt x="44" y="176"/>
                </a:cubicBezTo>
                <a:cubicBezTo>
                  <a:pt x="76" y="176"/>
                  <a:pt x="76" y="176"/>
                  <a:pt x="76" y="176"/>
                </a:cubicBezTo>
                <a:cubicBezTo>
                  <a:pt x="78" y="176"/>
                  <a:pt x="80" y="174"/>
                  <a:pt x="80" y="172"/>
                </a:cubicBezTo>
                <a:cubicBezTo>
                  <a:pt x="80" y="172"/>
                  <a:pt x="80" y="171"/>
                  <a:pt x="80" y="171"/>
                </a:cubicBezTo>
                <a:cubicBezTo>
                  <a:pt x="80" y="171"/>
                  <a:pt x="80" y="171"/>
                  <a:pt x="80" y="171"/>
                </a:cubicBezTo>
                <a:cubicBezTo>
                  <a:pt x="67" y="117"/>
                  <a:pt x="67" y="117"/>
                  <a:pt x="67" y="117"/>
                </a:cubicBezTo>
                <a:cubicBezTo>
                  <a:pt x="136" y="137"/>
                  <a:pt x="136" y="137"/>
                  <a:pt x="136" y="137"/>
                </a:cubicBezTo>
                <a:cubicBezTo>
                  <a:pt x="136" y="140"/>
                  <a:pt x="136" y="140"/>
                  <a:pt x="136" y="140"/>
                </a:cubicBezTo>
                <a:cubicBezTo>
                  <a:pt x="136" y="147"/>
                  <a:pt x="141" y="152"/>
                  <a:pt x="148" y="152"/>
                </a:cubicBezTo>
                <a:cubicBezTo>
                  <a:pt x="155" y="152"/>
                  <a:pt x="160" y="147"/>
                  <a:pt x="160" y="140"/>
                </a:cubicBezTo>
                <a:cubicBezTo>
                  <a:pt x="160" y="100"/>
                  <a:pt x="160" y="100"/>
                  <a:pt x="160" y="100"/>
                </a:cubicBezTo>
                <a:cubicBezTo>
                  <a:pt x="169" y="100"/>
                  <a:pt x="176" y="93"/>
                  <a:pt x="176" y="84"/>
                </a:cubicBezTo>
                <a:cubicBezTo>
                  <a:pt x="176" y="68"/>
                  <a:pt x="176" y="68"/>
                  <a:pt x="176" y="68"/>
                </a:cubicBezTo>
                <a:cubicBezTo>
                  <a:pt x="176" y="59"/>
                  <a:pt x="169" y="52"/>
                  <a:pt x="160" y="52"/>
                </a:cubicBezTo>
                <a:moveTo>
                  <a:pt x="16" y="96"/>
                </a:moveTo>
                <a:cubicBezTo>
                  <a:pt x="8" y="96"/>
                  <a:pt x="8" y="96"/>
                  <a:pt x="8" y="96"/>
                </a:cubicBezTo>
                <a:cubicBezTo>
                  <a:pt x="8" y="56"/>
                  <a:pt x="8" y="56"/>
                  <a:pt x="8" y="56"/>
                </a:cubicBezTo>
                <a:cubicBezTo>
                  <a:pt x="16" y="56"/>
                  <a:pt x="16" y="56"/>
                  <a:pt x="16" y="56"/>
                </a:cubicBezTo>
                <a:lnTo>
                  <a:pt x="16" y="96"/>
                </a:lnTo>
                <a:close/>
                <a:moveTo>
                  <a:pt x="71" y="168"/>
                </a:moveTo>
                <a:cubicBezTo>
                  <a:pt x="47" y="168"/>
                  <a:pt x="47" y="168"/>
                  <a:pt x="47" y="168"/>
                </a:cubicBezTo>
                <a:cubicBezTo>
                  <a:pt x="45" y="160"/>
                  <a:pt x="45" y="160"/>
                  <a:pt x="45" y="160"/>
                </a:cubicBezTo>
                <a:cubicBezTo>
                  <a:pt x="69" y="160"/>
                  <a:pt x="69" y="160"/>
                  <a:pt x="69" y="160"/>
                </a:cubicBezTo>
                <a:lnTo>
                  <a:pt x="71" y="168"/>
                </a:lnTo>
                <a:close/>
                <a:moveTo>
                  <a:pt x="67" y="152"/>
                </a:moveTo>
                <a:cubicBezTo>
                  <a:pt x="44" y="152"/>
                  <a:pt x="44" y="152"/>
                  <a:pt x="44" y="152"/>
                </a:cubicBezTo>
                <a:cubicBezTo>
                  <a:pt x="34" y="107"/>
                  <a:pt x="34" y="107"/>
                  <a:pt x="34" y="107"/>
                </a:cubicBezTo>
                <a:cubicBezTo>
                  <a:pt x="58" y="114"/>
                  <a:pt x="58" y="114"/>
                  <a:pt x="58" y="114"/>
                </a:cubicBezTo>
                <a:lnTo>
                  <a:pt x="67" y="152"/>
                </a:lnTo>
                <a:close/>
                <a:moveTo>
                  <a:pt x="136" y="129"/>
                </a:moveTo>
                <a:cubicBezTo>
                  <a:pt x="24" y="96"/>
                  <a:pt x="24" y="96"/>
                  <a:pt x="24" y="96"/>
                </a:cubicBezTo>
                <a:cubicBezTo>
                  <a:pt x="24" y="56"/>
                  <a:pt x="24" y="56"/>
                  <a:pt x="24" y="56"/>
                </a:cubicBezTo>
                <a:cubicBezTo>
                  <a:pt x="136" y="23"/>
                  <a:pt x="136" y="23"/>
                  <a:pt x="136" y="23"/>
                </a:cubicBezTo>
                <a:lnTo>
                  <a:pt x="136" y="129"/>
                </a:lnTo>
                <a:close/>
                <a:moveTo>
                  <a:pt x="152" y="140"/>
                </a:moveTo>
                <a:cubicBezTo>
                  <a:pt x="152" y="142"/>
                  <a:pt x="150" y="144"/>
                  <a:pt x="148" y="144"/>
                </a:cubicBezTo>
                <a:cubicBezTo>
                  <a:pt x="146" y="144"/>
                  <a:pt x="144" y="142"/>
                  <a:pt x="144" y="140"/>
                </a:cubicBezTo>
                <a:cubicBezTo>
                  <a:pt x="144" y="12"/>
                  <a:pt x="144" y="12"/>
                  <a:pt x="144" y="12"/>
                </a:cubicBezTo>
                <a:cubicBezTo>
                  <a:pt x="144" y="10"/>
                  <a:pt x="146" y="8"/>
                  <a:pt x="148" y="8"/>
                </a:cubicBezTo>
                <a:cubicBezTo>
                  <a:pt x="150" y="8"/>
                  <a:pt x="152" y="10"/>
                  <a:pt x="152" y="12"/>
                </a:cubicBezTo>
                <a:lnTo>
                  <a:pt x="152" y="140"/>
                </a:lnTo>
                <a:close/>
                <a:moveTo>
                  <a:pt x="168" y="84"/>
                </a:moveTo>
                <a:cubicBezTo>
                  <a:pt x="168" y="88"/>
                  <a:pt x="164" y="92"/>
                  <a:pt x="160" y="92"/>
                </a:cubicBezTo>
                <a:cubicBezTo>
                  <a:pt x="160" y="60"/>
                  <a:pt x="160" y="60"/>
                  <a:pt x="160" y="60"/>
                </a:cubicBezTo>
                <a:cubicBezTo>
                  <a:pt x="164" y="60"/>
                  <a:pt x="168" y="64"/>
                  <a:pt x="168" y="68"/>
                </a:cubicBezTo>
                <a:lnTo>
                  <a:pt x="168" y="84"/>
                </a:ln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mc:AlternateContent xmlns:mc="http://schemas.openxmlformats.org/markup-compatibility/2006">
        <mc:Choice xmlns:p14="http://schemas.microsoft.com/office/powerpoint/2010/main" Requires="p14">
          <p:contentPart p14:bwMode="auto" r:id="rId5">
            <p14:nvContentPartPr>
              <p14:cNvPr id="3" name="Håndskrift 2">
                <a:extLst>
                  <a:ext uri="{FF2B5EF4-FFF2-40B4-BE49-F238E27FC236}">
                    <a16:creationId xmlns:a16="http://schemas.microsoft.com/office/drawing/2014/main" id="{7772D1E6-2AFB-44C6-8CC1-C4CDE6D2142C}"/>
                  </a:ext>
                </a:extLst>
              </p14:cNvPr>
              <p14:cNvContentPartPr/>
              <p14:nvPr/>
            </p14:nvContentPartPr>
            <p14:xfrm>
              <a:off x="329760" y="563760"/>
              <a:ext cx="11811960" cy="5752800"/>
            </p14:xfrm>
          </p:contentPart>
        </mc:Choice>
        <mc:Fallback>
          <p:pic>
            <p:nvPicPr>
              <p:cNvPr id="3" name="Håndskrift 2">
                <a:extLst>
                  <a:ext uri="{FF2B5EF4-FFF2-40B4-BE49-F238E27FC236}">
                    <a16:creationId xmlns:a16="http://schemas.microsoft.com/office/drawing/2014/main" id="{7772D1E6-2AFB-44C6-8CC1-C4CDE6D2142C}"/>
                  </a:ext>
                </a:extLst>
              </p:cNvPr>
              <p:cNvPicPr/>
              <p:nvPr/>
            </p:nvPicPr>
            <p:blipFill>
              <a:blip r:embed="rId6"/>
              <a:stretch>
                <a:fillRect/>
              </a:stretch>
            </p:blipFill>
            <p:spPr>
              <a:xfrm>
                <a:off x="320400" y="554400"/>
                <a:ext cx="11830680" cy="5771520"/>
              </a:xfrm>
              <a:prstGeom prst="rect">
                <a:avLst/>
              </a:prstGeom>
            </p:spPr>
          </p:pic>
        </mc:Fallback>
      </mc:AlternateContent>
    </p:spTree>
    <p:extLst>
      <p:ext uri="{BB962C8B-B14F-4D97-AF65-F5344CB8AC3E}">
        <p14:creationId xmlns:p14="http://schemas.microsoft.com/office/powerpoint/2010/main" val="84201324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18</a:t>
            </a:fld>
            <a:endParaRPr lang="da-DK"/>
          </a:p>
        </p:txBody>
      </p:sp>
      <p:grpSp>
        <p:nvGrpSpPr>
          <p:cNvPr id="2" name="Gruppe 1">
            <a:extLst>
              <a:ext uri="{FF2B5EF4-FFF2-40B4-BE49-F238E27FC236}">
                <a16:creationId xmlns:a16="http://schemas.microsoft.com/office/drawing/2014/main" id="{A8A835C1-1B7F-4160-A2DB-3B93175875F7}"/>
              </a:ext>
            </a:extLst>
          </p:cNvPr>
          <p:cNvGrpSpPr/>
          <p:nvPr/>
        </p:nvGrpSpPr>
        <p:grpSpPr>
          <a:xfrm>
            <a:off x="2412897" y="1555168"/>
            <a:ext cx="9237766" cy="5302832"/>
            <a:chOff x="1267201" y="1165803"/>
            <a:chExt cx="9916056" cy="5692197"/>
          </a:xfrm>
        </p:grpSpPr>
        <p:sp>
          <p:nvSpPr>
            <p:cNvPr id="133" name="Freeform 19">
              <a:extLst>
                <a:ext uri="{FF2B5EF4-FFF2-40B4-BE49-F238E27FC236}">
                  <a16:creationId xmlns:a16="http://schemas.microsoft.com/office/drawing/2014/main" id="{667B1F56-BEF4-4AC5-A45E-BEA9897DB6EE}"/>
                </a:ext>
              </a:extLst>
            </p:cNvPr>
            <p:cNvSpPr>
              <a:spLocks noChangeArrowheads="1"/>
            </p:cNvSpPr>
            <p:nvPr/>
          </p:nvSpPr>
          <p:spPr bwMode="auto">
            <a:xfrm>
              <a:off x="1267201" y="1165803"/>
              <a:ext cx="9916056" cy="5692197"/>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accent6"/>
            </a:solidFill>
            <a:ln>
              <a:noFill/>
            </a:ln>
            <a:effectLst/>
          </p:spPr>
          <p:txBody>
            <a:bodyPr wrap="square" anchor="ctr">
              <a:noAutofit/>
            </a:bodyPr>
            <a:lstStyle/>
            <a:p>
              <a:endParaRPr lang="en-US" sz="6530">
                <a:latin typeface="Lato Light" panose="020F0502020204030203" pitchFamily="34" charset="0"/>
              </a:endParaRPr>
            </a:p>
          </p:txBody>
        </p:sp>
        <p:sp>
          <p:nvSpPr>
            <p:cNvPr id="134" name="Freeform 20">
              <a:extLst>
                <a:ext uri="{FF2B5EF4-FFF2-40B4-BE49-F238E27FC236}">
                  <a16:creationId xmlns:a16="http://schemas.microsoft.com/office/drawing/2014/main" id="{59B9176F-FDCA-4E5A-A491-08E28DDBCA03}"/>
                </a:ext>
              </a:extLst>
            </p:cNvPr>
            <p:cNvSpPr>
              <a:spLocks noChangeArrowheads="1"/>
            </p:cNvSpPr>
            <p:nvPr/>
          </p:nvSpPr>
          <p:spPr bwMode="auto">
            <a:xfrm>
              <a:off x="5689218" y="1165803"/>
              <a:ext cx="4550441" cy="5692197"/>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endParaRPr lang="en-US" sz="6530">
                <a:latin typeface="Lato Light" panose="020F0502020204030203" pitchFamily="34" charset="0"/>
              </a:endParaRPr>
            </a:p>
          </p:txBody>
        </p:sp>
      </p:grpSp>
      <p:grpSp>
        <p:nvGrpSpPr>
          <p:cNvPr id="3" name="Gruppe 2">
            <a:extLst>
              <a:ext uri="{FF2B5EF4-FFF2-40B4-BE49-F238E27FC236}">
                <a16:creationId xmlns:a16="http://schemas.microsoft.com/office/drawing/2014/main" id="{5095280F-7A64-4A57-A5A2-6C42E6B22621}"/>
              </a:ext>
            </a:extLst>
          </p:cNvPr>
          <p:cNvGrpSpPr/>
          <p:nvPr/>
        </p:nvGrpSpPr>
        <p:grpSpPr>
          <a:xfrm>
            <a:off x="8784599" y="496492"/>
            <a:ext cx="1145102" cy="1063650"/>
            <a:chOff x="17786826" y="2405621"/>
            <a:chExt cx="2005162" cy="1862534"/>
          </a:xfrm>
        </p:grpSpPr>
        <p:sp>
          <p:nvSpPr>
            <p:cNvPr id="144" name="Freeform 76">
              <a:extLst>
                <a:ext uri="{FF2B5EF4-FFF2-40B4-BE49-F238E27FC236}">
                  <a16:creationId xmlns:a16="http://schemas.microsoft.com/office/drawing/2014/main" id="{689A179C-6C3B-4192-A50D-615AF2859171}"/>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5" name="Freeform 76">
              <a:extLst>
                <a:ext uri="{FF2B5EF4-FFF2-40B4-BE49-F238E27FC236}">
                  <a16:creationId xmlns:a16="http://schemas.microsoft.com/office/drawing/2014/main" id="{16265DBA-330C-4789-8904-D47DB763E25D}"/>
                </a:ext>
              </a:extLst>
            </p:cNvPr>
            <p:cNvSpPr>
              <a:spLocks noChangeArrowheads="1"/>
            </p:cNvSpPr>
            <p:nvPr/>
          </p:nvSpPr>
          <p:spPr bwMode="auto">
            <a:xfrm>
              <a:off x="18561418" y="2674810"/>
              <a:ext cx="1230570" cy="961385"/>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rgbClr val="000000">
                <a:alpha val="20000"/>
              </a:srgbClr>
            </a:solidFill>
            <a:ln>
              <a:noFill/>
            </a:ln>
            <a:effectLst/>
          </p:spPr>
          <p:txBody>
            <a:bodyPr wrap="none" anchor="ctr"/>
            <a:lstStyle/>
            <a:p>
              <a:endParaRPr lang="en-US" sz="6530">
                <a:latin typeface="Lato Light" panose="020F0502020204030203" pitchFamily="34" charset="0"/>
              </a:endParaRPr>
            </a:p>
          </p:txBody>
        </p:sp>
        <p:sp>
          <p:nvSpPr>
            <p:cNvPr id="146" name="Freeform 77">
              <a:extLst>
                <a:ext uri="{FF2B5EF4-FFF2-40B4-BE49-F238E27FC236}">
                  <a16:creationId xmlns:a16="http://schemas.microsoft.com/office/drawing/2014/main" id="{EC525CFA-C6CC-49A8-91A0-EABFBCAF15ED}"/>
                </a:ext>
              </a:extLst>
            </p:cNvPr>
            <p:cNvSpPr>
              <a:spLocks noChangeArrowheads="1"/>
            </p:cNvSpPr>
            <p:nvPr/>
          </p:nvSpPr>
          <p:spPr bwMode="auto">
            <a:xfrm>
              <a:off x="18138411" y="2405621"/>
              <a:ext cx="60428" cy="1801907"/>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47" name="Freeform 78">
              <a:extLst>
                <a:ext uri="{FF2B5EF4-FFF2-40B4-BE49-F238E27FC236}">
                  <a16:creationId xmlns:a16="http://schemas.microsoft.com/office/drawing/2014/main" id="{68865ACF-078B-412B-B798-8BB381565B7D}"/>
                </a:ext>
              </a:extLst>
            </p:cNvPr>
            <p:cNvSpPr>
              <a:spLocks noChangeArrowheads="1"/>
            </p:cNvSpPr>
            <p:nvPr/>
          </p:nvSpPr>
          <p:spPr bwMode="auto">
            <a:xfrm>
              <a:off x="18204338" y="2526481"/>
              <a:ext cx="664726" cy="87348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8" name="Freeform 79">
              <a:extLst>
                <a:ext uri="{FF2B5EF4-FFF2-40B4-BE49-F238E27FC236}">
                  <a16:creationId xmlns:a16="http://schemas.microsoft.com/office/drawing/2014/main" id="{DEEF06AB-B9F8-4AAE-A2AC-45F96061C4B4}"/>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sp>
          <p:nvSpPr>
            <p:cNvPr id="149" name="Freeform 79">
              <a:extLst>
                <a:ext uri="{FF2B5EF4-FFF2-40B4-BE49-F238E27FC236}">
                  <a16:creationId xmlns:a16="http://schemas.microsoft.com/office/drawing/2014/main" id="{7331D72C-0339-4A54-A650-FA364E3CD450}"/>
                </a:ext>
              </a:extLst>
            </p:cNvPr>
            <p:cNvSpPr>
              <a:spLocks noChangeArrowheads="1"/>
            </p:cNvSpPr>
            <p:nvPr/>
          </p:nvSpPr>
          <p:spPr bwMode="auto">
            <a:xfrm>
              <a:off x="18561421" y="3394472"/>
              <a:ext cx="302151" cy="241719"/>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endParaRPr lang="en-US" sz="6530">
                <a:latin typeface="Lato Light" panose="020F0502020204030203" pitchFamily="34" charset="0"/>
              </a:endParaRPr>
            </a:p>
          </p:txBody>
        </p:sp>
        <p:sp>
          <p:nvSpPr>
            <p:cNvPr id="150" name="Freeform 80">
              <a:extLst>
                <a:ext uri="{FF2B5EF4-FFF2-40B4-BE49-F238E27FC236}">
                  <a16:creationId xmlns:a16="http://schemas.microsoft.com/office/drawing/2014/main" id="{1AEC69E7-ECC2-4DFF-BF00-BEC2C0478DE4}"/>
                </a:ext>
              </a:extLst>
            </p:cNvPr>
            <p:cNvSpPr>
              <a:spLocks noChangeArrowheads="1"/>
            </p:cNvSpPr>
            <p:nvPr/>
          </p:nvSpPr>
          <p:spPr bwMode="auto">
            <a:xfrm>
              <a:off x="17786826" y="4188781"/>
              <a:ext cx="774592" cy="79374"/>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accent1"/>
            </a:solidFill>
            <a:ln>
              <a:noFill/>
            </a:ln>
            <a:effectLst/>
          </p:spPr>
          <p:txBody>
            <a:bodyPr wrap="none" anchor="ctr"/>
            <a:lstStyle/>
            <a:p>
              <a:endParaRPr lang="en-US" sz="6530">
                <a:latin typeface="Lato Light" panose="020F0502020204030203" pitchFamily="34" charset="0"/>
              </a:endParaRPr>
            </a:p>
          </p:txBody>
        </p:sp>
      </p:grpSp>
      <p:sp>
        <p:nvSpPr>
          <p:cNvPr id="151" name="Freeform 2">
            <a:extLst>
              <a:ext uri="{FF2B5EF4-FFF2-40B4-BE49-F238E27FC236}">
                <a16:creationId xmlns:a16="http://schemas.microsoft.com/office/drawing/2014/main" id="{CABCD5E6-16CE-49DF-AC5F-3C514606037E}"/>
              </a:ext>
            </a:extLst>
          </p:cNvPr>
          <p:cNvSpPr>
            <a:spLocks noChangeArrowheads="1"/>
          </p:cNvSpPr>
          <p:nvPr/>
        </p:nvSpPr>
        <p:spPr bwMode="auto">
          <a:xfrm>
            <a:off x="10642424" y="1652442"/>
            <a:ext cx="119237" cy="1572719"/>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2" name="Freeform 3">
            <a:extLst>
              <a:ext uri="{FF2B5EF4-FFF2-40B4-BE49-F238E27FC236}">
                <a16:creationId xmlns:a16="http://schemas.microsoft.com/office/drawing/2014/main" id="{78A421D4-8CB7-4FDC-B3F5-F56B047A7EEF}"/>
              </a:ext>
            </a:extLst>
          </p:cNvPr>
          <p:cNvSpPr>
            <a:spLocks noChangeArrowheads="1"/>
          </p:cNvSpPr>
          <p:nvPr/>
        </p:nvSpPr>
        <p:spPr bwMode="auto">
          <a:xfrm>
            <a:off x="10296787" y="1489435"/>
            <a:ext cx="810512" cy="810515"/>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endParaRPr lang="en-US" sz="6530">
              <a:latin typeface="Lato Light" panose="020F0502020204030203" pitchFamily="34" charset="0"/>
            </a:endParaRPr>
          </a:p>
        </p:txBody>
      </p:sp>
      <p:sp>
        <p:nvSpPr>
          <p:cNvPr id="153" name="Freeform 5">
            <a:extLst>
              <a:ext uri="{FF2B5EF4-FFF2-40B4-BE49-F238E27FC236}">
                <a16:creationId xmlns:a16="http://schemas.microsoft.com/office/drawing/2014/main" id="{0308C121-8A57-4045-BCB7-6D33955BE8EE}"/>
              </a:ext>
            </a:extLst>
          </p:cNvPr>
          <p:cNvSpPr>
            <a:spLocks noChangeArrowheads="1"/>
          </p:cNvSpPr>
          <p:nvPr/>
        </p:nvSpPr>
        <p:spPr bwMode="auto">
          <a:xfrm>
            <a:off x="6317379" y="4912774"/>
            <a:ext cx="119237" cy="1090082"/>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4" name="Freeform 6">
            <a:extLst>
              <a:ext uri="{FF2B5EF4-FFF2-40B4-BE49-F238E27FC236}">
                <a16:creationId xmlns:a16="http://schemas.microsoft.com/office/drawing/2014/main" id="{ED9729D6-3F4D-4AA3-AD76-16961EB69351}"/>
              </a:ext>
            </a:extLst>
          </p:cNvPr>
          <p:cNvSpPr>
            <a:spLocks noChangeArrowheads="1"/>
          </p:cNvSpPr>
          <p:nvPr/>
        </p:nvSpPr>
        <p:spPr bwMode="auto">
          <a:xfrm>
            <a:off x="5971739" y="4206584"/>
            <a:ext cx="810515" cy="810515"/>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endParaRPr lang="en-US" sz="6530">
              <a:latin typeface="Lato Light" panose="020F0502020204030203" pitchFamily="34" charset="0"/>
            </a:endParaRPr>
          </a:p>
        </p:txBody>
      </p:sp>
      <p:sp>
        <p:nvSpPr>
          <p:cNvPr id="155" name="Freeform 8">
            <a:extLst>
              <a:ext uri="{FF2B5EF4-FFF2-40B4-BE49-F238E27FC236}">
                <a16:creationId xmlns:a16="http://schemas.microsoft.com/office/drawing/2014/main" id="{7396256B-19F6-4EA8-8CA1-02D3B419DC51}"/>
              </a:ext>
            </a:extLst>
          </p:cNvPr>
          <p:cNvSpPr>
            <a:spLocks noChangeArrowheads="1"/>
          </p:cNvSpPr>
          <p:nvPr/>
        </p:nvSpPr>
        <p:spPr bwMode="auto">
          <a:xfrm>
            <a:off x="9246659" y="3383008"/>
            <a:ext cx="119237" cy="1474448"/>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6" name="Freeform 9">
            <a:extLst>
              <a:ext uri="{FF2B5EF4-FFF2-40B4-BE49-F238E27FC236}">
                <a16:creationId xmlns:a16="http://schemas.microsoft.com/office/drawing/2014/main" id="{EE4F8388-3002-45DA-8861-C2813FD017C3}"/>
              </a:ext>
            </a:extLst>
          </p:cNvPr>
          <p:cNvSpPr>
            <a:spLocks noChangeArrowheads="1"/>
          </p:cNvSpPr>
          <p:nvPr/>
        </p:nvSpPr>
        <p:spPr bwMode="auto">
          <a:xfrm>
            <a:off x="8907970" y="3037655"/>
            <a:ext cx="810515" cy="810515"/>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endParaRPr lang="en-US" sz="6530">
              <a:latin typeface="Lato Light" panose="020F0502020204030203" pitchFamily="34" charset="0"/>
            </a:endParaRPr>
          </a:p>
        </p:txBody>
      </p:sp>
      <p:sp>
        <p:nvSpPr>
          <p:cNvPr id="157" name="Oval 29">
            <a:extLst>
              <a:ext uri="{FF2B5EF4-FFF2-40B4-BE49-F238E27FC236}">
                <a16:creationId xmlns:a16="http://schemas.microsoft.com/office/drawing/2014/main" id="{868151EE-71B1-468D-B68F-7669E31CA6AF}"/>
              </a:ext>
            </a:extLst>
          </p:cNvPr>
          <p:cNvSpPr/>
          <p:nvPr/>
        </p:nvSpPr>
        <p:spPr>
          <a:xfrm>
            <a:off x="567743" y="2872863"/>
            <a:ext cx="273539" cy="2735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8" name="Oval 30">
            <a:extLst>
              <a:ext uri="{FF2B5EF4-FFF2-40B4-BE49-F238E27FC236}">
                <a16:creationId xmlns:a16="http://schemas.microsoft.com/office/drawing/2014/main" id="{FCA99C72-DCB9-45AA-8642-2CB501AD9C34}"/>
              </a:ext>
            </a:extLst>
          </p:cNvPr>
          <p:cNvSpPr/>
          <p:nvPr/>
        </p:nvSpPr>
        <p:spPr>
          <a:xfrm>
            <a:off x="6782254" y="466336"/>
            <a:ext cx="273539" cy="27353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59" name="Oval 31">
            <a:extLst>
              <a:ext uri="{FF2B5EF4-FFF2-40B4-BE49-F238E27FC236}">
                <a16:creationId xmlns:a16="http://schemas.microsoft.com/office/drawing/2014/main" id="{54637A26-462E-47DD-AD0F-26AB81FDD123}"/>
              </a:ext>
            </a:extLst>
          </p:cNvPr>
          <p:cNvSpPr/>
          <p:nvPr/>
        </p:nvSpPr>
        <p:spPr>
          <a:xfrm>
            <a:off x="563760" y="3701256"/>
            <a:ext cx="273539" cy="27353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160" name="Oval 32">
            <a:extLst>
              <a:ext uri="{FF2B5EF4-FFF2-40B4-BE49-F238E27FC236}">
                <a16:creationId xmlns:a16="http://schemas.microsoft.com/office/drawing/2014/main" id="{7BE641E0-D63C-4DE5-923D-5FBAA92F76B8}"/>
              </a:ext>
            </a:extLst>
          </p:cNvPr>
          <p:cNvSpPr/>
          <p:nvPr/>
        </p:nvSpPr>
        <p:spPr>
          <a:xfrm>
            <a:off x="550473" y="4529649"/>
            <a:ext cx="273539" cy="27353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Lato Light" panose="020F0502020204030203" pitchFamily="34" charset="0"/>
            </a:endParaRPr>
          </a:p>
        </p:txBody>
      </p:sp>
      <p:sp>
        <p:nvSpPr>
          <p:cNvPr id="37" name="Tekstfelt 36">
            <a:extLst>
              <a:ext uri="{FF2B5EF4-FFF2-40B4-BE49-F238E27FC236}">
                <a16:creationId xmlns:a16="http://schemas.microsoft.com/office/drawing/2014/main" id="{D2382352-4F0F-43ED-9880-DB1911D0ED44}"/>
              </a:ext>
            </a:extLst>
          </p:cNvPr>
          <p:cNvSpPr txBox="1"/>
          <p:nvPr/>
        </p:nvSpPr>
        <p:spPr>
          <a:xfrm>
            <a:off x="457191" y="520257"/>
            <a:ext cx="5573642"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Exercise D – Implementation</a:t>
            </a:r>
            <a:endParaRPr lang="da-DK" sz="3200" b="1">
              <a:solidFill>
                <a:srgbClr val="14143C"/>
              </a:solidFill>
              <a:latin typeface="Academy Sans" panose="020B0503030000000000" pitchFamily="34" charset="0"/>
            </a:endParaRPr>
          </a:p>
        </p:txBody>
      </p:sp>
      <p:sp>
        <p:nvSpPr>
          <p:cNvPr id="39" name="Tekstfelt 38">
            <a:extLst>
              <a:ext uri="{FF2B5EF4-FFF2-40B4-BE49-F238E27FC236}">
                <a16:creationId xmlns:a16="http://schemas.microsoft.com/office/drawing/2014/main" id="{3F42CD1E-1F90-439A-93E6-AD57BD8044BC}"/>
              </a:ext>
            </a:extLst>
          </p:cNvPr>
          <p:cNvSpPr txBox="1"/>
          <p:nvPr/>
        </p:nvSpPr>
        <p:spPr>
          <a:xfrm>
            <a:off x="2111820" y="969729"/>
            <a:ext cx="3013646" cy="320985"/>
          </a:xfrm>
          <a:prstGeom prst="rect">
            <a:avLst/>
          </a:prstGeom>
          <a:noFill/>
        </p:spPr>
        <p:txBody>
          <a:bodyPr wrap="none" lIns="0" tIns="0" rIns="0" bIns="0" rtlCol="0">
            <a:spAutoFit/>
          </a:bodyPr>
          <a:lstStyle/>
          <a:p>
            <a:pPr>
              <a:lnSpc>
                <a:spcPct val="111000"/>
              </a:lnSpc>
            </a:pPr>
            <a:r>
              <a:rPr lang="en-GB" sz="2000" b="1">
                <a:solidFill>
                  <a:srgbClr val="14143C"/>
                </a:solidFill>
                <a:latin typeface="Academy Sans Office" panose="020B0503030000000000" pitchFamily="34" charset="0"/>
              </a:rPr>
              <a:t>- Reflection &amp; discussion</a:t>
            </a:r>
            <a:endParaRPr lang="da-DK" sz="2000" b="1">
              <a:solidFill>
                <a:srgbClr val="14143C"/>
              </a:solidFill>
              <a:latin typeface="Academy Sans" panose="020B0503030000000000" pitchFamily="34" charset="0"/>
            </a:endParaRPr>
          </a:p>
        </p:txBody>
      </p:sp>
      <p:sp>
        <p:nvSpPr>
          <p:cNvPr id="4" name="Tekstfelt 3">
            <a:extLst>
              <a:ext uri="{FF2B5EF4-FFF2-40B4-BE49-F238E27FC236}">
                <a16:creationId xmlns:a16="http://schemas.microsoft.com/office/drawing/2014/main" id="{EA53B0FB-7AB9-4BCF-BC91-531DE87D1FB0}"/>
              </a:ext>
            </a:extLst>
          </p:cNvPr>
          <p:cNvSpPr txBox="1"/>
          <p:nvPr/>
        </p:nvSpPr>
        <p:spPr>
          <a:xfrm>
            <a:off x="1320808" y="2863863"/>
            <a:ext cx="4239176" cy="276679"/>
          </a:xfrm>
          <a:prstGeom prst="rect">
            <a:avLst/>
          </a:prstGeom>
          <a:noFill/>
        </p:spPr>
        <p:txBody>
          <a:bodyPr wrap="square" lIns="0" tIns="0" rIns="0" bIns="0" rtlCol="0">
            <a:spAutoFit/>
          </a:bodyPr>
          <a:lstStyle/>
          <a:p>
            <a:pPr>
              <a:lnSpc>
                <a:spcPct val="110000"/>
              </a:lnSpc>
            </a:pPr>
            <a:r>
              <a:rPr lang="en-US" sz="1600" spc="-10">
                <a:cs typeface="Poppins" pitchFamily="2" charset="77"/>
              </a:rPr>
              <a:t>What the leadership structure look like</a:t>
            </a:r>
            <a:r>
              <a:rPr lang="en-US" spc="-10">
                <a:cs typeface="Poppins" pitchFamily="2" charset="77"/>
              </a:rPr>
              <a:t>? </a:t>
            </a:r>
            <a:endParaRPr lang="da-DK">
              <a:solidFill>
                <a:schemeClr val="accent1"/>
              </a:solidFill>
            </a:endParaRPr>
          </a:p>
        </p:txBody>
      </p:sp>
      <p:sp>
        <p:nvSpPr>
          <p:cNvPr id="33" name="Tekstfelt 32">
            <a:extLst>
              <a:ext uri="{FF2B5EF4-FFF2-40B4-BE49-F238E27FC236}">
                <a16:creationId xmlns:a16="http://schemas.microsoft.com/office/drawing/2014/main" id="{DFD22EF9-068E-4339-98DD-FE85D77438BC}"/>
              </a:ext>
            </a:extLst>
          </p:cNvPr>
          <p:cNvSpPr txBox="1"/>
          <p:nvPr/>
        </p:nvSpPr>
        <p:spPr>
          <a:xfrm>
            <a:off x="1200544" y="4460039"/>
            <a:ext cx="4852364" cy="553998"/>
          </a:xfrm>
          <a:prstGeom prst="rect">
            <a:avLst/>
          </a:prstGeom>
          <a:noFill/>
        </p:spPr>
        <p:txBody>
          <a:bodyPr wrap="square">
            <a:spAutoFit/>
          </a:bodyPr>
          <a:lstStyle/>
          <a:p>
            <a:pPr>
              <a:lnSpc>
                <a:spcPts val="1800"/>
              </a:lnSpc>
            </a:pPr>
            <a:r>
              <a:rPr lang="en-US" sz="1600" spc="-10">
                <a:cs typeface="Poppins" pitchFamily="2" charset="77"/>
              </a:rPr>
              <a:t>How much of a cultural change would you be willing to embrace?</a:t>
            </a:r>
          </a:p>
        </p:txBody>
      </p:sp>
      <p:sp>
        <p:nvSpPr>
          <p:cNvPr id="40" name="Tekstfelt 39">
            <a:extLst>
              <a:ext uri="{FF2B5EF4-FFF2-40B4-BE49-F238E27FC236}">
                <a16:creationId xmlns:a16="http://schemas.microsoft.com/office/drawing/2014/main" id="{13216C8D-BB0A-4BAC-9F11-D0957208A9A7}"/>
              </a:ext>
            </a:extLst>
          </p:cNvPr>
          <p:cNvSpPr txBox="1"/>
          <p:nvPr/>
        </p:nvSpPr>
        <p:spPr>
          <a:xfrm>
            <a:off x="1198843" y="3739358"/>
            <a:ext cx="4317950" cy="323165"/>
          </a:xfrm>
          <a:prstGeom prst="rect">
            <a:avLst/>
          </a:prstGeom>
          <a:noFill/>
        </p:spPr>
        <p:txBody>
          <a:bodyPr wrap="square">
            <a:spAutoFit/>
          </a:bodyPr>
          <a:lstStyle/>
          <a:p>
            <a:pPr>
              <a:lnSpc>
                <a:spcPts val="1800"/>
              </a:lnSpc>
            </a:pPr>
            <a:r>
              <a:rPr lang="en-US" sz="1600" spc="-10">
                <a:cs typeface="Poppins" pitchFamily="2" charset="77"/>
              </a:rPr>
              <a:t>How would you measure progress? </a:t>
            </a:r>
          </a:p>
        </p:txBody>
      </p:sp>
      <p:sp>
        <p:nvSpPr>
          <p:cNvPr id="12" name="Tekstfelt 11">
            <a:extLst>
              <a:ext uri="{FF2B5EF4-FFF2-40B4-BE49-F238E27FC236}">
                <a16:creationId xmlns:a16="http://schemas.microsoft.com/office/drawing/2014/main" id="{39AC3A8E-2D0D-42FB-AF6F-461FEC55E6FD}"/>
              </a:ext>
            </a:extLst>
          </p:cNvPr>
          <p:cNvSpPr txBox="1"/>
          <p:nvPr/>
        </p:nvSpPr>
        <p:spPr>
          <a:xfrm flipH="1">
            <a:off x="538614" y="1779932"/>
            <a:ext cx="6427894" cy="581378"/>
          </a:xfrm>
          <a:prstGeom prst="rect">
            <a:avLst/>
          </a:prstGeom>
          <a:noFill/>
        </p:spPr>
        <p:txBody>
          <a:bodyPr wrap="square" lIns="0" tIns="0" rIns="0" bIns="0" rtlCol="0">
            <a:spAutoFit/>
          </a:bodyPr>
          <a:lstStyle/>
          <a:p>
            <a:pPr algn="l">
              <a:lnSpc>
                <a:spcPct val="110000"/>
              </a:lnSpc>
            </a:pPr>
            <a:r>
              <a:rPr lang="da-DK">
                <a:solidFill>
                  <a:schemeClr val="accent1"/>
                </a:solidFill>
              </a:rPr>
              <a:t>If </a:t>
            </a:r>
            <a:r>
              <a:rPr lang="da-DK" err="1">
                <a:solidFill>
                  <a:schemeClr val="accent1"/>
                </a:solidFill>
              </a:rPr>
              <a:t>your</a:t>
            </a:r>
            <a:r>
              <a:rPr lang="da-DK">
                <a:solidFill>
                  <a:schemeClr val="accent1"/>
                </a:solidFill>
              </a:rPr>
              <a:t> </a:t>
            </a:r>
            <a:r>
              <a:rPr lang="da-DK" err="1">
                <a:solidFill>
                  <a:schemeClr val="accent1"/>
                </a:solidFill>
              </a:rPr>
              <a:t>organization</a:t>
            </a:r>
            <a:r>
              <a:rPr lang="da-DK">
                <a:solidFill>
                  <a:schemeClr val="accent1"/>
                </a:solidFill>
              </a:rPr>
              <a:t> </a:t>
            </a:r>
            <a:r>
              <a:rPr lang="da-DK" err="1">
                <a:solidFill>
                  <a:schemeClr val="accent1"/>
                </a:solidFill>
              </a:rPr>
              <a:t>where</a:t>
            </a:r>
            <a:r>
              <a:rPr lang="da-DK">
                <a:solidFill>
                  <a:schemeClr val="accent1"/>
                </a:solidFill>
              </a:rPr>
              <a:t> to </a:t>
            </a:r>
            <a:r>
              <a:rPr lang="da-DK" err="1">
                <a:solidFill>
                  <a:schemeClr val="accent1"/>
                </a:solidFill>
              </a:rPr>
              <a:t>adapt</a:t>
            </a:r>
            <a:r>
              <a:rPr lang="da-DK">
                <a:solidFill>
                  <a:schemeClr val="accent1"/>
                </a:solidFill>
              </a:rPr>
              <a:t> the agile development model….</a:t>
            </a:r>
          </a:p>
        </p:txBody>
      </p:sp>
    </p:spTree>
    <p:extLst>
      <p:ext uri="{BB962C8B-B14F-4D97-AF65-F5344CB8AC3E}">
        <p14:creationId xmlns:p14="http://schemas.microsoft.com/office/powerpoint/2010/main" val="3875425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3BC9D8E-79E0-BA46-97AC-5680B9470275}"/>
              </a:ext>
            </a:extLst>
          </p:cNvPr>
          <p:cNvSpPr>
            <a:spLocks noGrp="1"/>
          </p:cNvSpPr>
          <p:nvPr>
            <p:ph type="pic" sz="quarter" idx="12"/>
          </p:nvPr>
        </p:nvSpPr>
        <p:spPr/>
      </p:sp>
      <p:sp>
        <p:nvSpPr>
          <p:cNvPr id="5" name="Donut 4">
            <a:extLst>
              <a:ext uri="{FF2B5EF4-FFF2-40B4-BE49-F238E27FC236}">
                <a16:creationId xmlns:a16="http://schemas.microsoft.com/office/drawing/2014/main" id="{56F39739-2404-864D-B99F-D7B868A8F1FD}"/>
              </a:ext>
            </a:extLst>
          </p:cNvPr>
          <p:cNvSpPr/>
          <p:nvPr/>
        </p:nvSpPr>
        <p:spPr>
          <a:xfrm>
            <a:off x="-925540" y="788301"/>
            <a:ext cx="3773875" cy="3773875"/>
          </a:xfrm>
          <a:prstGeom prst="donut">
            <a:avLst>
              <a:gd name="adj" fmla="val 2684"/>
            </a:avLst>
          </a:prstGeom>
          <a:gradFill>
            <a:gsLst>
              <a:gs pos="0">
                <a:schemeClr val="accent1"/>
              </a:gs>
              <a:gs pos="50000">
                <a:schemeClr val="accent2"/>
              </a:gs>
              <a:gs pos="9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algn="ctr"/>
            <a:endParaRPr lang="en-US" sz="900">
              <a:solidFill>
                <a:schemeClr val="tx1"/>
              </a:solidFill>
              <a:latin typeface="Nunito Sans ExtraLight" pitchFamily="2" charset="77"/>
            </a:endParaRPr>
          </a:p>
        </p:txBody>
      </p:sp>
      <p:sp>
        <p:nvSpPr>
          <p:cNvPr id="15" name="Freeform 1">
            <a:extLst>
              <a:ext uri="{FF2B5EF4-FFF2-40B4-BE49-F238E27FC236}">
                <a16:creationId xmlns:a16="http://schemas.microsoft.com/office/drawing/2014/main" id="{9C7B6F84-6E23-C245-BAE2-AE7D87E358E1}"/>
              </a:ext>
            </a:extLst>
          </p:cNvPr>
          <p:cNvSpPr>
            <a:spLocks noChangeArrowheads="1"/>
          </p:cNvSpPr>
          <p:nvPr/>
        </p:nvSpPr>
        <p:spPr bwMode="auto">
          <a:xfrm rot="13500000">
            <a:off x="8221236" y="2298264"/>
            <a:ext cx="2553637" cy="6324200"/>
          </a:xfrm>
          <a:custGeom>
            <a:avLst/>
            <a:gdLst>
              <a:gd name="T0" fmla="*/ 0 w 4138"/>
              <a:gd name="T1" fmla="*/ 10223 h 10245"/>
              <a:gd name="T2" fmla="*/ 0 w 4138"/>
              <a:gd name="T3" fmla="*/ 10223 h 10245"/>
              <a:gd name="T4" fmla="*/ 1549 w 4138"/>
              <a:gd name="T5" fmla="*/ 8731 h 10245"/>
              <a:gd name="T6" fmla="*/ 1549 w 4138"/>
              <a:gd name="T7" fmla="*/ 8731 h 10245"/>
              <a:gd name="T8" fmla="*/ 2011 w 4138"/>
              <a:gd name="T9" fmla="*/ 6622 h 10245"/>
              <a:gd name="T10" fmla="*/ 2011 w 4138"/>
              <a:gd name="T11" fmla="*/ 6622 h 10245"/>
              <a:gd name="T12" fmla="*/ 2941 w 4138"/>
              <a:gd name="T13" fmla="*/ 3654 h 10245"/>
              <a:gd name="T14" fmla="*/ 2941 w 4138"/>
              <a:gd name="T15" fmla="*/ 3654 h 10245"/>
              <a:gd name="T16" fmla="*/ 2247 w 4138"/>
              <a:gd name="T17" fmla="*/ 159 h 10245"/>
              <a:gd name="T18" fmla="*/ 2247 w 4138"/>
              <a:gd name="T19" fmla="*/ 159 h 10245"/>
              <a:gd name="T20" fmla="*/ 2107 w 4138"/>
              <a:gd name="T21" fmla="*/ 2 h 10245"/>
              <a:gd name="T22" fmla="*/ 2133 w 4138"/>
              <a:gd name="T23" fmla="*/ 0 h 10245"/>
              <a:gd name="T24" fmla="*/ 2120 w 4138"/>
              <a:gd name="T25" fmla="*/ 0 h 10245"/>
              <a:gd name="T26" fmla="*/ 2133 w 4138"/>
              <a:gd name="T27" fmla="*/ 0 h 10245"/>
              <a:gd name="T28" fmla="*/ 2133 w 4138"/>
              <a:gd name="T29" fmla="*/ 0 h 10245"/>
              <a:gd name="T30" fmla="*/ 2266 w 4138"/>
              <a:gd name="T31" fmla="*/ 140 h 10245"/>
              <a:gd name="T32" fmla="*/ 2266 w 4138"/>
              <a:gd name="T33" fmla="*/ 140 h 10245"/>
              <a:gd name="T34" fmla="*/ 2962 w 4138"/>
              <a:gd name="T35" fmla="*/ 3669 h 10245"/>
              <a:gd name="T36" fmla="*/ 2962 w 4138"/>
              <a:gd name="T37" fmla="*/ 3669 h 10245"/>
              <a:gd name="T38" fmla="*/ 2036 w 4138"/>
              <a:gd name="T39" fmla="*/ 6625 h 10245"/>
              <a:gd name="T40" fmla="*/ 2036 w 4138"/>
              <a:gd name="T41" fmla="*/ 6625 h 10245"/>
              <a:gd name="T42" fmla="*/ 1573 w 4138"/>
              <a:gd name="T43" fmla="*/ 8743 h 10245"/>
              <a:gd name="T44" fmla="*/ 1573 w 4138"/>
              <a:gd name="T45" fmla="*/ 8743 h 10245"/>
              <a:gd name="T46" fmla="*/ 13 w 4138"/>
              <a:gd name="T47" fmla="*/ 10244 h 10245"/>
              <a:gd name="T48" fmla="*/ 0 w 4138"/>
              <a:gd name="T49" fmla="*/ 10223 h 10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38" h="10245">
                <a:moveTo>
                  <a:pt x="0" y="10223"/>
                </a:moveTo>
                <a:lnTo>
                  <a:pt x="0" y="10223"/>
                </a:lnTo>
                <a:cubicBezTo>
                  <a:pt x="13" y="10217"/>
                  <a:pt x="1109" y="9592"/>
                  <a:pt x="1549" y="8731"/>
                </a:cubicBezTo>
                <a:lnTo>
                  <a:pt x="1549" y="8731"/>
                </a:lnTo>
                <a:cubicBezTo>
                  <a:pt x="1966" y="7914"/>
                  <a:pt x="1988" y="7287"/>
                  <a:pt x="2011" y="6622"/>
                </a:cubicBezTo>
                <a:lnTo>
                  <a:pt x="2011" y="6622"/>
                </a:lnTo>
                <a:cubicBezTo>
                  <a:pt x="2038" y="5791"/>
                  <a:pt x="2067" y="4928"/>
                  <a:pt x="2941" y="3654"/>
                </a:cubicBezTo>
                <a:lnTo>
                  <a:pt x="2941" y="3654"/>
                </a:lnTo>
                <a:cubicBezTo>
                  <a:pt x="4103" y="1962"/>
                  <a:pt x="2706" y="606"/>
                  <a:pt x="2247" y="159"/>
                </a:cubicBezTo>
                <a:lnTo>
                  <a:pt x="2247" y="159"/>
                </a:lnTo>
                <a:cubicBezTo>
                  <a:pt x="2145" y="60"/>
                  <a:pt x="2109" y="24"/>
                  <a:pt x="2107" y="2"/>
                </a:cubicBezTo>
                <a:lnTo>
                  <a:pt x="2133" y="0"/>
                </a:lnTo>
                <a:lnTo>
                  <a:pt x="2120" y="0"/>
                </a:lnTo>
                <a:lnTo>
                  <a:pt x="2133" y="0"/>
                </a:lnTo>
                <a:lnTo>
                  <a:pt x="2133" y="0"/>
                </a:lnTo>
                <a:cubicBezTo>
                  <a:pt x="2135" y="15"/>
                  <a:pt x="2198" y="77"/>
                  <a:pt x="2266" y="140"/>
                </a:cubicBezTo>
                <a:lnTo>
                  <a:pt x="2266" y="140"/>
                </a:lnTo>
                <a:cubicBezTo>
                  <a:pt x="2730" y="591"/>
                  <a:pt x="4137" y="1958"/>
                  <a:pt x="2962" y="3669"/>
                </a:cubicBezTo>
                <a:lnTo>
                  <a:pt x="2962" y="3669"/>
                </a:lnTo>
                <a:cubicBezTo>
                  <a:pt x="2092" y="4936"/>
                  <a:pt x="2063" y="5795"/>
                  <a:pt x="2036" y="6625"/>
                </a:cubicBezTo>
                <a:lnTo>
                  <a:pt x="2036" y="6625"/>
                </a:lnTo>
                <a:cubicBezTo>
                  <a:pt x="2013" y="7291"/>
                  <a:pt x="1992" y="7920"/>
                  <a:pt x="1573" y="8743"/>
                </a:cubicBezTo>
                <a:lnTo>
                  <a:pt x="1573" y="8743"/>
                </a:lnTo>
                <a:cubicBezTo>
                  <a:pt x="1128" y="9611"/>
                  <a:pt x="26" y="10238"/>
                  <a:pt x="13" y="10244"/>
                </a:cubicBezTo>
                <a:lnTo>
                  <a:pt x="0" y="10223"/>
                </a:lnTo>
              </a:path>
            </a:pathLst>
          </a:custGeom>
          <a:gradFill>
            <a:gsLst>
              <a:gs pos="0">
                <a:schemeClr val="accent1"/>
              </a:gs>
              <a:gs pos="50000">
                <a:schemeClr val="accent2"/>
              </a:gs>
              <a:gs pos="99000">
                <a:schemeClr val="accent3"/>
              </a:gs>
            </a:gsLst>
            <a:lin ang="5400000" scaled="0"/>
          </a:gradFill>
          <a:ln>
            <a:noFill/>
          </a:ln>
          <a:effectLst/>
        </p:spPr>
        <p:txBody>
          <a:bodyPr wrap="none" anchor="ctr"/>
          <a:lstStyle/>
          <a:p>
            <a:endParaRPr lang="en-US" sz="3266">
              <a:latin typeface="Nunito Sans ExtraLight" pitchFamily="2" charset="77"/>
            </a:endParaRPr>
          </a:p>
        </p:txBody>
      </p:sp>
      <p:sp>
        <p:nvSpPr>
          <p:cNvPr id="16" name="Donut 15">
            <a:extLst>
              <a:ext uri="{FF2B5EF4-FFF2-40B4-BE49-F238E27FC236}">
                <a16:creationId xmlns:a16="http://schemas.microsoft.com/office/drawing/2014/main" id="{3557353A-C55C-5347-9743-875AE14511BC}"/>
              </a:ext>
            </a:extLst>
          </p:cNvPr>
          <p:cNvSpPr/>
          <p:nvPr/>
        </p:nvSpPr>
        <p:spPr>
          <a:xfrm>
            <a:off x="10460256" y="-422788"/>
            <a:ext cx="1607575" cy="1607575"/>
          </a:xfrm>
          <a:prstGeom prst="donut">
            <a:avLst>
              <a:gd name="adj" fmla="val 6613"/>
            </a:avLst>
          </a:prstGeom>
          <a:gradFill>
            <a:gsLst>
              <a:gs pos="0">
                <a:schemeClr val="accent1"/>
              </a:gs>
              <a:gs pos="50000">
                <a:schemeClr val="accent2"/>
              </a:gs>
              <a:gs pos="9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Nunito Sans ExtraLight" pitchFamily="2" charset="77"/>
            </a:endParaRPr>
          </a:p>
        </p:txBody>
      </p:sp>
      <p:sp>
        <p:nvSpPr>
          <p:cNvPr id="8" name="TextBox 7">
            <a:extLst>
              <a:ext uri="{FF2B5EF4-FFF2-40B4-BE49-F238E27FC236}">
                <a16:creationId xmlns:a16="http://schemas.microsoft.com/office/drawing/2014/main" id="{D6D6B8F5-3767-5046-8E50-BF5643A4F903}"/>
              </a:ext>
            </a:extLst>
          </p:cNvPr>
          <p:cNvSpPr txBox="1"/>
          <p:nvPr/>
        </p:nvSpPr>
        <p:spPr>
          <a:xfrm>
            <a:off x="5263008" y="1163166"/>
            <a:ext cx="6223178" cy="2400657"/>
          </a:xfrm>
          <a:prstGeom prst="rect">
            <a:avLst/>
          </a:prstGeom>
          <a:noFill/>
        </p:spPr>
        <p:txBody>
          <a:bodyPr wrap="none" rtlCol="0" anchor="ctr">
            <a:spAutoFit/>
          </a:bodyPr>
          <a:lstStyle/>
          <a:p>
            <a:pPr algn="ctr"/>
            <a:r>
              <a:rPr lang="en-US" sz="7500" b="1">
                <a:solidFill>
                  <a:schemeClr val="accent1"/>
                </a:solidFill>
                <a:latin typeface="Nunito Sans" pitchFamily="2" charset="77"/>
                <a:ea typeface="Source Sans Pro" panose="020B0503030403020204" pitchFamily="34" charset="0"/>
                <a:cs typeface="Mukta" panose="020B0000000000000000" pitchFamily="34" charset="77"/>
              </a:rPr>
              <a:t>ANY</a:t>
            </a:r>
          </a:p>
          <a:p>
            <a:pPr algn="ctr"/>
            <a:r>
              <a:rPr lang="en-US" sz="7500" b="1">
                <a:solidFill>
                  <a:schemeClr val="accent1"/>
                </a:solidFill>
                <a:latin typeface="Nunito Sans" pitchFamily="2" charset="77"/>
                <a:ea typeface="Source Sans Pro" panose="020B0503030403020204" pitchFamily="34" charset="0"/>
                <a:cs typeface="Mukta" panose="020B0000000000000000" pitchFamily="34" charset="77"/>
              </a:rPr>
              <a:t>QUESTIONS?</a:t>
            </a:r>
          </a:p>
        </p:txBody>
      </p:sp>
    </p:spTree>
    <p:extLst>
      <p:ext uri="{BB962C8B-B14F-4D97-AF65-F5344CB8AC3E}">
        <p14:creationId xmlns:p14="http://schemas.microsoft.com/office/powerpoint/2010/main" val="274607663"/>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ktangel 11">
            <a:extLst>
              <a:ext uri="{FF2B5EF4-FFF2-40B4-BE49-F238E27FC236}">
                <a16:creationId xmlns:a16="http://schemas.microsoft.com/office/drawing/2014/main" id="{81D8AA7F-DED3-C74A-8F9E-CACEEA4B8CB1}"/>
              </a:ext>
            </a:extLst>
          </p:cNvPr>
          <p:cNvSpPr/>
          <p:nvPr/>
        </p:nvSpPr>
        <p:spPr>
          <a:xfrm>
            <a:off x="-22058" y="-142252"/>
            <a:ext cx="12205134" cy="6910273"/>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4" name="Billede 3">
            <a:extLst>
              <a:ext uri="{FF2B5EF4-FFF2-40B4-BE49-F238E27FC236}">
                <a16:creationId xmlns:a16="http://schemas.microsoft.com/office/drawing/2014/main" id="{545598D2-223E-8944-8C0B-A85AFEC8FDA1}"/>
              </a:ext>
            </a:extLst>
          </p:cNvPr>
          <p:cNvPicPr>
            <a:picLocks noChangeAspect="1"/>
          </p:cNvPicPr>
          <p:nvPr/>
        </p:nvPicPr>
        <p:blipFill>
          <a:blip r:embed="rId2"/>
          <a:stretch>
            <a:fillRect/>
          </a:stretch>
        </p:blipFill>
        <p:spPr>
          <a:xfrm>
            <a:off x="7380294" y="-78882"/>
            <a:ext cx="6537128" cy="4473640"/>
          </a:xfrm>
          <a:prstGeom prst="rect">
            <a:avLst/>
          </a:prstGeom>
        </p:spPr>
      </p:pic>
      <p:sp>
        <p:nvSpPr>
          <p:cNvPr id="19" name="Rektangel 18">
            <a:extLst>
              <a:ext uri="{FF2B5EF4-FFF2-40B4-BE49-F238E27FC236}">
                <a16:creationId xmlns:a16="http://schemas.microsoft.com/office/drawing/2014/main" id="{C470DA19-552C-0A4D-824A-B50FE38AE0CF}"/>
              </a:ext>
            </a:extLst>
          </p:cNvPr>
          <p:cNvSpPr/>
          <p:nvPr/>
        </p:nvSpPr>
        <p:spPr>
          <a:xfrm>
            <a:off x="787980" y="1481878"/>
            <a:ext cx="7586763" cy="4156921"/>
          </a:xfrm>
          <a:prstGeom prst="rect">
            <a:avLst/>
          </a:prstGeom>
          <a:solidFill>
            <a:srgbClr val="1C69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2" name="Pladsholder til dato 1">
            <a:extLst>
              <a:ext uri="{FF2B5EF4-FFF2-40B4-BE49-F238E27FC236}">
                <a16:creationId xmlns:a16="http://schemas.microsoft.com/office/drawing/2014/main" id="{FD8665E8-55F6-B24E-AF08-15B11B2643D7}"/>
              </a:ext>
            </a:extLst>
          </p:cNvPr>
          <p:cNvSpPr>
            <a:spLocks noGrp="1"/>
          </p:cNvSpPr>
          <p:nvPr>
            <p:ph type="dt" sz="half" idx="10"/>
          </p:nvPr>
        </p:nvSpPr>
        <p:spPr/>
        <p:txBody>
          <a:bodyPr/>
          <a:lstStyle/>
          <a:p>
            <a:fld id="{0EB8853E-D6FB-4173-9125-4D0D0EFC7EDD}" type="datetime2">
              <a:rPr lang="da-DK" smtClean="0"/>
              <a:t>18. januar 2022</a:t>
            </a:fld>
            <a:endParaRPr lang="da-DK"/>
          </a:p>
        </p:txBody>
      </p:sp>
      <p:sp>
        <p:nvSpPr>
          <p:cNvPr id="16" name="Tekstfelt 15">
            <a:extLst>
              <a:ext uri="{FF2B5EF4-FFF2-40B4-BE49-F238E27FC236}">
                <a16:creationId xmlns:a16="http://schemas.microsoft.com/office/drawing/2014/main" id="{3E69FFF1-5E56-F048-83B0-9614EDC99872}"/>
              </a:ext>
            </a:extLst>
          </p:cNvPr>
          <p:cNvSpPr txBox="1"/>
          <p:nvPr/>
        </p:nvSpPr>
        <p:spPr>
          <a:xfrm>
            <a:off x="1055467" y="1836986"/>
            <a:ext cx="7319276" cy="3709065"/>
          </a:xfrm>
          <a:prstGeom prst="rect">
            <a:avLst/>
          </a:prstGeom>
          <a:noFill/>
        </p:spPr>
        <p:txBody>
          <a:bodyPr wrap="square" lIns="108000" tIns="108000" rIns="108000" bIns="108000" rtlCol="0" anchor="t">
            <a:spAutoFit/>
          </a:bodyPr>
          <a:lstStyle/>
          <a:p>
            <a:pPr marL="285750" indent="-285750">
              <a:lnSpc>
                <a:spcPct val="200000"/>
              </a:lnSpc>
              <a:buFont typeface="Wingdings" panose="05000000000000000000" pitchFamily="2" charset="2"/>
              <a:buChar char="q"/>
            </a:pPr>
            <a:r>
              <a:rPr lang="en-US" sz="1600">
                <a:solidFill>
                  <a:schemeClr val="bg1"/>
                </a:solidFill>
              </a:rPr>
              <a:t>   </a:t>
            </a:r>
            <a:r>
              <a:rPr lang="en-US" sz="2000">
                <a:solidFill>
                  <a:schemeClr val="bg1"/>
                </a:solidFill>
              </a:rPr>
              <a:t>Introduction</a:t>
            </a:r>
          </a:p>
          <a:p>
            <a:pPr marL="342900" indent="-342900">
              <a:lnSpc>
                <a:spcPct val="200000"/>
              </a:lnSpc>
              <a:buFont typeface="Wingdings" panose="05000000000000000000" pitchFamily="2" charset="2"/>
              <a:buChar char="q"/>
            </a:pPr>
            <a:r>
              <a:rPr lang="en-US" sz="2000">
                <a:solidFill>
                  <a:schemeClr val="bg1"/>
                </a:solidFill>
              </a:rPr>
              <a:t>   The Agile Manifesto</a:t>
            </a:r>
          </a:p>
          <a:p>
            <a:pPr marL="342900" indent="-342900">
              <a:lnSpc>
                <a:spcPct val="200000"/>
              </a:lnSpc>
              <a:buFont typeface="Wingdings" panose="05000000000000000000" pitchFamily="2" charset="2"/>
              <a:buChar char="q"/>
            </a:pPr>
            <a:r>
              <a:rPr lang="en-US" sz="2000">
                <a:solidFill>
                  <a:schemeClr val="bg1"/>
                </a:solidFill>
              </a:rPr>
              <a:t>   12 Agile principles (incl. an Exercise)</a:t>
            </a:r>
          </a:p>
          <a:p>
            <a:pPr marL="342900" indent="-342900">
              <a:lnSpc>
                <a:spcPct val="200000"/>
              </a:lnSpc>
              <a:buFont typeface="Wingdings" panose="05000000000000000000" pitchFamily="2" charset="2"/>
              <a:buChar char="q"/>
            </a:pPr>
            <a:r>
              <a:rPr lang="en-US" sz="2000">
                <a:solidFill>
                  <a:schemeClr val="bg1"/>
                </a:solidFill>
              </a:rPr>
              <a:t>   Agile Team &amp; roles - Presented by Graphical facilitation</a:t>
            </a:r>
          </a:p>
          <a:p>
            <a:pPr marL="342900" indent="-342900">
              <a:lnSpc>
                <a:spcPct val="200000"/>
              </a:lnSpc>
              <a:buFont typeface="Wingdings" panose="05000000000000000000" pitchFamily="2" charset="2"/>
              <a:buChar char="q"/>
            </a:pPr>
            <a:r>
              <a:rPr lang="en-US" sz="2000">
                <a:solidFill>
                  <a:schemeClr val="bg1"/>
                </a:solidFill>
              </a:rPr>
              <a:t>   Implementing Agile</a:t>
            </a:r>
          </a:p>
          <a:p>
            <a:pPr marL="285750" indent="-285750">
              <a:lnSpc>
                <a:spcPts val="1620"/>
              </a:lnSpc>
              <a:buFont typeface="Arial" panose="020B0604020202020204" pitchFamily="34" charset="0"/>
              <a:buChar char="•"/>
            </a:pPr>
            <a:endParaRPr lang="da-DK" sz="1600">
              <a:solidFill>
                <a:schemeClr val="bg1"/>
              </a:solidFill>
              <a:latin typeface="Academy Sans" panose="020B0503030000000000" pitchFamily="34" charset="0"/>
            </a:endParaRPr>
          </a:p>
          <a:p>
            <a:pPr marL="285750" indent="-285750">
              <a:lnSpc>
                <a:spcPts val="1620"/>
              </a:lnSpc>
              <a:buFont typeface="Arial" panose="020B0604020202020204" pitchFamily="34" charset="0"/>
              <a:buChar char="•"/>
            </a:pPr>
            <a:endParaRPr lang="da-DK" sz="1600">
              <a:solidFill>
                <a:schemeClr val="bg1"/>
              </a:solidFill>
              <a:latin typeface="Academy Sans" panose="020B0503030000000000" pitchFamily="34" charset="0"/>
            </a:endParaRPr>
          </a:p>
        </p:txBody>
      </p:sp>
      <p:sp>
        <p:nvSpPr>
          <p:cNvPr id="21" name="Titel 1">
            <a:extLst>
              <a:ext uri="{FF2B5EF4-FFF2-40B4-BE49-F238E27FC236}">
                <a16:creationId xmlns:a16="http://schemas.microsoft.com/office/drawing/2014/main" id="{B61C4456-6255-F740-87B0-42E37A0135F2}"/>
              </a:ext>
            </a:extLst>
          </p:cNvPr>
          <p:cNvSpPr txBox="1">
            <a:spLocks/>
          </p:cNvSpPr>
          <p:nvPr/>
        </p:nvSpPr>
        <p:spPr>
          <a:xfrm>
            <a:off x="539751" y="591139"/>
            <a:ext cx="4240972" cy="571740"/>
          </a:xfrm>
          <a:prstGeom prst="rect">
            <a:avLst/>
          </a:prstGeom>
        </p:spPr>
        <p:txBody>
          <a:bodyPr/>
          <a:lstStyle>
            <a:lvl1pPr algn="l" defTabSz="914400" rtl="0" eaLnBrk="1" latinLnBrk="0" hangingPunct="1">
              <a:lnSpc>
                <a:spcPct val="89000"/>
              </a:lnSpc>
              <a:spcBef>
                <a:spcPct val="0"/>
              </a:spcBef>
              <a:buNone/>
              <a:defRPr sz="3000" b="1" kern="1200">
                <a:solidFill>
                  <a:schemeClr val="tx1"/>
                </a:solidFill>
                <a:latin typeface="+mj-lt"/>
                <a:ea typeface="+mj-ea"/>
                <a:cs typeface="+mj-cs"/>
              </a:defRPr>
            </a:lvl1pPr>
          </a:lstStyle>
          <a:p>
            <a:r>
              <a:rPr lang="da-DK">
                <a:solidFill>
                  <a:schemeClr val="bg1"/>
                </a:solidFill>
                <a:latin typeface="Academy Sans" panose="020B0503030000000000" pitchFamily="34" charset="0"/>
              </a:rPr>
              <a:t>Agenda</a:t>
            </a:r>
            <a:endParaRPr lang="da-DK">
              <a:latin typeface="Academy Sans" panose="020B0503030000000000" pitchFamily="34" charset="0"/>
            </a:endParaRPr>
          </a:p>
        </p:txBody>
      </p:sp>
      <p:sp>
        <p:nvSpPr>
          <p:cNvPr id="27" name="Rektangel 26">
            <a:extLst>
              <a:ext uri="{FF2B5EF4-FFF2-40B4-BE49-F238E27FC236}">
                <a16:creationId xmlns:a16="http://schemas.microsoft.com/office/drawing/2014/main" id="{484885E3-1D15-5A4D-8090-44DBA7AB84EB}"/>
              </a:ext>
            </a:extLst>
          </p:cNvPr>
          <p:cNvSpPr/>
          <p:nvPr/>
        </p:nvSpPr>
        <p:spPr>
          <a:xfrm>
            <a:off x="512934" y="6277045"/>
            <a:ext cx="275046" cy="275046"/>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latin typeface="Academy Sans" panose="020B0503030000000000" pitchFamily="34" charset="0"/>
            </a:endParaRPr>
          </a:p>
        </p:txBody>
      </p:sp>
      <p:sp>
        <p:nvSpPr>
          <p:cNvPr id="28" name="Pladsholder til slidenummer 7">
            <a:extLst>
              <a:ext uri="{FF2B5EF4-FFF2-40B4-BE49-F238E27FC236}">
                <a16:creationId xmlns:a16="http://schemas.microsoft.com/office/drawing/2014/main" id="{DE277EF2-7308-2245-968C-17C946EC305E}"/>
              </a:ext>
            </a:extLst>
          </p:cNvPr>
          <p:cNvSpPr txBox="1">
            <a:spLocks/>
          </p:cNvSpPr>
          <p:nvPr/>
        </p:nvSpPr>
        <p:spPr>
          <a:xfrm>
            <a:off x="10266367" y="6443610"/>
            <a:ext cx="1550988" cy="16573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a-DK" sz="1000">
                <a:solidFill>
                  <a:schemeClr val="bg1"/>
                </a:solidFill>
                <a:latin typeface="Academy Sans" panose="020B0503030000000000" pitchFamily="34" charset="0"/>
              </a:rPr>
              <a:t>Side </a:t>
            </a:r>
            <a:fld id="{24C8C45C-947F-4981-8B3F-4F32E973C901}" type="slidenum">
              <a:rPr lang="da-DK" sz="1000" smtClean="0">
                <a:solidFill>
                  <a:schemeClr val="bg1"/>
                </a:solidFill>
                <a:latin typeface="Academy Sans" panose="020B0503030000000000" pitchFamily="34" charset="0"/>
              </a:rPr>
              <a:pPr algn="r"/>
              <a:t>2</a:t>
            </a:fld>
            <a:endParaRPr lang="da-DK" sz="1000">
              <a:solidFill>
                <a:schemeClr val="bg1"/>
              </a:solidFill>
              <a:latin typeface="Academy Sans" panose="020B0503030000000000" pitchFamily="34" charset="0"/>
            </a:endParaRPr>
          </a:p>
        </p:txBody>
      </p:sp>
      <p:sp>
        <p:nvSpPr>
          <p:cNvPr id="29" name="Footer Placeholder 6">
            <a:extLst>
              <a:ext uri="{FF2B5EF4-FFF2-40B4-BE49-F238E27FC236}">
                <a16:creationId xmlns:a16="http://schemas.microsoft.com/office/drawing/2014/main" id="{5B1EAE70-BFB8-8D41-BBE5-D352FEEDA226}"/>
              </a:ext>
            </a:extLst>
          </p:cNvPr>
          <p:cNvSpPr txBox="1">
            <a:spLocks/>
          </p:cNvSpPr>
          <p:nvPr/>
        </p:nvSpPr>
        <p:spPr>
          <a:xfrm>
            <a:off x="942247" y="6357828"/>
            <a:ext cx="4779025" cy="16573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sz="1000">
              <a:solidFill>
                <a:schemeClr val="bg1"/>
              </a:solidFill>
              <a:latin typeface="Academy Sans" panose="020B0503030000000000" pitchFamily="34" charset="0"/>
            </a:endParaRPr>
          </a:p>
        </p:txBody>
      </p:sp>
    </p:spTree>
    <p:extLst>
      <p:ext uri="{BB962C8B-B14F-4D97-AF65-F5344CB8AC3E}">
        <p14:creationId xmlns:p14="http://schemas.microsoft.com/office/powerpoint/2010/main" val="36096478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D00B5F83-A5EF-E14F-AEF9-56B791CDFAB5}"/>
              </a:ext>
            </a:extLst>
          </p:cNvPr>
          <p:cNvSpPr txBox="1"/>
          <p:nvPr/>
        </p:nvSpPr>
        <p:spPr>
          <a:xfrm>
            <a:off x="4529715" y="383789"/>
            <a:ext cx="3132589" cy="600164"/>
          </a:xfrm>
          <a:prstGeom prst="rect">
            <a:avLst/>
          </a:prstGeom>
          <a:noFill/>
          <a:ln>
            <a:noFill/>
          </a:ln>
        </p:spPr>
        <p:txBody>
          <a:bodyPr wrap="none" rtlCol="0" anchor="t">
            <a:spAutoFit/>
          </a:bodyPr>
          <a:lstStyle/>
          <a:p>
            <a:pPr algn="ctr"/>
            <a:r>
              <a:rPr lang="en-US" sz="3300" spc="150">
                <a:latin typeface="Nunito Sans" pitchFamily="2" charset="77"/>
                <a:ea typeface="Source Sans Pro" panose="020B0503030403020204" pitchFamily="34" charset="0"/>
                <a:cs typeface="Lato Heavy" panose="020F0502020204030203" pitchFamily="34" charset="0"/>
              </a:rPr>
              <a:t>CONTACT US</a:t>
            </a:r>
          </a:p>
        </p:txBody>
      </p:sp>
      <p:sp>
        <p:nvSpPr>
          <p:cNvPr id="20" name="Subtitle 2">
            <a:extLst>
              <a:ext uri="{FF2B5EF4-FFF2-40B4-BE49-F238E27FC236}">
                <a16:creationId xmlns:a16="http://schemas.microsoft.com/office/drawing/2014/main" id="{93468F07-E69E-8C42-BF3B-E8A02626AFC2}"/>
              </a:ext>
            </a:extLst>
          </p:cNvPr>
          <p:cNvSpPr txBox="1">
            <a:spLocks/>
          </p:cNvSpPr>
          <p:nvPr/>
        </p:nvSpPr>
        <p:spPr>
          <a:xfrm>
            <a:off x="4123829" y="924896"/>
            <a:ext cx="3944350" cy="215444"/>
          </a:xfrm>
          <a:prstGeom prst="rect">
            <a:avLst/>
          </a:prstGeom>
        </p:spPr>
        <p:txBody>
          <a:bodyPr vert="horz" wrap="non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100" spc="600">
                <a:solidFill>
                  <a:schemeClr val="tx1">
                    <a:lumMod val="60000"/>
                    <a:lumOff val="40000"/>
                  </a:schemeClr>
                </a:solidFill>
                <a:latin typeface="Nunito Sans" pitchFamily="2" charset="77"/>
                <a:ea typeface="Noto Sans Light" panose="020B0402040504020204" pitchFamily="34" charset="0"/>
                <a:cs typeface="Noto Sans Light" panose="020B0402040504020204" pitchFamily="34" charset="0"/>
              </a:rPr>
              <a:t>Anni Rander &amp; Kate Balslev </a:t>
            </a:r>
          </a:p>
        </p:txBody>
      </p:sp>
      <p:sp>
        <p:nvSpPr>
          <p:cNvPr id="32" name="Rectangle 31">
            <a:extLst>
              <a:ext uri="{FF2B5EF4-FFF2-40B4-BE49-F238E27FC236}">
                <a16:creationId xmlns:a16="http://schemas.microsoft.com/office/drawing/2014/main" id="{8CAF8369-EE76-7747-8348-5114E3135531}"/>
              </a:ext>
            </a:extLst>
          </p:cNvPr>
          <p:cNvSpPr/>
          <p:nvPr/>
        </p:nvSpPr>
        <p:spPr>
          <a:xfrm>
            <a:off x="1662839" y="1390618"/>
            <a:ext cx="101246" cy="5002162"/>
          </a:xfrm>
          <a:prstGeom prst="rect">
            <a:avLst/>
          </a:prstGeom>
          <a:gradFill>
            <a:gsLst>
              <a:gs pos="0">
                <a:schemeClr val="accent1"/>
              </a:gs>
              <a:gs pos="50000">
                <a:schemeClr val="accent2"/>
              </a:gs>
              <a:gs pos="9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Nunito Sans ExtraLight" pitchFamily="2" charset="77"/>
            </a:endParaRPr>
          </a:p>
        </p:txBody>
      </p:sp>
      <p:sp>
        <p:nvSpPr>
          <p:cNvPr id="33" name="TextBox 32">
            <a:extLst>
              <a:ext uri="{FF2B5EF4-FFF2-40B4-BE49-F238E27FC236}">
                <a16:creationId xmlns:a16="http://schemas.microsoft.com/office/drawing/2014/main" id="{1A5B0F74-9743-9B4F-9F59-6F61044ADB50}"/>
              </a:ext>
            </a:extLst>
          </p:cNvPr>
          <p:cNvSpPr txBox="1"/>
          <p:nvPr/>
        </p:nvSpPr>
        <p:spPr>
          <a:xfrm>
            <a:off x="2271638" y="1789623"/>
            <a:ext cx="1226618" cy="338554"/>
          </a:xfrm>
          <a:prstGeom prst="rect">
            <a:avLst/>
          </a:prstGeom>
          <a:noFill/>
          <a:ln>
            <a:noFill/>
          </a:ln>
        </p:spPr>
        <p:txBody>
          <a:bodyPr wrap="none" rtlCol="0" anchor="b">
            <a:spAutoFit/>
          </a:bodyPr>
          <a:lstStyle/>
          <a:p>
            <a:r>
              <a:rPr lang="en-US" sz="1600" b="1" spc="75">
                <a:latin typeface="Nunito Sans SemiBold" pitchFamily="2" charset="77"/>
                <a:ea typeface="Source Sans Pro" panose="020B0503030403020204" pitchFamily="34" charset="0"/>
                <a:cs typeface="Lato Heavy" panose="020F0502020204030203" pitchFamily="34" charset="0"/>
              </a:rPr>
              <a:t>ADDRESS</a:t>
            </a:r>
          </a:p>
        </p:txBody>
      </p:sp>
      <p:sp>
        <p:nvSpPr>
          <p:cNvPr id="34" name="Subtitle 2">
            <a:extLst>
              <a:ext uri="{FF2B5EF4-FFF2-40B4-BE49-F238E27FC236}">
                <a16:creationId xmlns:a16="http://schemas.microsoft.com/office/drawing/2014/main" id="{08FFCD0A-5F21-2B48-89EC-F4669DB79C49}"/>
              </a:ext>
            </a:extLst>
          </p:cNvPr>
          <p:cNvSpPr txBox="1">
            <a:spLocks/>
          </p:cNvSpPr>
          <p:nvPr/>
        </p:nvSpPr>
        <p:spPr>
          <a:xfrm>
            <a:off x="2271638" y="2165093"/>
            <a:ext cx="3992002" cy="874598"/>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da-DK" sz="1200">
                <a:solidFill>
                  <a:schemeClr val="tx1"/>
                </a:solidFill>
                <a:latin typeface="Nunito Sans ExtraLight" pitchFamily="2" charset="77"/>
                <a:ea typeface="Noto Sans Light" panose="020B0402040504020204" pitchFamily="34" charset="0"/>
                <a:cs typeface="Noto Sans Light" panose="020B0402040504020204" pitchFamily="34" charset="0"/>
              </a:rPr>
              <a:t>Udviklings- og Forenklingsstyrelsen Osvald Helmuths Vej 4 2000 Frederiksberg</a:t>
            </a:r>
          </a:p>
          <a:p>
            <a:pPr algn="l">
              <a:lnSpc>
                <a:spcPts val="2000"/>
              </a:lnSpc>
              <a:spcBef>
                <a:spcPts val="600"/>
              </a:spcBef>
            </a:pPr>
            <a:r>
              <a:rPr lang="da-DK" sz="1200">
                <a:solidFill>
                  <a:schemeClr val="tx1"/>
                </a:solidFill>
                <a:latin typeface="Nunito Sans ExtraLight" pitchFamily="2" charset="77"/>
                <a:ea typeface="Noto Sans Light" panose="020B0402040504020204" pitchFamily="34" charset="0"/>
                <a:cs typeface="Noto Sans Light" panose="020B0402040504020204" pitchFamily="34" charset="0"/>
              </a:rPr>
              <a:t>Denmark</a:t>
            </a:r>
            <a:endParaRPr lang="en-US" sz="1200">
              <a:solidFill>
                <a:schemeClr val="tx1"/>
              </a:solidFill>
              <a:latin typeface="Nunito Sans ExtraLight" pitchFamily="2" charset="77"/>
              <a:ea typeface="Noto Sans Light" panose="020B0402040504020204" pitchFamily="34" charset="0"/>
              <a:cs typeface="Noto Sans Light" panose="020B0402040504020204" pitchFamily="34" charset="0"/>
            </a:endParaRPr>
          </a:p>
        </p:txBody>
      </p:sp>
      <p:sp>
        <p:nvSpPr>
          <p:cNvPr id="35" name="Rectangle 34">
            <a:extLst>
              <a:ext uri="{FF2B5EF4-FFF2-40B4-BE49-F238E27FC236}">
                <a16:creationId xmlns:a16="http://schemas.microsoft.com/office/drawing/2014/main" id="{3D0C867F-AF4E-8041-ABEB-74F118578DA9}"/>
              </a:ext>
            </a:extLst>
          </p:cNvPr>
          <p:cNvSpPr/>
          <p:nvPr/>
        </p:nvSpPr>
        <p:spPr>
          <a:xfrm>
            <a:off x="6990206" y="1390618"/>
            <a:ext cx="101246" cy="5002162"/>
          </a:xfrm>
          <a:prstGeom prst="rect">
            <a:avLst/>
          </a:prstGeom>
          <a:gradFill>
            <a:gsLst>
              <a:gs pos="0">
                <a:schemeClr val="accent1"/>
              </a:gs>
              <a:gs pos="50000">
                <a:schemeClr val="accent2"/>
              </a:gs>
              <a:gs pos="99000">
                <a:schemeClr val="accent3"/>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tx1"/>
              </a:solidFill>
              <a:latin typeface="Nunito Sans ExtraLight" pitchFamily="2" charset="77"/>
            </a:endParaRPr>
          </a:p>
        </p:txBody>
      </p:sp>
      <p:sp>
        <p:nvSpPr>
          <p:cNvPr id="36" name="TextBox 35">
            <a:extLst>
              <a:ext uri="{FF2B5EF4-FFF2-40B4-BE49-F238E27FC236}">
                <a16:creationId xmlns:a16="http://schemas.microsoft.com/office/drawing/2014/main" id="{2113356F-E964-BA44-85E7-62F5B8FC83D5}"/>
              </a:ext>
            </a:extLst>
          </p:cNvPr>
          <p:cNvSpPr txBox="1"/>
          <p:nvPr/>
        </p:nvSpPr>
        <p:spPr>
          <a:xfrm>
            <a:off x="7599005" y="1789623"/>
            <a:ext cx="566181" cy="338554"/>
          </a:xfrm>
          <a:prstGeom prst="rect">
            <a:avLst/>
          </a:prstGeom>
          <a:noFill/>
          <a:ln>
            <a:noFill/>
          </a:ln>
        </p:spPr>
        <p:txBody>
          <a:bodyPr wrap="none" rtlCol="0" anchor="b">
            <a:spAutoFit/>
          </a:bodyPr>
          <a:lstStyle/>
          <a:p>
            <a:r>
              <a:rPr lang="en-US" sz="1600" b="1" spc="75">
                <a:latin typeface="Nunito Sans SemiBold" pitchFamily="2" charset="77"/>
                <a:ea typeface="Source Sans Pro" panose="020B0503030403020204" pitchFamily="34" charset="0"/>
                <a:cs typeface="Lato Heavy" panose="020F0502020204030203" pitchFamily="34" charset="0"/>
              </a:rPr>
              <a:t>TLF</a:t>
            </a:r>
          </a:p>
        </p:txBody>
      </p:sp>
      <p:sp>
        <p:nvSpPr>
          <p:cNvPr id="37" name="Subtitle 2">
            <a:extLst>
              <a:ext uri="{FF2B5EF4-FFF2-40B4-BE49-F238E27FC236}">
                <a16:creationId xmlns:a16="http://schemas.microsoft.com/office/drawing/2014/main" id="{C18B187E-5B34-8745-A169-0CE3E17898C4}"/>
              </a:ext>
            </a:extLst>
          </p:cNvPr>
          <p:cNvSpPr txBox="1">
            <a:spLocks/>
          </p:cNvSpPr>
          <p:nvPr/>
        </p:nvSpPr>
        <p:spPr>
          <a:xfrm>
            <a:off x="7599005" y="2165093"/>
            <a:ext cx="2930157" cy="618118"/>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200">
                <a:solidFill>
                  <a:schemeClr val="tx1"/>
                </a:solidFill>
                <a:latin typeface="Nunito Sans ExtraLight" pitchFamily="2" charset="77"/>
                <a:ea typeface="Noto Sans Light" panose="020B0402040504020204" pitchFamily="34" charset="0"/>
                <a:cs typeface="Noto Sans Light" panose="020B0402040504020204" pitchFamily="34" charset="0"/>
              </a:rPr>
              <a:t>+45 26704140</a:t>
            </a:r>
          </a:p>
          <a:p>
            <a:pPr algn="l">
              <a:lnSpc>
                <a:spcPts val="2000"/>
              </a:lnSpc>
              <a:spcBef>
                <a:spcPts val="600"/>
              </a:spcBef>
            </a:pPr>
            <a:r>
              <a:rPr lang="en-US" sz="1200">
                <a:solidFill>
                  <a:schemeClr val="tx1"/>
                </a:solidFill>
                <a:latin typeface="Nunito Sans ExtraLight" pitchFamily="2" charset="77"/>
                <a:ea typeface="Noto Sans Light" panose="020B0402040504020204" pitchFamily="34" charset="0"/>
                <a:cs typeface="Noto Sans Light" panose="020B0402040504020204" pitchFamily="34" charset="0"/>
              </a:rPr>
              <a:t>+45 72372763</a:t>
            </a:r>
          </a:p>
        </p:txBody>
      </p:sp>
      <p:sp>
        <p:nvSpPr>
          <p:cNvPr id="42" name="TextBox 41">
            <a:extLst>
              <a:ext uri="{FF2B5EF4-FFF2-40B4-BE49-F238E27FC236}">
                <a16:creationId xmlns:a16="http://schemas.microsoft.com/office/drawing/2014/main" id="{EBC3B94E-122B-EC43-9A99-2920CEA519B9}"/>
              </a:ext>
            </a:extLst>
          </p:cNvPr>
          <p:cNvSpPr txBox="1"/>
          <p:nvPr/>
        </p:nvSpPr>
        <p:spPr>
          <a:xfrm>
            <a:off x="2271638" y="4153430"/>
            <a:ext cx="946093" cy="338554"/>
          </a:xfrm>
          <a:prstGeom prst="rect">
            <a:avLst/>
          </a:prstGeom>
          <a:noFill/>
          <a:ln>
            <a:noFill/>
          </a:ln>
        </p:spPr>
        <p:txBody>
          <a:bodyPr wrap="none" rtlCol="0" anchor="b">
            <a:spAutoFit/>
          </a:bodyPr>
          <a:lstStyle/>
          <a:p>
            <a:r>
              <a:rPr lang="en-US" sz="1600" b="1" spc="75">
                <a:latin typeface="Nunito Sans SemiBold" pitchFamily="2" charset="77"/>
                <a:ea typeface="Source Sans Pro" panose="020B0503030403020204" pitchFamily="34" charset="0"/>
                <a:cs typeface="Lato Heavy" panose="020F0502020204030203" pitchFamily="34" charset="0"/>
              </a:rPr>
              <a:t>E-MAIL</a:t>
            </a:r>
          </a:p>
        </p:txBody>
      </p:sp>
      <p:sp>
        <p:nvSpPr>
          <p:cNvPr id="43" name="Subtitle 2">
            <a:extLst>
              <a:ext uri="{FF2B5EF4-FFF2-40B4-BE49-F238E27FC236}">
                <a16:creationId xmlns:a16="http://schemas.microsoft.com/office/drawing/2014/main" id="{BBAD09C8-07EF-C74D-BDFA-3B25F0036F5F}"/>
              </a:ext>
            </a:extLst>
          </p:cNvPr>
          <p:cNvSpPr txBox="1">
            <a:spLocks/>
          </p:cNvSpPr>
          <p:nvPr/>
        </p:nvSpPr>
        <p:spPr>
          <a:xfrm>
            <a:off x="2271638" y="4528900"/>
            <a:ext cx="2930157" cy="618118"/>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200">
                <a:solidFill>
                  <a:schemeClr val="tx1"/>
                </a:solidFill>
                <a:latin typeface="Nunito Sans ExtraLight" pitchFamily="2" charset="77"/>
                <a:ea typeface="Noto Sans Light" panose="020B0402040504020204" pitchFamily="34" charset="0"/>
                <a:cs typeface="Noto Sans Light" panose="020B0402040504020204" pitchFamily="34" charset="0"/>
                <a:hlinkClick r:id="rId3">
                  <a:extLst>
                    <a:ext uri="{A12FA001-AC4F-418D-AE19-62706E023703}">
                      <ahyp:hlinkClr xmlns:ahyp="http://schemas.microsoft.com/office/drawing/2018/hyperlinkcolor" val="tx"/>
                    </a:ext>
                  </a:extLst>
                </a:hlinkClick>
              </a:rPr>
              <a:t>aran@ufst.dk</a:t>
            </a:r>
            <a:endParaRPr lang="en-US" sz="1200">
              <a:solidFill>
                <a:schemeClr val="tx1"/>
              </a:solidFill>
              <a:latin typeface="Nunito Sans ExtraLight" pitchFamily="2" charset="77"/>
              <a:ea typeface="Noto Sans Light" panose="020B0402040504020204" pitchFamily="34" charset="0"/>
              <a:cs typeface="Noto Sans Light" panose="020B0402040504020204" pitchFamily="34" charset="0"/>
            </a:endParaRPr>
          </a:p>
          <a:p>
            <a:pPr algn="l">
              <a:lnSpc>
                <a:spcPts val="2000"/>
              </a:lnSpc>
              <a:spcBef>
                <a:spcPts val="600"/>
              </a:spcBef>
            </a:pPr>
            <a:r>
              <a:rPr lang="en-US" sz="1200">
                <a:solidFill>
                  <a:schemeClr val="tx1"/>
                </a:solidFill>
                <a:latin typeface="Nunito Sans ExtraLight" pitchFamily="2" charset="77"/>
                <a:ea typeface="Noto Sans Light" panose="020B0402040504020204" pitchFamily="34" charset="0"/>
                <a:cs typeface="Noto Sans Light" panose="020B0402040504020204" pitchFamily="34" charset="0"/>
              </a:rPr>
              <a:t>Kate.Balslev@ufst.dk</a:t>
            </a:r>
          </a:p>
        </p:txBody>
      </p:sp>
      <p:sp>
        <p:nvSpPr>
          <p:cNvPr id="45" name="TextBox 44">
            <a:extLst>
              <a:ext uri="{FF2B5EF4-FFF2-40B4-BE49-F238E27FC236}">
                <a16:creationId xmlns:a16="http://schemas.microsoft.com/office/drawing/2014/main" id="{EBAA16B1-F174-D544-AA47-CF06039977E7}"/>
              </a:ext>
            </a:extLst>
          </p:cNvPr>
          <p:cNvSpPr txBox="1"/>
          <p:nvPr/>
        </p:nvSpPr>
        <p:spPr>
          <a:xfrm>
            <a:off x="2271638" y="5335334"/>
            <a:ext cx="1167307" cy="338554"/>
          </a:xfrm>
          <a:prstGeom prst="rect">
            <a:avLst/>
          </a:prstGeom>
          <a:noFill/>
          <a:ln>
            <a:noFill/>
          </a:ln>
        </p:spPr>
        <p:txBody>
          <a:bodyPr wrap="none" rtlCol="0" anchor="b">
            <a:spAutoFit/>
          </a:bodyPr>
          <a:lstStyle/>
          <a:p>
            <a:r>
              <a:rPr lang="en-US" sz="1600" b="1" spc="75">
                <a:latin typeface="Nunito Sans SemiBold" pitchFamily="2" charset="77"/>
                <a:ea typeface="Source Sans Pro" panose="020B0503030403020204" pitchFamily="34" charset="0"/>
                <a:cs typeface="Lato Heavy" panose="020F0502020204030203" pitchFamily="34" charset="0"/>
              </a:rPr>
              <a:t>WEBSITE</a:t>
            </a:r>
          </a:p>
        </p:txBody>
      </p:sp>
      <p:sp>
        <p:nvSpPr>
          <p:cNvPr id="46" name="Subtitle 2">
            <a:extLst>
              <a:ext uri="{FF2B5EF4-FFF2-40B4-BE49-F238E27FC236}">
                <a16:creationId xmlns:a16="http://schemas.microsoft.com/office/drawing/2014/main" id="{CE858EC1-6680-3A41-B914-8234C666F060}"/>
              </a:ext>
            </a:extLst>
          </p:cNvPr>
          <p:cNvSpPr txBox="1">
            <a:spLocks/>
          </p:cNvSpPr>
          <p:nvPr/>
        </p:nvSpPr>
        <p:spPr>
          <a:xfrm>
            <a:off x="2271638" y="5710803"/>
            <a:ext cx="2930157" cy="28469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000"/>
              </a:lnSpc>
              <a:spcBef>
                <a:spcPts val="600"/>
              </a:spcBef>
            </a:pPr>
            <a:r>
              <a:rPr lang="en-US" sz="1200">
                <a:solidFill>
                  <a:schemeClr val="tx1"/>
                </a:solidFill>
                <a:latin typeface="Nunito Sans ExtraLight" pitchFamily="2" charset="77"/>
                <a:ea typeface="Noto Sans Light" panose="020B0402040504020204" pitchFamily="34" charset="0"/>
                <a:cs typeface="Noto Sans Light" panose="020B0402040504020204" pitchFamily="34" charset="0"/>
              </a:rPr>
              <a:t>https://www.ufst.dk/</a:t>
            </a:r>
          </a:p>
        </p:txBody>
      </p:sp>
      <p:sp>
        <p:nvSpPr>
          <p:cNvPr id="60" name="TextBox 59">
            <a:extLst>
              <a:ext uri="{FF2B5EF4-FFF2-40B4-BE49-F238E27FC236}">
                <a16:creationId xmlns:a16="http://schemas.microsoft.com/office/drawing/2014/main" id="{63C461EA-FCFB-AA42-ACDD-0BAC1F2D4233}"/>
              </a:ext>
            </a:extLst>
          </p:cNvPr>
          <p:cNvSpPr txBox="1"/>
          <p:nvPr/>
        </p:nvSpPr>
        <p:spPr>
          <a:xfrm>
            <a:off x="7611017" y="4405980"/>
            <a:ext cx="4341253" cy="1569660"/>
          </a:xfrm>
          <a:prstGeom prst="rect">
            <a:avLst/>
          </a:prstGeom>
          <a:noFill/>
          <a:ln>
            <a:noFill/>
          </a:ln>
        </p:spPr>
        <p:txBody>
          <a:bodyPr wrap="none" rtlCol="0" anchor="b">
            <a:spAutoFit/>
          </a:bodyPr>
          <a:lstStyle/>
          <a:p>
            <a:r>
              <a:rPr lang="en-US" sz="1600" b="1" spc="75">
                <a:latin typeface="Nunito Sans SemiBold" pitchFamily="2" charset="77"/>
                <a:ea typeface="Source Sans Pro" panose="020B0503030403020204" pitchFamily="34" charset="0"/>
                <a:cs typeface="Lato Heavy" panose="020F0502020204030203" pitchFamily="34" charset="0"/>
              </a:rPr>
              <a:t>Links and </a:t>
            </a:r>
            <a:r>
              <a:rPr lang="en-US" sz="1600" b="1" spc="75" err="1">
                <a:latin typeface="Nunito Sans SemiBold" pitchFamily="2" charset="77"/>
                <a:ea typeface="Source Sans Pro" panose="020B0503030403020204" pitchFamily="34" charset="0"/>
                <a:cs typeface="Lato Heavy" panose="020F0502020204030203" pitchFamily="34" charset="0"/>
              </a:rPr>
              <a:t>litt</a:t>
            </a:r>
            <a:r>
              <a:rPr lang="en-US" sz="1600" b="1" spc="75">
                <a:latin typeface="Nunito Sans SemiBold" pitchFamily="2" charset="77"/>
                <a:ea typeface="Source Sans Pro" panose="020B0503030403020204" pitchFamily="34" charset="0"/>
                <a:cs typeface="Lato Heavy" panose="020F0502020204030203" pitchFamily="34" charset="0"/>
              </a:rPr>
              <a:t>.</a:t>
            </a:r>
          </a:p>
          <a:p>
            <a:endParaRPr lang="en-US" sz="1600" b="1" spc="75">
              <a:latin typeface="Nunito Sans SemiBold" pitchFamily="2" charset="77"/>
              <a:ea typeface="Source Sans Pro" panose="020B0503030403020204" pitchFamily="34" charset="0"/>
              <a:cs typeface="Lato Heavy" panose="020F0502020204030203" pitchFamily="34" charset="0"/>
            </a:endParaRPr>
          </a:p>
          <a:p>
            <a:r>
              <a:rPr lang="en-US" sz="1600" b="1" spc="75">
                <a:latin typeface="Nunito Sans SemiBold" pitchFamily="2" charset="77"/>
                <a:ea typeface="Source Sans Pro" panose="020B0503030403020204" pitchFamily="34" charset="0"/>
                <a:cs typeface="Lato Heavy" panose="020F0502020204030203" pitchFamily="34" charset="0"/>
                <a:hlinkClick r:id="rId4"/>
              </a:rPr>
              <a:t>https://www.scrum.org/</a:t>
            </a:r>
            <a:endParaRPr lang="en-US" sz="1600" b="1" spc="75">
              <a:latin typeface="Nunito Sans SemiBold" pitchFamily="2" charset="77"/>
              <a:ea typeface="Source Sans Pro" panose="020B0503030403020204" pitchFamily="34" charset="0"/>
              <a:cs typeface="Lato Heavy" panose="020F0502020204030203" pitchFamily="34" charset="0"/>
            </a:endParaRPr>
          </a:p>
          <a:p>
            <a:r>
              <a:rPr lang="en-US" sz="1600" b="1" spc="75">
                <a:latin typeface="Nunito Sans SemiBold" pitchFamily="2" charset="77"/>
                <a:ea typeface="Source Sans Pro" panose="020B0503030403020204" pitchFamily="34" charset="0"/>
                <a:cs typeface="Lato Heavy" panose="020F0502020204030203" pitchFamily="34" charset="0"/>
                <a:hlinkClick r:id="rId5"/>
              </a:rPr>
              <a:t>https://www.scaledagileframework.com/</a:t>
            </a:r>
            <a:endParaRPr lang="en-US" sz="1600" b="1" spc="75">
              <a:latin typeface="Nunito Sans SemiBold" pitchFamily="2" charset="77"/>
              <a:ea typeface="Source Sans Pro" panose="020B0503030403020204" pitchFamily="34" charset="0"/>
              <a:cs typeface="Lato Heavy" panose="020F0502020204030203" pitchFamily="34" charset="0"/>
            </a:endParaRPr>
          </a:p>
          <a:p>
            <a:r>
              <a:rPr lang="en-US" sz="1600" b="1" spc="75">
                <a:latin typeface="Nunito Sans SemiBold" pitchFamily="2" charset="77"/>
                <a:ea typeface="Source Sans Pro" panose="020B0503030403020204" pitchFamily="34" charset="0"/>
                <a:cs typeface="Lato Heavy" panose="020F0502020204030203" pitchFamily="34" charset="0"/>
                <a:hlinkClick r:id="rId6"/>
              </a:rPr>
              <a:t>https://www.agilealliance.org/</a:t>
            </a:r>
            <a:endParaRPr lang="en-US" sz="1600" b="1" spc="75">
              <a:latin typeface="Nunito Sans SemiBold" pitchFamily="2" charset="77"/>
              <a:ea typeface="Source Sans Pro" panose="020B0503030403020204" pitchFamily="34" charset="0"/>
              <a:cs typeface="Lato Heavy" panose="020F0502020204030203" pitchFamily="34" charset="0"/>
            </a:endParaRPr>
          </a:p>
          <a:p>
            <a:r>
              <a:rPr lang="da-DK" sz="1600" b="0" i="0" u="sng" strike="noStrike">
                <a:solidFill>
                  <a:srgbClr val="14143C"/>
                </a:solidFill>
                <a:effectLst/>
                <a:latin typeface="Academy Sans" panose="020B0503030000000000"/>
                <a:hlinkClick r:id="rId7"/>
              </a:rPr>
              <a:t>https://www.youtube.com/watch?v=502ILHjX9EE</a:t>
            </a:r>
            <a:endParaRPr lang="en-US" sz="1600" b="1" spc="75">
              <a:latin typeface="Nunito Sans SemiBold" pitchFamily="2" charset="77"/>
              <a:ea typeface="Source Sans Pro" panose="020B0503030403020204" pitchFamily="34" charset="0"/>
              <a:cs typeface="Lato Heavy" panose="020F0502020204030203" pitchFamily="34" charset="0"/>
            </a:endParaRPr>
          </a:p>
        </p:txBody>
      </p:sp>
    </p:spTree>
    <p:extLst>
      <p:ext uri="{BB962C8B-B14F-4D97-AF65-F5344CB8AC3E}">
        <p14:creationId xmlns:p14="http://schemas.microsoft.com/office/powerpoint/2010/main" val="1742523795"/>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ktangel 19">
            <a:extLst>
              <a:ext uri="{FF2B5EF4-FFF2-40B4-BE49-F238E27FC236}">
                <a16:creationId xmlns:a16="http://schemas.microsoft.com/office/drawing/2014/main" id="{87D72B5A-29C9-E74B-BDD2-2AEB9D7E75A9}"/>
              </a:ext>
            </a:extLst>
          </p:cNvPr>
          <p:cNvSpPr/>
          <p:nvPr/>
        </p:nvSpPr>
        <p:spPr>
          <a:xfrm>
            <a:off x="8884508" y="0"/>
            <a:ext cx="3307492" cy="685800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sp>
        <p:nvSpPr>
          <p:cNvPr id="2" name="Pladsholder til dato 1">
            <a:extLst>
              <a:ext uri="{FF2B5EF4-FFF2-40B4-BE49-F238E27FC236}">
                <a16:creationId xmlns:a16="http://schemas.microsoft.com/office/drawing/2014/main" id="{FD8665E8-55F6-B24E-AF08-15B11B2643D7}"/>
              </a:ext>
            </a:extLst>
          </p:cNvPr>
          <p:cNvSpPr>
            <a:spLocks noGrp="1"/>
          </p:cNvSpPr>
          <p:nvPr>
            <p:ph type="dt" sz="half" idx="10"/>
          </p:nvPr>
        </p:nvSpPr>
        <p:spPr/>
        <p:txBody>
          <a:bodyPr/>
          <a:lstStyle/>
          <a:p>
            <a:fld id="{0EB8853E-D6FB-4173-9125-4D0D0EFC7EDD}" type="datetime2">
              <a:rPr lang="da-DK" smtClean="0"/>
              <a:t>18. januar 2022</a:t>
            </a:fld>
            <a:endParaRPr lang="da-DK"/>
          </a:p>
        </p:txBody>
      </p:sp>
      <p:sp>
        <p:nvSpPr>
          <p:cNvPr id="9" name="Rektangel 8">
            <a:extLst>
              <a:ext uri="{FF2B5EF4-FFF2-40B4-BE49-F238E27FC236}">
                <a16:creationId xmlns:a16="http://schemas.microsoft.com/office/drawing/2014/main" id="{43A39C15-7D93-8C4B-9AD8-5E1E21B2DAC0}"/>
              </a:ext>
            </a:extLst>
          </p:cNvPr>
          <p:cNvSpPr/>
          <p:nvPr/>
        </p:nvSpPr>
        <p:spPr>
          <a:xfrm>
            <a:off x="512934" y="6277045"/>
            <a:ext cx="275046" cy="275046"/>
          </a:xfrm>
          <a:prstGeom prst="rect">
            <a:avLst/>
          </a:pr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p>
        </p:txBody>
      </p:sp>
      <p:sp>
        <p:nvSpPr>
          <p:cNvPr id="10" name="Pladsholder til sidefod 6">
            <a:extLst>
              <a:ext uri="{FF2B5EF4-FFF2-40B4-BE49-F238E27FC236}">
                <a16:creationId xmlns:a16="http://schemas.microsoft.com/office/drawing/2014/main" id="{7EB1CFAF-8334-2A40-AFED-C46D98B010D7}"/>
              </a:ext>
            </a:extLst>
          </p:cNvPr>
          <p:cNvSpPr txBox="1">
            <a:spLocks/>
          </p:cNvSpPr>
          <p:nvPr/>
        </p:nvSpPr>
        <p:spPr>
          <a:xfrm>
            <a:off x="1135999" y="6414568"/>
            <a:ext cx="2585101" cy="165730"/>
          </a:xfrm>
          <a:prstGeom prst="rect">
            <a:avLst/>
          </a:prstGeom>
        </p:spPr>
        <p:txBody>
          <a:bodyPr vert="horz" lIns="0" tIns="0" rIns="0" bIns="0" rtlCol="0" anchor="b" anchorCtr="0"/>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defRPr/>
            </a:pPr>
            <a:endParaRPr lang="da-DK">
              <a:solidFill>
                <a:srgbClr val="14143C"/>
              </a:solidFill>
              <a:latin typeface="Academy Sans Office" panose="020B0503030000000000" pitchFamily="34" charset="0"/>
            </a:endParaRPr>
          </a:p>
        </p:txBody>
      </p:sp>
      <p:sp>
        <p:nvSpPr>
          <p:cNvPr id="3" name="Rektangel 2">
            <a:extLst>
              <a:ext uri="{FF2B5EF4-FFF2-40B4-BE49-F238E27FC236}">
                <a16:creationId xmlns:a16="http://schemas.microsoft.com/office/drawing/2014/main" id="{01001B83-DBA8-9147-993B-68328244848C}"/>
              </a:ext>
            </a:extLst>
          </p:cNvPr>
          <p:cNvSpPr/>
          <p:nvPr/>
        </p:nvSpPr>
        <p:spPr>
          <a:xfrm>
            <a:off x="1335037" y="3840249"/>
            <a:ext cx="1367682" cy="383888"/>
          </a:xfrm>
          <a:prstGeom prst="rect">
            <a:avLst/>
          </a:prstGeom>
        </p:spPr>
        <p:txBody>
          <a:bodyPr wrap="none">
            <a:spAutoFit/>
          </a:bodyPr>
          <a:lstStyle/>
          <a:p>
            <a:pPr lvl="0">
              <a:lnSpc>
                <a:spcPct val="111000"/>
              </a:lnSpc>
              <a:defRPr/>
            </a:pPr>
            <a:r>
              <a:rPr lang="da-DK" b="1">
                <a:solidFill>
                  <a:srgbClr val="14143C"/>
                </a:solidFill>
                <a:latin typeface="Academy Sans Demibold" panose="020B0503030000000000" pitchFamily="34" charset="0"/>
              </a:rPr>
              <a:t>Anni Rander</a:t>
            </a:r>
          </a:p>
        </p:txBody>
      </p:sp>
      <p:sp>
        <p:nvSpPr>
          <p:cNvPr id="25" name="Tekstfelt 24">
            <a:extLst>
              <a:ext uri="{FF2B5EF4-FFF2-40B4-BE49-F238E27FC236}">
                <a16:creationId xmlns:a16="http://schemas.microsoft.com/office/drawing/2014/main" id="{8836DC5F-C94A-FC49-BBB6-D7FED6A620DF}"/>
              </a:ext>
            </a:extLst>
          </p:cNvPr>
          <p:cNvSpPr txBox="1"/>
          <p:nvPr/>
        </p:nvSpPr>
        <p:spPr>
          <a:xfrm>
            <a:off x="616580" y="471041"/>
            <a:ext cx="3170548" cy="518347"/>
          </a:xfrm>
          <a:prstGeom prst="rect">
            <a:avLst/>
          </a:prstGeom>
          <a:noFill/>
        </p:spPr>
        <p:txBody>
          <a:bodyPr wrap="none" lIns="0" tIns="0" rIns="0" bIns="0" rtlCol="0">
            <a:spAutoFit/>
          </a:bodyPr>
          <a:lstStyle/>
          <a:p>
            <a:pPr>
              <a:lnSpc>
                <a:spcPct val="111000"/>
              </a:lnSpc>
            </a:pPr>
            <a:r>
              <a:rPr lang="en-GB" sz="3200" b="1">
                <a:latin typeface="Academy Sans" panose="020B0503030000000000" pitchFamily="34" charset="0"/>
              </a:rPr>
              <a:t>The Agile Akademi</a:t>
            </a:r>
            <a:endParaRPr lang="da-DK" sz="3200" b="1">
              <a:solidFill>
                <a:srgbClr val="14143C"/>
              </a:solidFill>
              <a:latin typeface="Academy Sans" panose="020B0503030000000000" pitchFamily="34" charset="0"/>
            </a:endParaRPr>
          </a:p>
        </p:txBody>
      </p:sp>
      <p:pic>
        <p:nvPicPr>
          <p:cNvPr id="5" name="Billede 4">
            <a:extLst>
              <a:ext uri="{FF2B5EF4-FFF2-40B4-BE49-F238E27FC236}">
                <a16:creationId xmlns:a16="http://schemas.microsoft.com/office/drawing/2014/main" id="{C55FE5C5-A498-6346-AE95-210B4F9CCEB8}"/>
              </a:ext>
            </a:extLst>
          </p:cNvPr>
          <p:cNvPicPr>
            <a:picLocks noChangeAspect="1"/>
          </p:cNvPicPr>
          <p:nvPr/>
        </p:nvPicPr>
        <p:blipFill>
          <a:blip r:embed="rId4"/>
          <a:stretch>
            <a:fillRect/>
          </a:stretch>
        </p:blipFill>
        <p:spPr>
          <a:xfrm>
            <a:off x="7892593" y="2610035"/>
            <a:ext cx="5131060" cy="3667010"/>
          </a:xfrm>
          <a:prstGeom prst="rect">
            <a:avLst/>
          </a:prstGeom>
        </p:spPr>
      </p:pic>
      <p:sp>
        <p:nvSpPr>
          <p:cNvPr id="39" name="Pladsholder til slidenummer 7">
            <a:extLst>
              <a:ext uri="{FF2B5EF4-FFF2-40B4-BE49-F238E27FC236}">
                <a16:creationId xmlns:a16="http://schemas.microsoft.com/office/drawing/2014/main" id="{7445EACA-9568-4F47-A87D-F09ADD217072}"/>
              </a:ext>
            </a:extLst>
          </p:cNvPr>
          <p:cNvSpPr txBox="1">
            <a:spLocks/>
          </p:cNvSpPr>
          <p:nvPr/>
        </p:nvSpPr>
        <p:spPr>
          <a:xfrm>
            <a:off x="10099675" y="6414568"/>
            <a:ext cx="1550988" cy="16573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da-DK" sz="900">
                <a:solidFill>
                  <a:schemeClr val="bg1"/>
                </a:solidFill>
                <a:latin typeface="Academy Sans Office" panose="020B0503030000000000" pitchFamily="34" charset="0"/>
              </a:rPr>
              <a:t>Side </a:t>
            </a:r>
            <a:fld id="{24C8C45C-947F-4981-8B3F-4F32E973C901}" type="slidenum">
              <a:rPr lang="da-DK" sz="900" smtClean="0">
                <a:solidFill>
                  <a:schemeClr val="bg1"/>
                </a:solidFill>
                <a:latin typeface="Academy Sans Office" panose="020B0503030000000000" pitchFamily="34" charset="0"/>
              </a:rPr>
              <a:pPr algn="r">
                <a:defRPr/>
              </a:pPr>
              <a:t>3</a:t>
            </a:fld>
            <a:endParaRPr lang="da-DK" sz="900">
              <a:solidFill>
                <a:schemeClr val="bg1"/>
              </a:solidFill>
              <a:latin typeface="Academy Sans Office" panose="020B0503030000000000" pitchFamily="34" charset="0"/>
            </a:endParaRPr>
          </a:p>
        </p:txBody>
      </p:sp>
      <p:sp>
        <p:nvSpPr>
          <p:cNvPr id="21" name="Rektangel 20">
            <a:extLst>
              <a:ext uri="{FF2B5EF4-FFF2-40B4-BE49-F238E27FC236}">
                <a16:creationId xmlns:a16="http://schemas.microsoft.com/office/drawing/2014/main" id="{D2DEA403-6D57-4048-9857-3BF8BF75031B}"/>
              </a:ext>
            </a:extLst>
          </p:cNvPr>
          <p:cNvSpPr/>
          <p:nvPr/>
        </p:nvSpPr>
        <p:spPr>
          <a:xfrm>
            <a:off x="4299408" y="3840249"/>
            <a:ext cx="1336200" cy="383888"/>
          </a:xfrm>
          <a:prstGeom prst="rect">
            <a:avLst/>
          </a:prstGeom>
        </p:spPr>
        <p:txBody>
          <a:bodyPr wrap="none">
            <a:spAutoFit/>
          </a:bodyPr>
          <a:lstStyle/>
          <a:p>
            <a:pPr lvl="0">
              <a:lnSpc>
                <a:spcPct val="111000"/>
              </a:lnSpc>
              <a:defRPr/>
            </a:pPr>
            <a:r>
              <a:rPr lang="da-DK" b="1">
                <a:solidFill>
                  <a:srgbClr val="14143C"/>
                </a:solidFill>
                <a:latin typeface="Academy Sans Demibold" panose="020B0503030000000000" pitchFamily="34" charset="0"/>
              </a:rPr>
              <a:t>Kate Balslev</a:t>
            </a:r>
          </a:p>
        </p:txBody>
      </p:sp>
      <p:sp>
        <p:nvSpPr>
          <p:cNvPr id="22" name="Tekstfelt 21">
            <a:extLst>
              <a:ext uri="{FF2B5EF4-FFF2-40B4-BE49-F238E27FC236}">
                <a16:creationId xmlns:a16="http://schemas.microsoft.com/office/drawing/2014/main" id="{D7CB7012-4F34-4F93-86E7-9EDC35C47AFA}"/>
              </a:ext>
            </a:extLst>
          </p:cNvPr>
          <p:cNvSpPr txBox="1"/>
          <p:nvPr/>
        </p:nvSpPr>
        <p:spPr>
          <a:xfrm>
            <a:off x="1335037" y="878818"/>
            <a:ext cx="4421595" cy="323935"/>
          </a:xfrm>
          <a:prstGeom prst="rect">
            <a:avLst/>
          </a:prstGeom>
          <a:noFill/>
        </p:spPr>
        <p:txBody>
          <a:bodyPr wrap="none" lIns="0" tIns="0" rIns="0" bIns="0" rtlCol="0">
            <a:spAutoFit/>
          </a:bodyPr>
          <a:lstStyle/>
          <a:p>
            <a:pPr>
              <a:lnSpc>
                <a:spcPct val="111000"/>
              </a:lnSpc>
            </a:pPr>
            <a:r>
              <a:rPr lang="en-GB" sz="2000" b="1">
                <a:latin typeface="Academy Sans" panose="020B0503030000000000" pitchFamily="34" charset="0"/>
              </a:rPr>
              <a:t>- A part of the Danish Ministry of Taxation</a:t>
            </a:r>
            <a:endParaRPr lang="da-DK" sz="2000" b="1">
              <a:solidFill>
                <a:srgbClr val="14143C"/>
              </a:solidFill>
              <a:latin typeface="Academy Sans" panose="020B0503030000000000" pitchFamily="34" charset="0"/>
            </a:endParaRPr>
          </a:p>
        </p:txBody>
      </p:sp>
      <p:pic>
        <p:nvPicPr>
          <p:cNvPr id="29" name="Billede 28">
            <a:extLst>
              <a:ext uri="{FF2B5EF4-FFF2-40B4-BE49-F238E27FC236}">
                <a16:creationId xmlns:a16="http://schemas.microsoft.com/office/drawing/2014/main" id="{A0EB82BB-DDFB-42A2-B4E6-6989C065C72B}"/>
              </a:ext>
            </a:extLst>
          </p:cNvPr>
          <p:cNvPicPr>
            <a:picLocks noChangeAspect="1"/>
          </p:cNvPicPr>
          <p:nvPr/>
        </p:nvPicPr>
        <p:blipFill rotWithShape="1">
          <a:blip r:embed="rId5">
            <a:extLst>
              <a:ext uri="{28A0092B-C50C-407E-A947-70E740481C1C}">
                <a14:useLocalDpi xmlns:a14="http://schemas.microsoft.com/office/drawing/2010/main" val="0"/>
              </a:ext>
            </a:extLst>
          </a:blip>
          <a:srcRect l="42492" t="33972" r="39758" b="31819"/>
          <a:stretch/>
        </p:blipFill>
        <p:spPr>
          <a:xfrm>
            <a:off x="205501" y="5635710"/>
            <a:ext cx="1129536" cy="1132114"/>
          </a:xfrm>
          <a:prstGeom prst="rect">
            <a:avLst/>
          </a:prstGeom>
        </p:spPr>
      </p:pic>
      <p:pic>
        <p:nvPicPr>
          <p:cNvPr id="6" name="Billede 5">
            <a:extLst>
              <a:ext uri="{FF2B5EF4-FFF2-40B4-BE49-F238E27FC236}">
                <a16:creationId xmlns:a16="http://schemas.microsoft.com/office/drawing/2014/main" id="{EAE759A9-BD48-40F3-8470-2FF355FAB2B7}"/>
              </a:ext>
            </a:extLst>
          </p:cNvPr>
          <p:cNvPicPr>
            <a:picLocks noChangeAspect="1"/>
          </p:cNvPicPr>
          <p:nvPr/>
        </p:nvPicPr>
        <p:blipFill>
          <a:blip r:embed="rId6"/>
          <a:stretch>
            <a:fillRect/>
          </a:stretch>
        </p:blipFill>
        <p:spPr>
          <a:xfrm>
            <a:off x="4336431" y="2126311"/>
            <a:ext cx="1262153" cy="1556802"/>
          </a:xfrm>
          <a:prstGeom prst="rect">
            <a:avLst/>
          </a:prstGeom>
        </p:spPr>
      </p:pic>
      <p:pic>
        <p:nvPicPr>
          <p:cNvPr id="4" name="Billede 6" descr="Et billede, der indeholder person, bærer, poserer&#10;&#10;Beskrivelsen er genereret automatisk">
            <a:extLst>
              <a:ext uri="{FF2B5EF4-FFF2-40B4-BE49-F238E27FC236}">
                <a16:creationId xmlns:a16="http://schemas.microsoft.com/office/drawing/2014/main" id="{0F1103D1-0EBB-4567-93F1-0E0C8944C001}"/>
              </a:ext>
            </a:extLst>
          </p:cNvPr>
          <p:cNvPicPr>
            <a:picLocks noChangeAspect="1"/>
          </p:cNvPicPr>
          <p:nvPr/>
        </p:nvPicPr>
        <p:blipFill>
          <a:blip r:embed="rId7"/>
          <a:stretch>
            <a:fillRect/>
          </a:stretch>
        </p:blipFill>
        <p:spPr>
          <a:xfrm>
            <a:off x="1523551" y="2059056"/>
            <a:ext cx="1044503" cy="1729409"/>
          </a:xfrm>
          <a:prstGeom prst="rect">
            <a:avLst/>
          </a:prstGeom>
        </p:spPr>
      </p:pic>
    </p:spTree>
    <p:extLst>
      <p:ext uri="{BB962C8B-B14F-4D97-AF65-F5344CB8AC3E}">
        <p14:creationId xmlns:p14="http://schemas.microsoft.com/office/powerpoint/2010/main" val="9032378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Billede 9" descr="Et billede, der indeholder tekst, person&#10;&#10;Automatisk genereret beskrivelse">
            <a:extLst>
              <a:ext uri="{FF2B5EF4-FFF2-40B4-BE49-F238E27FC236}">
                <a16:creationId xmlns:a16="http://schemas.microsoft.com/office/drawing/2014/main" id="{DFBFD751-D0A3-495E-A7AF-DC99E28955CA}"/>
              </a:ext>
            </a:extLst>
          </p:cNvPr>
          <p:cNvPicPr>
            <a:picLocks noChangeAspect="1"/>
          </p:cNvPicPr>
          <p:nvPr/>
        </p:nvPicPr>
        <p:blipFill rotWithShape="1">
          <a:blip r:embed="rId2">
            <a:extLst>
              <a:ext uri="{28A0092B-C50C-407E-A947-70E740481C1C}">
                <a14:useLocalDpi xmlns:a14="http://schemas.microsoft.com/office/drawing/2010/main" val="0"/>
              </a:ext>
            </a:extLst>
          </a:blip>
          <a:srcRect l="-7460" r="27936"/>
          <a:stretch/>
        </p:blipFill>
        <p:spPr>
          <a:xfrm>
            <a:off x="8556172" y="-1"/>
            <a:ext cx="3635828" cy="6858001"/>
          </a:xfrm>
          <a:prstGeom prst="rect">
            <a:avLst/>
          </a:prstGeom>
        </p:spPr>
      </p:pic>
      <p:sp>
        <p:nvSpPr>
          <p:cNvPr id="25" name="Tekstfelt 24">
            <a:extLst>
              <a:ext uri="{FF2B5EF4-FFF2-40B4-BE49-F238E27FC236}">
                <a16:creationId xmlns:a16="http://schemas.microsoft.com/office/drawing/2014/main" id="{A64C27F6-7181-8B4A-9277-8551913DD44E}"/>
              </a:ext>
            </a:extLst>
          </p:cNvPr>
          <p:cNvSpPr txBox="1"/>
          <p:nvPr/>
        </p:nvSpPr>
        <p:spPr>
          <a:xfrm>
            <a:off x="457191" y="520257"/>
            <a:ext cx="4389022" cy="513602"/>
          </a:xfrm>
          <a:prstGeom prst="rect">
            <a:avLst/>
          </a:prstGeom>
          <a:noFill/>
        </p:spPr>
        <p:txBody>
          <a:bodyPr wrap="none" lIns="0" tIns="0" rIns="0" bIns="0" rtlCol="0">
            <a:spAutoFit/>
          </a:bodyPr>
          <a:lstStyle/>
          <a:p>
            <a:pPr>
              <a:lnSpc>
                <a:spcPct val="111000"/>
              </a:lnSpc>
            </a:pPr>
            <a:r>
              <a:rPr lang="en-GB" sz="3200" b="1">
                <a:latin typeface="Academy Sans Office" panose="020B0503030000000000" pitchFamily="34" charset="0"/>
              </a:rPr>
              <a:t>Learning Perspectives</a:t>
            </a:r>
            <a:endParaRPr lang="da-DK" sz="3200" b="1">
              <a:solidFill>
                <a:srgbClr val="14143C"/>
              </a:solidFill>
              <a:latin typeface="Academy Sans" panose="020B0503030000000000" pitchFamily="34" charset="0"/>
            </a:endParaRPr>
          </a:p>
        </p:txBody>
      </p:sp>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7" name="Footer Placeholder 6">
            <a:extLst>
              <a:ext uri="{FF2B5EF4-FFF2-40B4-BE49-F238E27FC236}">
                <a16:creationId xmlns:a16="http://schemas.microsoft.com/office/drawing/2014/main" id="{CDF12B45-1637-4134-B9B5-943C9DF33B8F}"/>
              </a:ext>
            </a:extLst>
          </p:cNvPr>
          <p:cNvSpPr>
            <a:spLocks noGrp="1"/>
          </p:cNvSpPr>
          <p:nvPr>
            <p:ph type="ftr" sz="quarter" idx="17"/>
          </p:nvPr>
        </p:nvSpPr>
        <p:spPr>
          <a:xfrm>
            <a:off x="1136000" y="6414568"/>
            <a:ext cx="4779025" cy="165730"/>
          </a:xfrm>
        </p:spPr>
        <p:txBody>
          <a:bodyPr/>
          <a:lstStyle/>
          <a:p>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4</a:t>
            </a:fld>
            <a:endParaRPr lang="da-DK"/>
          </a:p>
        </p:txBody>
      </p:sp>
      <p:pic>
        <p:nvPicPr>
          <p:cNvPr id="3" name="Billede 2">
            <a:extLst>
              <a:ext uri="{FF2B5EF4-FFF2-40B4-BE49-F238E27FC236}">
                <a16:creationId xmlns:a16="http://schemas.microsoft.com/office/drawing/2014/main" id="{7D285300-BAB0-4168-96A0-2AA6C21F618F}"/>
              </a:ext>
            </a:extLst>
          </p:cNvPr>
          <p:cNvPicPr>
            <a:picLocks noChangeAspect="1"/>
          </p:cNvPicPr>
          <p:nvPr/>
        </p:nvPicPr>
        <p:blipFill>
          <a:blip r:embed="rId3"/>
          <a:stretch>
            <a:fillRect/>
          </a:stretch>
        </p:blipFill>
        <p:spPr>
          <a:xfrm>
            <a:off x="457191" y="1423688"/>
            <a:ext cx="7676952" cy="4435573"/>
          </a:xfrm>
          <a:prstGeom prst="rect">
            <a:avLst/>
          </a:prstGeom>
        </p:spPr>
      </p:pic>
    </p:spTree>
    <p:extLst>
      <p:ext uri="{BB962C8B-B14F-4D97-AF65-F5344CB8AC3E}">
        <p14:creationId xmlns:p14="http://schemas.microsoft.com/office/powerpoint/2010/main" val="25802753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kstfelt 24">
            <a:extLst>
              <a:ext uri="{FF2B5EF4-FFF2-40B4-BE49-F238E27FC236}">
                <a16:creationId xmlns:a16="http://schemas.microsoft.com/office/drawing/2014/main" id="{A64C27F6-7181-8B4A-9277-8551913DD44E}"/>
              </a:ext>
            </a:extLst>
          </p:cNvPr>
          <p:cNvSpPr txBox="1"/>
          <p:nvPr/>
        </p:nvSpPr>
        <p:spPr>
          <a:xfrm>
            <a:off x="539750" y="569688"/>
            <a:ext cx="4418013" cy="1152000"/>
          </a:xfrm>
          <a:prstGeom prst="rect">
            <a:avLst/>
          </a:prstGeom>
        </p:spPr>
        <p:txBody>
          <a:bodyPr vert="horz" lIns="0" tIns="0" rIns="0" bIns="0" rtlCol="0" anchor="t" anchorCtr="0">
            <a:normAutofit/>
          </a:bodyPr>
          <a:lstStyle/>
          <a:p>
            <a:pPr>
              <a:lnSpc>
                <a:spcPct val="93000"/>
              </a:lnSpc>
              <a:spcBef>
                <a:spcPct val="0"/>
              </a:spcBef>
              <a:spcAft>
                <a:spcPts val="600"/>
              </a:spcAft>
            </a:pPr>
            <a:r>
              <a:rPr lang="da-DK" sz="4000" b="1" kern="1200">
                <a:solidFill>
                  <a:schemeClr val="accent1"/>
                </a:solidFill>
                <a:latin typeface="+mj-lt"/>
                <a:ea typeface="+mj-ea"/>
                <a:cs typeface="+mj-cs"/>
              </a:rPr>
              <a:t>Learning Perspectives</a:t>
            </a:r>
          </a:p>
        </p:txBody>
      </p:sp>
      <p:pic>
        <p:nvPicPr>
          <p:cNvPr id="12" name="Billede 11" descr="Et billede, der indeholder tekst, person, mand&#10;&#10;Automatisk genereret beskrivelse">
            <a:extLst>
              <a:ext uri="{FF2B5EF4-FFF2-40B4-BE49-F238E27FC236}">
                <a16:creationId xmlns:a16="http://schemas.microsoft.com/office/drawing/2014/main" id="{4BB75286-D996-4588-8A15-05FB30133A48}"/>
              </a:ext>
            </a:extLst>
          </p:cNvPr>
          <p:cNvPicPr>
            <a:picLocks noChangeAspect="1"/>
          </p:cNvPicPr>
          <p:nvPr/>
        </p:nvPicPr>
        <p:blipFill rotWithShape="1">
          <a:blip r:embed="rId2">
            <a:extLst>
              <a:ext uri="{28A0092B-C50C-407E-A947-70E740481C1C}">
                <a14:useLocalDpi xmlns:a14="http://schemas.microsoft.com/office/drawing/2010/main" val="0"/>
              </a:ext>
            </a:extLst>
          </a:blip>
          <a:srcRect l="7811" t="-2" r="32186" b="5"/>
          <a:stretch/>
        </p:blipFill>
        <p:spPr>
          <a:xfrm>
            <a:off x="539750" y="2112963"/>
            <a:ext cx="3584778" cy="3987800"/>
          </a:xfrm>
          <a:prstGeom prst="rect">
            <a:avLst/>
          </a:prstGeom>
          <a:noFill/>
        </p:spPr>
      </p:pic>
      <p:sp>
        <p:nvSpPr>
          <p:cNvPr id="35" name="Footer Placeholder 6">
            <a:extLst>
              <a:ext uri="{FF2B5EF4-FFF2-40B4-BE49-F238E27FC236}">
                <a16:creationId xmlns:a16="http://schemas.microsoft.com/office/drawing/2014/main" id="{13B539D1-47A9-46F1-9964-A3B6146ABF11}"/>
              </a:ext>
            </a:extLst>
          </p:cNvPr>
          <p:cNvSpPr>
            <a:spLocks noGrp="1"/>
          </p:cNvSpPr>
          <p:nvPr>
            <p:ph type="ftr" sz="quarter" idx="11"/>
          </p:nvPr>
        </p:nvSpPr>
        <p:spPr>
          <a:xfrm>
            <a:off x="1135064" y="6267373"/>
            <a:ext cx="1316038" cy="307878"/>
          </a:xfrm>
        </p:spPr>
        <p:txBody>
          <a:bodyPr vert="horz" lIns="0" tIns="0" rIns="0" bIns="0" rtlCol="0" anchor="b" anchorCtr="0">
            <a:normAutofit/>
          </a:bodyPr>
          <a:lstStyle/>
          <a:p>
            <a:pPr>
              <a:spcAft>
                <a:spcPts val="600"/>
              </a:spcAft>
            </a:pPr>
            <a:r>
              <a:rPr lang="da-DK" kern="1200">
                <a:latin typeface="+mn-lt"/>
                <a:ea typeface="+mn-ea"/>
                <a:cs typeface="+mn-cs"/>
              </a:rPr>
              <a:t>Introduktion til agile metoder</a:t>
            </a:r>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2"/>
          </p:nvPr>
        </p:nvSpPr>
        <p:spPr>
          <a:xfrm>
            <a:off x="11052175" y="6267373"/>
            <a:ext cx="596899" cy="307878"/>
          </a:xfrm>
        </p:spPr>
        <p:txBody>
          <a:bodyPr vert="horz" lIns="0" tIns="0" rIns="0" bIns="0" rtlCol="0" anchor="b" anchorCtr="0">
            <a:normAutofit/>
          </a:bodyPr>
          <a:lstStyle/>
          <a:p>
            <a:pPr>
              <a:spcAft>
                <a:spcPts val="600"/>
              </a:spcAft>
            </a:pPr>
            <a:r>
              <a:rPr lang="da-DK"/>
              <a:t>Side </a:t>
            </a:r>
            <a:fld id="{24C8C45C-947F-4981-8B3F-4F32E973C901}" type="slidenum">
              <a:rPr lang="da-DK" smtClean="0"/>
              <a:pPr>
                <a:spcAft>
                  <a:spcPts val="600"/>
                </a:spcAft>
              </a:pPr>
              <a:t>5</a:t>
            </a:fld>
            <a:endParaRPr lang="da-DK"/>
          </a:p>
        </p:txBody>
      </p:sp>
      <p:sp>
        <p:nvSpPr>
          <p:cNvPr id="6" name="Date Placeholder 5">
            <a:extLst>
              <a:ext uri="{FF2B5EF4-FFF2-40B4-BE49-F238E27FC236}">
                <a16:creationId xmlns:a16="http://schemas.microsoft.com/office/drawing/2014/main" id="{610E4F6E-DAD1-4F7C-B0FB-8E9E738697FE}"/>
              </a:ext>
            </a:extLst>
          </p:cNvPr>
          <p:cNvSpPr>
            <a:spLocks noGrp="1"/>
          </p:cNvSpPr>
          <p:nvPr>
            <p:ph type="dt" sz="half" idx="4294967295"/>
          </p:nvPr>
        </p:nvSpPr>
        <p:spPr>
          <a:xfrm>
            <a:off x="0" y="6858000"/>
            <a:ext cx="0" cy="0"/>
          </a:xfrm>
        </p:spPr>
        <p:txBody>
          <a:bodyPr/>
          <a:lstStyle/>
          <a:p>
            <a:pPr>
              <a:spcAft>
                <a:spcPts val="600"/>
              </a:spcAft>
            </a:pPr>
            <a:fld id="{31FB3FAF-A7E6-4106-8ACD-41D407863753}" type="datetime2">
              <a:rPr lang="da-DK" smtClean="0"/>
              <a:pPr>
                <a:spcAft>
                  <a:spcPts val="600"/>
                </a:spcAft>
              </a:pPr>
              <a:t>18. januar 2022</a:t>
            </a:fld>
            <a:endParaRPr lang="da-DK"/>
          </a:p>
        </p:txBody>
      </p:sp>
      <p:pic>
        <p:nvPicPr>
          <p:cNvPr id="16" name="Billede 15">
            <a:extLst>
              <a:ext uri="{FF2B5EF4-FFF2-40B4-BE49-F238E27FC236}">
                <a16:creationId xmlns:a16="http://schemas.microsoft.com/office/drawing/2014/main" id="{C095C7B8-107C-4F82-9392-5FE07F3145D3}"/>
              </a:ext>
            </a:extLst>
          </p:cNvPr>
          <p:cNvPicPr>
            <a:picLocks noChangeAspect="1"/>
          </p:cNvPicPr>
          <p:nvPr/>
        </p:nvPicPr>
        <p:blipFill rotWithShape="1">
          <a:blip r:embed="rId3"/>
          <a:srcRect t="49" r="2" b="53"/>
          <a:stretch/>
        </p:blipFill>
        <p:spPr>
          <a:xfrm>
            <a:off x="4415474" y="924128"/>
            <a:ext cx="7402655" cy="5176635"/>
          </a:xfrm>
          <a:prstGeom prst="rect">
            <a:avLst/>
          </a:prstGeom>
          <a:noFill/>
        </p:spPr>
      </p:pic>
    </p:spTree>
    <p:extLst>
      <p:ext uri="{BB962C8B-B14F-4D97-AF65-F5344CB8AC3E}">
        <p14:creationId xmlns:p14="http://schemas.microsoft.com/office/powerpoint/2010/main" val="532902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FEE33587-ED75-9A4C-90EE-1BA5CC049007}"/>
              </a:ext>
            </a:extLst>
          </p:cNvPr>
          <p:cNvSpPr/>
          <p:nvPr/>
        </p:nvSpPr>
        <p:spPr>
          <a:xfrm>
            <a:off x="3438356" y="0"/>
            <a:ext cx="8753644" cy="6858000"/>
          </a:xfrm>
          <a:custGeom>
            <a:avLst/>
            <a:gdLst>
              <a:gd name="connsiteX0" fmla="*/ 5945590 w 17507287"/>
              <a:gd name="connsiteY0" fmla="*/ 0 h 13716000"/>
              <a:gd name="connsiteX1" fmla="*/ 12045843 w 17507287"/>
              <a:gd name="connsiteY1" fmla="*/ 0 h 13716000"/>
              <a:gd name="connsiteX2" fmla="*/ 12088747 w 17507287"/>
              <a:gd name="connsiteY2" fmla="*/ 14517 h 13716000"/>
              <a:gd name="connsiteX3" fmla="*/ 17445579 w 17507287"/>
              <a:gd name="connsiteY3" fmla="*/ 5371350 h 13716000"/>
              <a:gd name="connsiteX4" fmla="*/ 17507287 w 17507287"/>
              <a:gd name="connsiteY4" fmla="*/ 5553722 h 13716000"/>
              <a:gd name="connsiteX5" fmla="*/ 17507287 w 17507287"/>
              <a:gd name="connsiteY5" fmla="*/ 11375036 h 13716000"/>
              <a:gd name="connsiteX6" fmla="*/ 17445579 w 17507287"/>
              <a:gd name="connsiteY6" fmla="*/ 11557408 h 13716000"/>
              <a:gd name="connsiteX7" fmla="*/ 16455107 w 17507287"/>
              <a:gd name="connsiteY7" fmla="*/ 13493969 h 13716000"/>
              <a:gd name="connsiteX8" fmla="*/ 16297219 w 17507287"/>
              <a:gd name="connsiteY8" fmla="*/ 13716000 h 13716000"/>
              <a:gd name="connsiteX9" fmla="*/ 1694215 w 17507287"/>
              <a:gd name="connsiteY9" fmla="*/ 13716000 h 13716000"/>
              <a:gd name="connsiteX10" fmla="*/ 1536326 w 17507287"/>
              <a:gd name="connsiteY10" fmla="*/ 13493969 h 13716000"/>
              <a:gd name="connsiteX11" fmla="*/ 0 w 17507287"/>
              <a:gd name="connsiteY11" fmla="*/ 8464378 h 13716000"/>
              <a:gd name="connsiteX12" fmla="*/ 5902687 w 17507287"/>
              <a:gd name="connsiteY12" fmla="*/ 14517 h 1371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07287" h="13716000">
                <a:moveTo>
                  <a:pt x="5945590" y="0"/>
                </a:moveTo>
                <a:lnTo>
                  <a:pt x="12045843" y="0"/>
                </a:lnTo>
                <a:lnTo>
                  <a:pt x="12088747" y="14517"/>
                </a:lnTo>
                <a:cubicBezTo>
                  <a:pt x="14568775" y="922578"/>
                  <a:pt x="16537519" y="2891319"/>
                  <a:pt x="17445579" y="5371350"/>
                </a:cubicBezTo>
                <a:lnTo>
                  <a:pt x="17507287" y="5553722"/>
                </a:lnTo>
                <a:lnTo>
                  <a:pt x="17507287" y="11375036"/>
                </a:lnTo>
                <a:lnTo>
                  <a:pt x="17445579" y="11557408"/>
                </a:lnTo>
                <a:cubicBezTo>
                  <a:pt x="17193339" y="12246305"/>
                  <a:pt x="16859259" y="12895750"/>
                  <a:pt x="16455107" y="13493969"/>
                </a:cubicBezTo>
                <a:lnTo>
                  <a:pt x="16297219" y="13716000"/>
                </a:lnTo>
                <a:lnTo>
                  <a:pt x="1694215" y="13716000"/>
                </a:lnTo>
                <a:lnTo>
                  <a:pt x="1536326" y="13493969"/>
                </a:lnTo>
                <a:cubicBezTo>
                  <a:pt x="566369" y="12058244"/>
                  <a:pt x="0" y="10327452"/>
                  <a:pt x="0" y="8464378"/>
                </a:cubicBezTo>
                <a:cubicBezTo>
                  <a:pt x="0" y="4582974"/>
                  <a:pt x="2458202" y="1275713"/>
                  <a:pt x="5902687" y="14517"/>
                </a:cubicBezTo>
                <a:close/>
              </a:path>
            </a:pathLst>
          </a:cu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latin typeface="Nunito Sans ExtraLight" pitchFamily="2" charset="77"/>
            </a:endParaRPr>
          </a:p>
        </p:txBody>
      </p:sp>
      <p:sp>
        <p:nvSpPr>
          <p:cNvPr id="19" name="TextBox 18">
            <a:extLst>
              <a:ext uri="{FF2B5EF4-FFF2-40B4-BE49-F238E27FC236}">
                <a16:creationId xmlns:a16="http://schemas.microsoft.com/office/drawing/2014/main" id="{5A4ADCA1-6178-6942-99AB-1584066F93E7}"/>
              </a:ext>
            </a:extLst>
          </p:cNvPr>
          <p:cNvSpPr txBox="1"/>
          <p:nvPr/>
        </p:nvSpPr>
        <p:spPr>
          <a:xfrm>
            <a:off x="255578" y="489421"/>
            <a:ext cx="6365555" cy="1600438"/>
          </a:xfrm>
          <a:prstGeom prst="rect">
            <a:avLst/>
          </a:prstGeom>
          <a:noFill/>
        </p:spPr>
        <p:txBody>
          <a:bodyPr wrap="square" rtlCol="0" anchor="b">
            <a:spAutoFit/>
          </a:bodyPr>
          <a:lstStyle/>
          <a:p>
            <a:r>
              <a:rPr lang="en-US" sz="4400" b="1" spc="75">
                <a:latin typeface="Nunito Sans" pitchFamily="2" charset="77"/>
                <a:ea typeface="Source Sans Pro" panose="020B0503030403020204" pitchFamily="34" charset="0"/>
                <a:cs typeface="Mukta" panose="020B0000000000000000" pitchFamily="34" charset="77"/>
              </a:rPr>
              <a:t>Agile </a:t>
            </a:r>
          </a:p>
          <a:p>
            <a:r>
              <a:rPr lang="en-US" sz="5400" b="1" spc="75">
                <a:solidFill>
                  <a:srgbClr val="0070C0"/>
                </a:solidFill>
                <a:latin typeface="Nunito Sans" pitchFamily="2" charset="77"/>
                <a:ea typeface="Source Sans Pro" panose="020B0503030403020204" pitchFamily="34" charset="0"/>
                <a:cs typeface="Mukta" panose="020B0000000000000000" pitchFamily="34" charset="77"/>
              </a:rPr>
              <a:t>mindset</a:t>
            </a:r>
            <a:endParaRPr lang="en-US" sz="11500" b="1" spc="75">
              <a:solidFill>
                <a:srgbClr val="0070C0"/>
              </a:solidFill>
              <a:latin typeface="Nunito Sans" pitchFamily="2" charset="77"/>
              <a:ea typeface="Source Sans Pro" panose="020B0503030403020204" pitchFamily="34" charset="0"/>
              <a:cs typeface="Mukta" panose="020B0000000000000000" pitchFamily="34" charset="77"/>
            </a:endParaRPr>
          </a:p>
        </p:txBody>
      </p:sp>
      <p:sp>
        <p:nvSpPr>
          <p:cNvPr id="8" name="Ellipse 7">
            <a:extLst>
              <a:ext uri="{FF2B5EF4-FFF2-40B4-BE49-F238E27FC236}">
                <a16:creationId xmlns:a16="http://schemas.microsoft.com/office/drawing/2014/main" id="{68AA26FA-1C11-4A48-A1B4-44C5C0EBAE99}"/>
              </a:ext>
            </a:extLst>
          </p:cNvPr>
          <p:cNvSpPr/>
          <p:nvPr/>
        </p:nvSpPr>
        <p:spPr>
          <a:xfrm>
            <a:off x="6983390" y="1002467"/>
            <a:ext cx="2449026" cy="2449026"/>
          </a:xfrm>
          <a:prstGeom prst="ellipse">
            <a:avLst/>
          </a:prstGeom>
          <a:solidFill>
            <a:schemeClr val="tx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1000"/>
              </a:lnSpc>
            </a:pPr>
            <a:r>
              <a:rPr lang="da-DK" sz="2000" b="1" noProof="0" err="1">
                <a:solidFill>
                  <a:schemeClr val="bg1"/>
                </a:solidFill>
              </a:rPr>
              <a:t>Transparency</a:t>
            </a:r>
            <a:endParaRPr lang="da-DK" sz="2000" b="1" noProof="0">
              <a:solidFill>
                <a:schemeClr val="bg1"/>
              </a:solidFill>
            </a:endParaRPr>
          </a:p>
        </p:txBody>
      </p:sp>
      <p:sp>
        <p:nvSpPr>
          <p:cNvPr id="4" name="Ellipse 3">
            <a:extLst>
              <a:ext uri="{FF2B5EF4-FFF2-40B4-BE49-F238E27FC236}">
                <a16:creationId xmlns:a16="http://schemas.microsoft.com/office/drawing/2014/main" id="{1C0821C0-145E-45CE-9864-7A99FFAF36B5}"/>
              </a:ext>
            </a:extLst>
          </p:cNvPr>
          <p:cNvSpPr/>
          <p:nvPr/>
        </p:nvSpPr>
        <p:spPr>
          <a:xfrm>
            <a:off x="6621133" y="3681637"/>
            <a:ext cx="2631158" cy="257028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1000"/>
              </a:lnSpc>
            </a:pPr>
            <a:r>
              <a:rPr lang="da-DK" sz="2000" b="1" err="1">
                <a:solidFill>
                  <a:schemeClr val="bg1"/>
                </a:solidFill>
              </a:rPr>
              <a:t>Adapt</a:t>
            </a:r>
            <a:endParaRPr lang="da-DK" sz="2000" b="1" noProof="0">
              <a:solidFill>
                <a:schemeClr val="bg1"/>
              </a:solidFill>
            </a:endParaRPr>
          </a:p>
        </p:txBody>
      </p:sp>
      <p:sp>
        <p:nvSpPr>
          <p:cNvPr id="11" name="Ellipse 10">
            <a:extLst>
              <a:ext uri="{FF2B5EF4-FFF2-40B4-BE49-F238E27FC236}">
                <a16:creationId xmlns:a16="http://schemas.microsoft.com/office/drawing/2014/main" id="{E68C5F3B-9BA2-4E07-8793-CDE55F0B60C3}"/>
              </a:ext>
            </a:extLst>
          </p:cNvPr>
          <p:cNvSpPr/>
          <p:nvPr/>
        </p:nvSpPr>
        <p:spPr>
          <a:xfrm>
            <a:off x="9256966" y="2402679"/>
            <a:ext cx="2449026" cy="2449026"/>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11000"/>
              </a:lnSpc>
            </a:pPr>
            <a:r>
              <a:rPr lang="da-DK" sz="2000" b="1" noProof="0" err="1"/>
              <a:t>Inspect</a:t>
            </a:r>
            <a:endParaRPr lang="da-DK" sz="2000" b="1" noProof="0"/>
          </a:p>
        </p:txBody>
      </p:sp>
    </p:spTree>
    <p:custDataLst>
      <p:tags r:id="rId1"/>
    </p:custDataLst>
    <p:extLst>
      <p:ext uri="{BB962C8B-B14F-4D97-AF65-F5344CB8AC3E}">
        <p14:creationId xmlns:p14="http://schemas.microsoft.com/office/powerpoint/2010/main" val="3095979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p:cTn id="14" dur="500" fill="hold"/>
                                        <p:tgtEl>
                                          <p:spTgt spid="11"/>
                                        </p:tgtEl>
                                        <p:attrNameLst>
                                          <p:attrName>ppt_w</p:attrName>
                                        </p:attrNameLst>
                                      </p:cBhvr>
                                      <p:tavLst>
                                        <p:tav tm="0">
                                          <p:val>
                                            <p:fltVal val="0"/>
                                          </p:val>
                                        </p:tav>
                                        <p:tav tm="100000">
                                          <p:val>
                                            <p:strVal val="#ppt_w"/>
                                          </p:val>
                                        </p:tav>
                                      </p:tavLst>
                                    </p:anim>
                                    <p:anim calcmode="lin" valueType="num">
                                      <p:cBhvr>
                                        <p:cTn id="15" dur="500" fill="hold"/>
                                        <p:tgtEl>
                                          <p:spTgt spid="11"/>
                                        </p:tgtEl>
                                        <p:attrNameLst>
                                          <p:attrName>ppt_h</p:attrName>
                                        </p:attrNameLst>
                                      </p:cBhvr>
                                      <p:tavLst>
                                        <p:tav tm="0">
                                          <p:val>
                                            <p:fltVal val="0"/>
                                          </p:val>
                                        </p:tav>
                                        <p:tav tm="100000">
                                          <p:val>
                                            <p:strVal val="#ppt_h"/>
                                          </p:val>
                                        </p:tav>
                                      </p:tavLst>
                                    </p:anim>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anim calcmode="lin" valueType="num">
                                      <p:cBhvr>
                                        <p:cTn id="21" dur="500" fill="hold"/>
                                        <p:tgtEl>
                                          <p:spTgt spid="4"/>
                                        </p:tgtEl>
                                        <p:attrNameLst>
                                          <p:attrName>ppt_w</p:attrName>
                                        </p:attrNameLst>
                                      </p:cBhvr>
                                      <p:tavLst>
                                        <p:tav tm="0">
                                          <p:val>
                                            <p:fltVal val="0"/>
                                          </p:val>
                                        </p:tav>
                                        <p:tav tm="100000">
                                          <p:val>
                                            <p:strVal val="#ppt_w"/>
                                          </p:val>
                                        </p:tav>
                                      </p:tavLst>
                                    </p:anim>
                                    <p:anim calcmode="lin" valueType="num">
                                      <p:cBhvr>
                                        <p:cTn id="22" dur="500" fill="hold"/>
                                        <p:tgtEl>
                                          <p:spTgt spid="4"/>
                                        </p:tgtEl>
                                        <p:attrNameLst>
                                          <p:attrName>ppt_h</p:attrName>
                                        </p:attrNameLst>
                                      </p:cBhvr>
                                      <p:tavLst>
                                        <p:tav tm="0">
                                          <p:val>
                                            <p:fltVal val="0"/>
                                          </p:val>
                                        </p:tav>
                                        <p:tav tm="100000">
                                          <p:val>
                                            <p:strVal val="#ppt_h"/>
                                          </p:val>
                                        </p:tav>
                                      </p:tavLst>
                                    </p:anim>
                                    <p:animEffect transition="in" filter="fade">
                                      <p:cBhvr>
                                        <p:cTn id="2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4"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4149F90-C6FD-DB44-8181-44881574D6BD}"/>
              </a:ext>
            </a:extLst>
          </p:cNvPr>
          <p:cNvGrpSpPr/>
          <p:nvPr/>
        </p:nvGrpSpPr>
        <p:grpSpPr>
          <a:xfrm>
            <a:off x="2185972" y="1375534"/>
            <a:ext cx="7820055" cy="4549005"/>
            <a:chOff x="7548661" y="3200019"/>
            <a:chExt cx="11258450" cy="6549153"/>
          </a:xfrm>
        </p:grpSpPr>
        <p:sp>
          <p:nvSpPr>
            <p:cNvPr id="10" name="Freeform 9">
              <a:extLst>
                <a:ext uri="{FF2B5EF4-FFF2-40B4-BE49-F238E27FC236}">
                  <a16:creationId xmlns:a16="http://schemas.microsoft.com/office/drawing/2014/main" id="{41991216-F25F-7E40-8627-7183E7E37F97}"/>
                </a:ext>
              </a:extLst>
            </p:cNvPr>
            <p:cNvSpPr>
              <a:spLocks noChangeArrowheads="1"/>
            </p:cNvSpPr>
            <p:nvPr/>
          </p:nvSpPr>
          <p:spPr bwMode="auto">
            <a:xfrm>
              <a:off x="7548661" y="3640705"/>
              <a:ext cx="4259315" cy="4259315"/>
            </a:xfrm>
            <a:custGeom>
              <a:avLst/>
              <a:gdLst>
                <a:gd name="connsiteX0" fmla="*/ 2161235 w 4259315"/>
                <a:gd name="connsiteY0" fmla="*/ 911188 h 4259315"/>
                <a:gd name="connsiteX1" fmla="*/ 1808723 w 4259315"/>
                <a:gd name="connsiteY1" fmla="*/ 953335 h 4259315"/>
                <a:gd name="connsiteX2" fmla="*/ 920686 w 4259315"/>
                <a:gd name="connsiteY2" fmla="*/ 1976537 h 4259315"/>
                <a:gd name="connsiteX3" fmla="*/ 944193 w 4259315"/>
                <a:gd name="connsiteY3" fmla="*/ 2414678 h 4259315"/>
                <a:gd name="connsiteX4" fmla="*/ 1452775 w 4259315"/>
                <a:gd name="connsiteY4" fmla="*/ 3143778 h 4259315"/>
                <a:gd name="connsiteX5" fmla="*/ 1454574 w 4259315"/>
                <a:gd name="connsiteY5" fmla="*/ 3144794 h 4259315"/>
                <a:gd name="connsiteX6" fmla="*/ 1454797 w 4259315"/>
                <a:gd name="connsiteY6" fmla="*/ 3144969 h 4259315"/>
                <a:gd name="connsiteX7" fmla="*/ 1977915 w 4259315"/>
                <a:gd name="connsiteY7" fmla="*/ 3340424 h 4259315"/>
                <a:gd name="connsiteX8" fmla="*/ 2452632 w 4259315"/>
                <a:gd name="connsiteY8" fmla="*/ 3306478 h 4259315"/>
                <a:gd name="connsiteX9" fmla="*/ 3340686 w 4259315"/>
                <a:gd name="connsiteY9" fmla="*/ 2284182 h 4259315"/>
                <a:gd name="connsiteX10" fmla="*/ 3296936 w 4259315"/>
                <a:gd name="connsiteY10" fmla="*/ 1775645 h 4259315"/>
                <a:gd name="connsiteX11" fmla="*/ 2924411 w 4259315"/>
                <a:gd name="connsiteY11" fmla="*/ 1205336 h 4259315"/>
                <a:gd name="connsiteX12" fmla="*/ 2922962 w 4259315"/>
                <a:gd name="connsiteY12" fmla="*/ 1204261 h 4259315"/>
                <a:gd name="connsiteX13" fmla="*/ 2922362 w 4259315"/>
                <a:gd name="connsiteY13" fmla="*/ 1203667 h 4259315"/>
                <a:gd name="connsiteX14" fmla="*/ 2283432 w 4259315"/>
                <a:gd name="connsiteY14" fmla="*/ 920686 h 4259315"/>
                <a:gd name="connsiteX15" fmla="*/ 2161235 w 4259315"/>
                <a:gd name="connsiteY15" fmla="*/ 911188 h 4259315"/>
                <a:gd name="connsiteX16" fmla="*/ 2059463 w 4259315"/>
                <a:gd name="connsiteY16" fmla="*/ 0 h 4259315"/>
                <a:gd name="connsiteX17" fmla="*/ 2729409 w 4259315"/>
                <a:gd name="connsiteY17" fmla="*/ 85539 h 4259315"/>
                <a:gd name="connsiteX18" fmla="*/ 2711779 w 4259315"/>
                <a:gd name="connsiteY18" fmla="*/ 512581 h 4259315"/>
                <a:gd name="connsiteX19" fmla="*/ 3226972 w 4259315"/>
                <a:gd name="connsiteY19" fmla="*/ 806417 h 4259315"/>
                <a:gd name="connsiteX20" fmla="*/ 3585451 w 4259315"/>
                <a:gd name="connsiteY20" fmla="*/ 574613 h 4259315"/>
                <a:gd name="connsiteX21" fmla="*/ 4000086 w 4259315"/>
                <a:gd name="connsiteY21" fmla="*/ 1108088 h 4259315"/>
                <a:gd name="connsiteX22" fmla="*/ 3685356 w 4259315"/>
                <a:gd name="connsiteY22" fmla="*/ 1398006 h 4259315"/>
                <a:gd name="connsiteX23" fmla="*/ 3778077 w 4259315"/>
                <a:gd name="connsiteY23" fmla="*/ 1642217 h 4259315"/>
                <a:gd name="connsiteX24" fmla="*/ 3841415 w 4259315"/>
                <a:gd name="connsiteY24" fmla="*/ 1970007 h 4259315"/>
                <a:gd name="connsiteX25" fmla="*/ 4259315 w 4259315"/>
                <a:gd name="connsiteY25" fmla="*/ 2060117 h 4259315"/>
                <a:gd name="connsiteX26" fmla="*/ 4174429 w 4259315"/>
                <a:gd name="connsiteY26" fmla="*/ 2730062 h 4259315"/>
                <a:gd name="connsiteX27" fmla="*/ 3747388 w 4259315"/>
                <a:gd name="connsiteY27" fmla="*/ 2712432 h 4259315"/>
                <a:gd name="connsiteX28" fmla="*/ 3453552 w 4259315"/>
                <a:gd name="connsiteY28" fmla="*/ 3225666 h 4259315"/>
                <a:gd name="connsiteX29" fmla="*/ 3685356 w 4259315"/>
                <a:gd name="connsiteY29" fmla="*/ 3585451 h 4259315"/>
                <a:gd name="connsiteX30" fmla="*/ 3151227 w 4259315"/>
                <a:gd name="connsiteY30" fmla="*/ 3998781 h 4259315"/>
                <a:gd name="connsiteX31" fmla="*/ 2861309 w 4259315"/>
                <a:gd name="connsiteY31" fmla="*/ 3684703 h 4259315"/>
                <a:gd name="connsiteX32" fmla="*/ 2581838 w 4259315"/>
                <a:gd name="connsiteY32" fmla="*/ 3787872 h 4259315"/>
                <a:gd name="connsiteX33" fmla="*/ 2289308 w 4259315"/>
                <a:gd name="connsiteY33" fmla="*/ 3840762 h 4259315"/>
                <a:gd name="connsiteX34" fmla="*/ 2199852 w 4259315"/>
                <a:gd name="connsiteY34" fmla="*/ 4259315 h 4259315"/>
                <a:gd name="connsiteX35" fmla="*/ 1529906 w 4259315"/>
                <a:gd name="connsiteY35" fmla="*/ 4173123 h 4259315"/>
                <a:gd name="connsiteX36" fmla="*/ 1546883 w 4259315"/>
                <a:gd name="connsiteY36" fmla="*/ 3746082 h 4259315"/>
                <a:gd name="connsiteX37" fmla="*/ 1032997 w 4259315"/>
                <a:gd name="connsiteY37" fmla="*/ 3452246 h 4259315"/>
                <a:gd name="connsiteX38" fmla="*/ 673864 w 4259315"/>
                <a:gd name="connsiteY38" fmla="*/ 3684703 h 4259315"/>
                <a:gd name="connsiteX39" fmla="*/ 259882 w 4259315"/>
                <a:gd name="connsiteY39" fmla="*/ 3151227 h 4259315"/>
                <a:gd name="connsiteX40" fmla="*/ 573960 w 4259315"/>
                <a:gd name="connsiteY40" fmla="*/ 2860656 h 4259315"/>
                <a:gd name="connsiteX41" fmla="*/ 462302 w 4259315"/>
                <a:gd name="connsiteY41" fmla="*/ 2546578 h 4259315"/>
                <a:gd name="connsiteX42" fmla="*/ 417900 w 4259315"/>
                <a:gd name="connsiteY42" fmla="*/ 2289961 h 4259315"/>
                <a:gd name="connsiteX43" fmla="*/ 0 w 4259315"/>
                <a:gd name="connsiteY43" fmla="*/ 2200505 h 4259315"/>
                <a:gd name="connsiteX44" fmla="*/ 84886 w 4259315"/>
                <a:gd name="connsiteY44" fmla="*/ 1529906 h 4259315"/>
                <a:gd name="connsiteX45" fmla="*/ 511928 w 4259315"/>
                <a:gd name="connsiteY45" fmla="*/ 1546883 h 4259315"/>
                <a:gd name="connsiteX46" fmla="*/ 805764 w 4259315"/>
                <a:gd name="connsiteY46" fmla="*/ 1032997 h 4259315"/>
                <a:gd name="connsiteX47" fmla="*/ 573960 w 4259315"/>
                <a:gd name="connsiteY47" fmla="*/ 674517 h 4259315"/>
                <a:gd name="connsiteX48" fmla="*/ 1108088 w 4259315"/>
                <a:gd name="connsiteY48" fmla="*/ 259882 h 4259315"/>
                <a:gd name="connsiteX49" fmla="*/ 1398659 w 4259315"/>
                <a:gd name="connsiteY49" fmla="*/ 573960 h 4259315"/>
                <a:gd name="connsiteX50" fmla="*/ 1677477 w 4259315"/>
                <a:gd name="connsiteY50" fmla="*/ 470791 h 4259315"/>
                <a:gd name="connsiteX51" fmla="*/ 1970007 w 4259315"/>
                <a:gd name="connsiteY51" fmla="*/ 417900 h 425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259315" h="4259315">
                  <a:moveTo>
                    <a:pt x="2161235" y="911188"/>
                  </a:moveTo>
                  <a:cubicBezTo>
                    <a:pt x="2039874" y="907790"/>
                    <a:pt x="1921360" y="922482"/>
                    <a:pt x="1808723" y="953335"/>
                  </a:cubicBezTo>
                  <a:cubicBezTo>
                    <a:pt x="1347728" y="1078705"/>
                    <a:pt x="984677" y="1472445"/>
                    <a:pt x="920686" y="1976537"/>
                  </a:cubicBezTo>
                  <a:cubicBezTo>
                    <a:pt x="902403" y="2128025"/>
                    <a:pt x="910238" y="2276249"/>
                    <a:pt x="944193" y="2414678"/>
                  </a:cubicBezTo>
                  <a:cubicBezTo>
                    <a:pt x="1016019" y="2713412"/>
                    <a:pt x="1199310" y="2974140"/>
                    <a:pt x="1452775" y="3143778"/>
                  </a:cubicBezTo>
                  <a:lnTo>
                    <a:pt x="1454574" y="3144794"/>
                  </a:lnTo>
                  <a:lnTo>
                    <a:pt x="1454797" y="3144969"/>
                  </a:lnTo>
                  <a:cubicBezTo>
                    <a:pt x="1606880" y="3246726"/>
                    <a:pt x="1784225" y="3315699"/>
                    <a:pt x="1977915" y="3340424"/>
                  </a:cubicBezTo>
                  <a:cubicBezTo>
                    <a:pt x="2142466" y="3360661"/>
                    <a:pt x="2303100" y="3347605"/>
                    <a:pt x="2452632" y="3306478"/>
                  </a:cubicBezTo>
                  <a:cubicBezTo>
                    <a:pt x="2914289" y="3181139"/>
                    <a:pt x="3276694" y="2789455"/>
                    <a:pt x="3340686" y="2284182"/>
                  </a:cubicBezTo>
                  <a:cubicBezTo>
                    <a:pt x="3363540" y="2107924"/>
                    <a:pt x="3346562" y="1935583"/>
                    <a:pt x="3296936" y="1775645"/>
                  </a:cubicBezTo>
                  <a:cubicBezTo>
                    <a:pt x="3229352" y="1553364"/>
                    <a:pt x="3099083" y="1355400"/>
                    <a:pt x="2924411" y="1205336"/>
                  </a:cubicBezTo>
                  <a:lnTo>
                    <a:pt x="2922962" y="1204261"/>
                  </a:lnTo>
                  <a:lnTo>
                    <a:pt x="2922362" y="1203667"/>
                  </a:lnTo>
                  <a:cubicBezTo>
                    <a:pt x="2747692" y="1053565"/>
                    <a:pt x="2528621" y="951376"/>
                    <a:pt x="2283432" y="920686"/>
                  </a:cubicBezTo>
                  <a:cubicBezTo>
                    <a:pt x="2242458" y="915463"/>
                    <a:pt x="2201688" y="912320"/>
                    <a:pt x="2161235" y="911188"/>
                  </a:cubicBezTo>
                  <a:close/>
                  <a:moveTo>
                    <a:pt x="2059463" y="0"/>
                  </a:moveTo>
                  <a:lnTo>
                    <a:pt x="2729409" y="85539"/>
                  </a:lnTo>
                  <a:lnTo>
                    <a:pt x="2711779" y="512581"/>
                  </a:lnTo>
                  <a:cubicBezTo>
                    <a:pt x="2902446" y="580489"/>
                    <a:pt x="3075483" y="681700"/>
                    <a:pt x="3226972" y="806417"/>
                  </a:cubicBezTo>
                  <a:lnTo>
                    <a:pt x="3585451" y="574613"/>
                  </a:lnTo>
                  <a:lnTo>
                    <a:pt x="4000086" y="1108088"/>
                  </a:lnTo>
                  <a:lnTo>
                    <a:pt x="3685356" y="1398006"/>
                  </a:lnTo>
                  <a:cubicBezTo>
                    <a:pt x="3721922" y="1476362"/>
                    <a:pt x="3753264" y="1558637"/>
                    <a:pt x="3778077" y="1642217"/>
                  </a:cubicBezTo>
                  <a:cubicBezTo>
                    <a:pt x="3809420" y="1748650"/>
                    <a:pt x="3831620" y="1857696"/>
                    <a:pt x="3841415" y="1970007"/>
                  </a:cubicBezTo>
                  <a:lnTo>
                    <a:pt x="4259315" y="2060117"/>
                  </a:lnTo>
                  <a:lnTo>
                    <a:pt x="4174429" y="2730062"/>
                  </a:lnTo>
                  <a:lnTo>
                    <a:pt x="3747388" y="2712432"/>
                  </a:lnTo>
                  <a:cubicBezTo>
                    <a:pt x="3678826" y="2902446"/>
                    <a:pt x="3578269" y="3075483"/>
                    <a:pt x="3453552" y="3225666"/>
                  </a:cubicBezTo>
                  <a:lnTo>
                    <a:pt x="3685356" y="3585451"/>
                  </a:lnTo>
                  <a:lnTo>
                    <a:pt x="3151227" y="3998781"/>
                  </a:lnTo>
                  <a:lnTo>
                    <a:pt x="2861309" y="3684703"/>
                  </a:lnTo>
                  <a:cubicBezTo>
                    <a:pt x="2771852" y="3726493"/>
                    <a:pt x="2678478" y="3761100"/>
                    <a:pt x="2581838" y="3787872"/>
                  </a:cubicBezTo>
                  <a:cubicBezTo>
                    <a:pt x="2487158" y="3813338"/>
                    <a:pt x="2389866" y="3831621"/>
                    <a:pt x="2289308" y="3840762"/>
                  </a:cubicBezTo>
                  <a:lnTo>
                    <a:pt x="2199852" y="4259315"/>
                  </a:lnTo>
                  <a:lnTo>
                    <a:pt x="1529906" y="4173123"/>
                  </a:lnTo>
                  <a:lnTo>
                    <a:pt x="1546883" y="3746082"/>
                  </a:lnTo>
                  <a:cubicBezTo>
                    <a:pt x="1356869" y="3678173"/>
                    <a:pt x="1183832" y="3578269"/>
                    <a:pt x="1032997" y="3452246"/>
                  </a:cubicBezTo>
                  <a:lnTo>
                    <a:pt x="673864" y="3684703"/>
                  </a:lnTo>
                  <a:lnTo>
                    <a:pt x="259882" y="3151227"/>
                  </a:lnTo>
                  <a:lnTo>
                    <a:pt x="573960" y="2860656"/>
                  </a:lnTo>
                  <a:cubicBezTo>
                    <a:pt x="526946" y="2761405"/>
                    <a:pt x="488421" y="2655624"/>
                    <a:pt x="462302" y="2546578"/>
                  </a:cubicBezTo>
                  <a:cubicBezTo>
                    <a:pt x="441407" y="2462998"/>
                    <a:pt x="426389" y="2377459"/>
                    <a:pt x="417900" y="2289961"/>
                  </a:cubicBezTo>
                  <a:lnTo>
                    <a:pt x="0" y="2200505"/>
                  </a:lnTo>
                  <a:lnTo>
                    <a:pt x="84886" y="1529906"/>
                  </a:lnTo>
                  <a:lnTo>
                    <a:pt x="511928" y="1546883"/>
                  </a:lnTo>
                  <a:cubicBezTo>
                    <a:pt x="580489" y="1356869"/>
                    <a:pt x="681047" y="1184485"/>
                    <a:pt x="805764" y="1032997"/>
                  </a:cubicBezTo>
                  <a:lnTo>
                    <a:pt x="573960" y="674517"/>
                  </a:lnTo>
                  <a:lnTo>
                    <a:pt x="1108088" y="259882"/>
                  </a:lnTo>
                  <a:lnTo>
                    <a:pt x="1398659" y="573960"/>
                  </a:lnTo>
                  <a:cubicBezTo>
                    <a:pt x="1487463" y="532170"/>
                    <a:pt x="1580184" y="497562"/>
                    <a:pt x="1677477" y="470791"/>
                  </a:cubicBezTo>
                  <a:cubicBezTo>
                    <a:pt x="1771504" y="445325"/>
                    <a:pt x="1869450" y="427042"/>
                    <a:pt x="1970007" y="417900"/>
                  </a:cubicBezTo>
                  <a:close/>
                </a:path>
              </a:pathLst>
            </a:custGeom>
            <a:solidFill>
              <a:schemeClr val="accent1"/>
            </a:solidFill>
            <a:ln>
              <a:noFill/>
            </a:ln>
            <a:effectLst/>
          </p:spPr>
          <p:txBody>
            <a:bodyPr wrap="square" anchor="ctr">
              <a:noAutofit/>
            </a:bodyPr>
            <a:lstStyle/>
            <a:p>
              <a:endParaRPr lang="en-US" sz="3266">
                <a:latin typeface="Lato Light" panose="020F0502020204030203" pitchFamily="34" charset="0"/>
              </a:endParaRPr>
            </a:p>
          </p:txBody>
        </p:sp>
        <p:sp>
          <p:nvSpPr>
            <p:cNvPr id="13" name="Freeform 12">
              <a:extLst>
                <a:ext uri="{FF2B5EF4-FFF2-40B4-BE49-F238E27FC236}">
                  <a16:creationId xmlns:a16="http://schemas.microsoft.com/office/drawing/2014/main" id="{F3CD55D1-7470-334B-9DA6-8BB67DC3313F}"/>
                </a:ext>
              </a:extLst>
            </p:cNvPr>
            <p:cNvSpPr>
              <a:spLocks noChangeArrowheads="1"/>
            </p:cNvSpPr>
            <p:nvPr/>
          </p:nvSpPr>
          <p:spPr bwMode="auto">
            <a:xfrm>
              <a:off x="14547796" y="5144223"/>
              <a:ext cx="4259315" cy="4259315"/>
            </a:xfrm>
            <a:custGeom>
              <a:avLst/>
              <a:gdLst>
                <a:gd name="connsiteX0" fmla="*/ 2161060 w 4259315"/>
                <a:gd name="connsiteY0" fmla="*/ 910950 h 4259315"/>
                <a:gd name="connsiteX1" fmla="*/ 1808625 w 4259315"/>
                <a:gd name="connsiteY1" fmla="*/ 952828 h 4259315"/>
                <a:gd name="connsiteX2" fmla="*/ 920315 w 4259315"/>
                <a:gd name="connsiteY2" fmla="*/ 1975533 h 4259315"/>
                <a:gd name="connsiteX3" fmla="*/ 923438 w 4259315"/>
                <a:gd name="connsiteY3" fmla="*/ 2308721 h 4259315"/>
                <a:gd name="connsiteX4" fmla="*/ 923448 w 4259315"/>
                <a:gd name="connsiteY4" fmla="*/ 2308774 h 4259315"/>
                <a:gd name="connsiteX5" fmla="*/ 923587 w 4259315"/>
                <a:gd name="connsiteY5" fmla="*/ 2310138 h 4259315"/>
                <a:gd name="connsiteX6" fmla="*/ 944620 w 4259315"/>
                <a:gd name="connsiteY6" fmla="*/ 2416451 h 4259315"/>
                <a:gd name="connsiteX7" fmla="*/ 1976056 w 4259315"/>
                <a:gd name="connsiteY7" fmla="*/ 3340418 h 4259315"/>
                <a:gd name="connsiteX8" fmla="*/ 2449341 w 4259315"/>
                <a:gd name="connsiteY8" fmla="*/ 3307116 h 4259315"/>
                <a:gd name="connsiteX9" fmla="*/ 3042987 w 4259315"/>
                <a:gd name="connsiteY9" fmla="*/ 2937448 h 4259315"/>
                <a:gd name="connsiteX10" fmla="*/ 3043975 w 4259315"/>
                <a:gd name="connsiteY10" fmla="*/ 2936152 h 4259315"/>
                <a:gd name="connsiteX11" fmla="*/ 3044013 w 4259315"/>
                <a:gd name="connsiteY11" fmla="*/ 2936116 h 4259315"/>
                <a:gd name="connsiteX12" fmla="*/ 3339653 w 4259315"/>
                <a:gd name="connsiteY12" fmla="*/ 2281823 h 4259315"/>
                <a:gd name="connsiteX13" fmla="*/ 3295891 w 4259315"/>
                <a:gd name="connsiteY13" fmla="*/ 1773735 h 4259315"/>
                <a:gd name="connsiteX14" fmla="*/ 2282825 w 4259315"/>
                <a:gd name="connsiteY14" fmla="*/ 920174 h 4259315"/>
                <a:gd name="connsiteX15" fmla="*/ 2161060 w 4259315"/>
                <a:gd name="connsiteY15" fmla="*/ 910950 h 4259315"/>
                <a:gd name="connsiteX16" fmla="*/ 2058789 w 4259315"/>
                <a:gd name="connsiteY16" fmla="*/ 0 h 4259315"/>
                <a:gd name="connsiteX17" fmla="*/ 2730247 w 4259315"/>
                <a:gd name="connsiteY17" fmla="*/ 84899 h 4259315"/>
                <a:gd name="connsiteX18" fmla="*/ 2712611 w 4259315"/>
                <a:gd name="connsiteY18" fmla="*/ 512659 h 4259315"/>
                <a:gd name="connsiteX19" fmla="*/ 3226655 w 4259315"/>
                <a:gd name="connsiteY19" fmla="*/ 805887 h 4259315"/>
                <a:gd name="connsiteX20" fmla="*/ 3585897 w 4259315"/>
                <a:gd name="connsiteY20" fmla="*/ 574701 h 4259315"/>
                <a:gd name="connsiteX21" fmla="*/ 4000007 w 4259315"/>
                <a:gd name="connsiteY21" fmla="*/ 1108258 h 4259315"/>
                <a:gd name="connsiteX22" fmla="*/ 3685833 w 4259315"/>
                <a:gd name="connsiteY22" fmla="*/ 1397567 h 4259315"/>
                <a:gd name="connsiteX23" fmla="*/ 3778583 w 4259315"/>
                <a:gd name="connsiteY23" fmla="*/ 1642468 h 4259315"/>
                <a:gd name="connsiteX24" fmla="*/ 3841939 w 4259315"/>
                <a:gd name="connsiteY24" fmla="*/ 1969656 h 4259315"/>
                <a:gd name="connsiteX25" fmla="*/ 4259315 w 4259315"/>
                <a:gd name="connsiteY25" fmla="*/ 2059126 h 4259315"/>
                <a:gd name="connsiteX26" fmla="*/ 4174403 w 4259315"/>
                <a:gd name="connsiteY26" fmla="*/ 2729175 h 4259315"/>
                <a:gd name="connsiteX27" fmla="*/ 3747883 w 4259315"/>
                <a:gd name="connsiteY27" fmla="*/ 2711542 h 4259315"/>
                <a:gd name="connsiteX28" fmla="*/ 3453305 w 4259315"/>
                <a:gd name="connsiteY28" fmla="*/ 3226160 h 4259315"/>
                <a:gd name="connsiteX29" fmla="*/ 3685833 w 4259315"/>
                <a:gd name="connsiteY29" fmla="*/ 3585348 h 4259315"/>
                <a:gd name="connsiteX30" fmla="*/ 3150887 w 4259315"/>
                <a:gd name="connsiteY30" fmla="*/ 3999394 h 4259315"/>
                <a:gd name="connsiteX31" fmla="*/ 2861533 w 4259315"/>
                <a:gd name="connsiteY31" fmla="*/ 3685268 h 4259315"/>
                <a:gd name="connsiteX32" fmla="*/ 2581323 w 4259315"/>
                <a:gd name="connsiteY32" fmla="*/ 3787799 h 4259315"/>
                <a:gd name="connsiteX33" fmla="*/ 2290011 w 4259315"/>
                <a:gd name="connsiteY33" fmla="*/ 3841351 h 4259315"/>
                <a:gd name="connsiteX34" fmla="*/ 2200526 w 4259315"/>
                <a:gd name="connsiteY34" fmla="*/ 4259315 h 4259315"/>
                <a:gd name="connsiteX35" fmla="*/ 1529722 w 4259315"/>
                <a:gd name="connsiteY35" fmla="*/ 4173763 h 4259315"/>
                <a:gd name="connsiteX36" fmla="*/ 1546704 w 4259315"/>
                <a:gd name="connsiteY36" fmla="*/ 3747309 h 4259315"/>
                <a:gd name="connsiteX37" fmla="*/ 1032660 w 4259315"/>
                <a:gd name="connsiteY37" fmla="*/ 3452775 h 4259315"/>
                <a:gd name="connsiteX38" fmla="*/ 672764 w 4259315"/>
                <a:gd name="connsiteY38" fmla="*/ 3685268 h 4259315"/>
                <a:gd name="connsiteX39" fmla="*/ 259961 w 4259315"/>
                <a:gd name="connsiteY39" fmla="*/ 3151057 h 4259315"/>
                <a:gd name="connsiteX40" fmla="*/ 574135 w 4259315"/>
                <a:gd name="connsiteY40" fmla="*/ 2861095 h 4259315"/>
                <a:gd name="connsiteX41" fmla="*/ 461790 w 4259315"/>
                <a:gd name="connsiteY41" fmla="*/ 2546316 h 4259315"/>
                <a:gd name="connsiteX42" fmla="*/ 417375 w 4259315"/>
                <a:gd name="connsiteY42" fmla="*/ 2290313 h 4259315"/>
                <a:gd name="connsiteX43" fmla="*/ 0 w 4259315"/>
                <a:gd name="connsiteY43" fmla="*/ 2199536 h 4259315"/>
                <a:gd name="connsiteX44" fmla="*/ 84912 w 4259315"/>
                <a:gd name="connsiteY44" fmla="*/ 1529487 h 4259315"/>
                <a:gd name="connsiteX45" fmla="*/ 512084 w 4259315"/>
                <a:gd name="connsiteY45" fmla="*/ 1547120 h 4259315"/>
                <a:gd name="connsiteX46" fmla="*/ 806011 w 4259315"/>
                <a:gd name="connsiteY46" fmla="*/ 1032502 h 4259315"/>
                <a:gd name="connsiteX47" fmla="*/ 573482 w 4259315"/>
                <a:gd name="connsiteY47" fmla="*/ 673967 h 4259315"/>
                <a:gd name="connsiteX48" fmla="*/ 1107775 w 4259315"/>
                <a:gd name="connsiteY48" fmla="*/ 259269 h 4259315"/>
                <a:gd name="connsiteX49" fmla="*/ 1397782 w 4259315"/>
                <a:gd name="connsiteY49" fmla="*/ 574701 h 4259315"/>
                <a:gd name="connsiteX50" fmla="*/ 1677338 w 4259315"/>
                <a:gd name="connsiteY50" fmla="*/ 471516 h 4259315"/>
                <a:gd name="connsiteX51" fmla="*/ 1969304 w 4259315"/>
                <a:gd name="connsiteY51" fmla="*/ 417311 h 4259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259315" h="4259315">
                  <a:moveTo>
                    <a:pt x="2161060" y="910950"/>
                  </a:moveTo>
                  <a:cubicBezTo>
                    <a:pt x="2040092" y="907644"/>
                    <a:pt x="1921787" y="921970"/>
                    <a:pt x="1808625" y="952828"/>
                  </a:cubicBezTo>
                  <a:cubicBezTo>
                    <a:pt x="1346834" y="1078870"/>
                    <a:pt x="983672" y="1472017"/>
                    <a:pt x="920315" y="1975533"/>
                  </a:cubicBezTo>
                  <a:cubicBezTo>
                    <a:pt x="906109" y="2089167"/>
                    <a:pt x="907333" y="2200965"/>
                    <a:pt x="923438" y="2308721"/>
                  </a:cubicBezTo>
                  <a:lnTo>
                    <a:pt x="923448" y="2308774"/>
                  </a:lnTo>
                  <a:lnTo>
                    <a:pt x="923587" y="2310138"/>
                  </a:lnTo>
                  <a:cubicBezTo>
                    <a:pt x="928953" y="2346052"/>
                    <a:pt x="935970" y="2381517"/>
                    <a:pt x="944620" y="2416451"/>
                  </a:cubicBezTo>
                  <a:cubicBezTo>
                    <a:pt x="1059514" y="2894433"/>
                    <a:pt x="1459032" y="3274468"/>
                    <a:pt x="1976056" y="3340418"/>
                  </a:cubicBezTo>
                  <a:cubicBezTo>
                    <a:pt x="2139258" y="3360661"/>
                    <a:pt x="2300501" y="3348254"/>
                    <a:pt x="2449341" y="3307116"/>
                  </a:cubicBezTo>
                  <a:cubicBezTo>
                    <a:pt x="2680109" y="3244104"/>
                    <a:pt x="2886397" y="3114487"/>
                    <a:pt x="3042987" y="2937448"/>
                  </a:cubicBezTo>
                  <a:lnTo>
                    <a:pt x="3043975" y="2936152"/>
                  </a:lnTo>
                  <a:lnTo>
                    <a:pt x="3044013" y="2936116"/>
                  </a:lnTo>
                  <a:cubicBezTo>
                    <a:pt x="3200691" y="2759053"/>
                    <a:pt x="3307649" y="2534561"/>
                    <a:pt x="3339653" y="2281823"/>
                  </a:cubicBezTo>
                  <a:cubicBezTo>
                    <a:pt x="3361861" y="2105494"/>
                    <a:pt x="3345531" y="1933737"/>
                    <a:pt x="3295891" y="1773735"/>
                  </a:cubicBezTo>
                  <a:cubicBezTo>
                    <a:pt x="3160685" y="1329648"/>
                    <a:pt x="2774661" y="982869"/>
                    <a:pt x="2282825" y="920174"/>
                  </a:cubicBezTo>
                  <a:cubicBezTo>
                    <a:pt x="2242003" y="915113"/>
                    <a:pt x="2201383" y="912052"/>
                    <a:pt x="2161060" y="910950"/>
                  </a:cubicBezTo>
                  <a:close/>
                  <a:moveTo>
                    <a:pt x="2058789" y="0"/>
                  </a:moveTo>
                  <a:lnTo>
                    <a:pt x="2730247" y="84899"/>
                  </a:lnTo>
                  <a:lnTo>
                    <a:pt x="2712611" y="512659"/>
                  </a:lnTo>
                  <a:cubicBezTo>
                    <a:pt x="2902029" y="581231"/>
                    <a:pt x="3075773" y="681151"/>
                    <a:pt x="3226655" y="805887"/>
                  </a:cubicBezTo>
                  <a:lnTo>
                    <a:pt x="3585897" y="574701"/>
                  </a:lnTo>
                  <a:lnTo>
                    <a:pt x="4000007" y="1108258"/>
                  </a:lnTo>
                  <a:lnTo>
                    <a:pt x="3685833" y="1397567"/>
                  </a:lnTo>
                  <a:cubicBezTo>
                    <a:pt x="3722409" y="1476589"/>
                    <a:pt x="3754415" y="1557569"/>
                    <a:pt x="3778583" y="1642468"/>
                  </a:cubicBezTo>
                  <a:cubicBezTo>
                    <a:pt x="3809935" y="1747612"/>
                    <a:pt x="3831489" y="1857328"/>
                    <a:pt x="3841939" y="1969656"/>
                  </a:cubicBezTo>
                  <a:lnTo>
                    <a:pt x="4259315" y="2059126"/>
                  </a:lnTo>
                  <a:lnTo>
                    <a:pt x="4174403" y="2729175"/>
                  </a:lnTo>
                  <a:lnTo>
                    <a:pt x="3747883" y="2711542"/>
                  </a:lnTo>
                  <a:cubicBezTo>
                    <a:pt x="3679301" y="2902238"/>
                    <a:pt x="3578713" y="3075301"/>
                    <a:pt x="3453305" y="3226160"/>
                  </a:cubicBezTo>
                  <a:lnTo>
                    <a:pt x="3685833" y="3585348"/>
                  </a:lnTo>
                  <a:lnTo>
                    <a:pt x="3150887" y="3999394"/>
                  </a:lnTo>
                  <a:lnTo>
                    <a:pt x="2861533" y="3685268"/>
                  </a:lnTo>
                  <a:cubicBezTo>
                    <a:pt x="2772049" y="3727717"/>
                    <a:pt x="2678645" y="3761676"/>
                    <a:pt x="2581323" y="3787799"/>
                  </a:cubicBezTo>
                  <a:cubicBezTo>
                    <a:pt x="2487267" y="3814575"/>
                    <a:pt x="2389945" y="3832208"/>
                    <a:pt x="2290011" y="3841351"/>
                  </a:cubicBezTo>
                  <a:lnTo>
                    <a:pt x="2200526" y="4259315"/>
                  </a:lnTo>
                  <a:lnTo>
                    <a:pt x="1529722" y="4173763"/>
                  </a:lnTo>
                  <a:lnTo>
                    <a:pt x="1546704" y="3747309"/>
                  </a:lnTo>
                  <a:cubicBezTo>
                    <a:pt x="1356632" y="3678737"/>
                    <a:pt x="1182889" y="3578817"/>
                    <a:pt x="1032660" y="3452775"/>
                  </a:cubicBezTo>
                  <a:lnTo>
                    <a:pt x="672764" y="3685268"/>
                  </a:lnTo>
                  <a:lnTo>
                    <a:pt x="259961" y="3151057"/>
                  </a:lnTo>
                  <a:lnTo>
                    <a:pt x="574135" y="2861095"/>
                  </a:lnTo>
                  <a:cubicBezTo>
                    <a:pt x="525801" y="2760522"/>
                    <a:pt x="488570" y="2655378"/>
                    <a:pt x="461790" y="2546316"/>
                  </a:cubicBezTo>
                  <a:cubicBezTo>
                    <a:pt x="440236" y="2462723"/>
                    <a:pt x="425866" y="2377171"/>
                    <a:pt x="417375" y="2290313"/>
                  </a:cubicBezTo>
                  <a:lnTo>
                    <a:pt x="0" y="2199536"/>
                  </a:lnTo>
                  <a:lnTo>
                    <a:pt x="84912" y="1529487"/>
                  </a:lnTo>
                  <a:lnTo>
                    <a:pt x="512084" y="1547120"/>
                  </a:lnTo>
                  <a:cubicBezTo>
                    <a:pt x="580667" y="1356424"/>
                    <a:pt x="680602" y="1184014"/>
                    <a:pt x="806011" y="1032502"/>
                  </a:cubicBezTo>
                  <a:lnTo>
                    <a:pt x="573482" y="673967"/>
                  </a:lnTo>
                  <a:lnTo>
                    <a:pt x="1107775" y="259269"/>
                  </a:lnTo>
                  <a:lnTo>
                    <a:pt x="1397782" y="574701"/>
                  </a:lnTo>
                  <a:cubicBezTo>
                    <a:pt x="1487266" y="532251"/>
                    <a:pt x="1580669" y="496986"/>
                    <a:pt x="1677338" y="471516"/>
                  </a:cubicBezTo>
                  <a:cubicBezTo>
                    <a:pt x="1772047" y="445393"/>
                    <a:pt x="1869370" y="427760"/>
                    <a:pt x="1969304" y="417311"/>
                  </a:cubicBezTo>
                  <a:close/>
                </a:path>
              </a:pathLst>
            </a:custGeom>
            <a:solidFill>
              <a:schemeClr val="accent4"/>
            </a:solidFill>
            <a:ln>
              <a:noFill/>
            </a:ln>
            <a:effectLst/>
          </p:spPr>
          <p:txBody>
            <a:bodyPr wrap="square" anchor="ctr">
              <a:noAutofit/>
            </a:bodyPr>
            <a:lstStyle/>
            <a:p>
              <a:endParaRPr lang="en-US" sz="3266">
                <a:latin typeface="Lato Light" panose="020F0502020204030203" pitchFamily="34" charset="0"/>
              </a:endParaRPr>
            </a:p>
          </p:txBody>
        </p:sp>
        <p:sp>
          <p:nvSpPr>
            <p:cNvPr id="11" name="Freeform 10">
              <a:extLst>
                <a:ext uri="{FF2B5EF4-FFF2-40B4-BE49-F238E27FC236}">
                  <a16:creationId xmlns:a16="http://schemas.microsoft.com/office/drawing/2014/main" id="{BD287F1C-6F8E-894C-B95C-EA4E956578D3}"/>
                </a:ext>
              </a:extLst>
            </p:cNvPr>
            <p:cNvSpPr>
              <a:spLocks noChangeArrowheads="1"/>
            </p:cNvSpPr>
            <p:nvPr/>
          </p:nvSpPr>
          <p:spPr bwMode="auto">
            <a:xfrm>
              <a:off x="12076495" y="3200019"/>
              <a:ext cx="3144637" cy="3147517"/>
            </a:xfrm>
            <a:custGeom>
              <a:avLst/>
              <a:gdLst>
                <a:gd name="connsiteX0" fmla="*/ 1594922 w 3144637"/>
                <a:gd name="connsiteY0" fmla="*/ 673134 h 3147517"/>
                <a:gd name="connsiteX1" fmla="*/ 1334920 w 3144637"/>
                <a:gd name="connsiteY1" fmla="*/ 703732 h 3147517"/>
                <a:gd name="connsiteX2" fmla="*/ 679215 w 3144637"/>
                <a:gd name="connsiteY2" fmla="*/ 1460390 h 3147517"/>
                <a:gd name="connsiteX3" fmla="*/ 697502 w 3144637"/>
                <a:gd name="connsiteY3" fmla="*/ 1784486 h 3147517"/>
                <a:gd name="connsiteX4" fmla="*/ 1458354 w 3144637"/>
                <a:gd name="connsiteY4" fmla="*/ 2467308 h 3147517"/>
                <a:gd name="connsiteX5" fmla="*/ 1637628 w 3144637"/>
                <a:gd name="connsiteY5" fmla="*/ 2472127 h 3147517"/>
                <a:gd name="connsiteX6" fmla="*/ 1638646 w 3144637"/>
                <a:gd name="connsiteY6" fmla="*/ 2472005 h 3147517"/>
                <a:gd name="connsiteX7" fmla="*/ 1640663 w 3144637"/>
                <a:gd name="connsiteY7" fmla="*/ 2471960 h 3147517"/>
                <a:gd name="connsiteX8" fmla="*/ 1812154 w 3144637"/>
                <a:gd name="connsiteY8" fmla="*/ 2442970 h 3147517"/>
                <a:gd name="connsiteX9" fmla="*/ 2468064 w 3144637"/>
                <a:gd name="connsiteY9" fmla="*/ 1687106 h 3147517"/>
                <a:gd name="connsiteX10" fmla="*/ 2436052 w 3144637"/>
                <a:gd name="connsiteY10" fmla="*/ 1310807 h 3147517"/>
                <a:gd name="connsiteX11" fmla="*/ 1688028 w 3144637"/>
                <a:gd name="connsiteY11" fmla="*/ 679722 h 3147517"/>
                <a:gd name="connsiteX12" fmla="*/ 1597944 w 3144637"/>
                <a:gd name="connsiteY12" fmla="*/ 673301 h 3147517"/>
                <a:gd name="connsiteX13" fmla="*/ 1597438 w 3144637"/>
                <a:gd name="connsiteY13" fmla="*/ 673313 h 3147517"/>
                <a:gd name="connsiteX14" fmla="*/ 1519745 w 3144637"/>
                <a:gd name="connsiteY14" fmla="*/ 0 h 3147517"/>
                <a:gd name="connsiteX15" fmla="*/ 2014788 w 3144637"/>
                <a:gd name="connsiteY15" fmla="*/ 62728 h 3147517"/>
                <a:gd name="connsiteX16" fmla="*/ 2002379 w 3144637"/>
                <a:gd name="connsiteY16" fmla="*/ 378983 h 3147517"/>
                <a:gd name="connsiteX17" fmla="*/ 2382479 w 3144637"/>
                <a:gd name="connsiteY17" fmla="*/ 595918 h 3147517"/>
                <a:gd name="connsiteX18" fmla="*/ 2646981 w 3144637"/>
                <a:gd name="connsiteY18" fmla="*/ 424069 h 3147517"/>
                <a:gd name="connsiteX19" fmla="*/ 2953281 w 3144637"/>
                <a:gd name="connsiteY19" fmla="*/ 818080 h 3147517"/>
                <a:gd name="connsiteX20" fmla="*/ 2720780 w 3144637"/>
                <a:gd name="connsiteY20" fmla="*/ 1033055 h 3147517"/>
                <a:gd name="connsiteX21" fmla="*/ 2788702 w 3144637"/>
                <a:gd name="connsiteY21" fmla="*/ 1213398 h 3147517"/>
                <a:gd name="connsiteX22" fmla="*/ 2835724 w 3144637"/>
                <a:gd name="connsiteY22" fmla="*/ 1455816 h 3147517"/>
                <a:gd name="connsiteX23" fmla="*/ 3144637 w 3144637"/>
                <a:gd name="connsiteY23" fmla="*/ 1521158 h 3147517"/>
                <a:gd name="connsiteX24" fmla="*/ 3081940 w 3144637"/>
                <a:gd name="connsiteY24" fmla="*/ 2017103 h 3147517"/>
                <a:gd name="connsiteX25" fmla="*/ 2766497 w 3144637"/>
                <a:gd name="connsiteY25" fmla="*/ 2004035 h 3147517"/>
                <a:gd name="connsiteX26" fmla="*/ 2549670 w 3144637"/>
                <a:gd name="connsiteY26" fmla="*/ 2384324 h 3147517"/>
                <a:gd name="connsiteX27" fmla="*/ 2720780 w 3144637"/>
                <a:gd name="connsiteY27" fmla="*/ 2649612 h 3147517"/>
                <a:gd name="connsiteX28" fmla="*/ 2326313 w 3144637"/>
                <a:gd name="connsiteY28" fmla="*/ 2955412 h 3147517"/>
                <a:gd name="connsiteX29" fmla="*/ 2112099 w 3144637"/>
                <a:gd name="connsiteY29" fmla="*/ 2722795 h 3147517"/>
                <a:gd name="connsiteX30" fmla="*/ 1906375 w 3144637"/>
                <a:gd name="connsiteY30" fmla="*/ 2799245 h 3147517"/>
                <a:gd name="connsiteX31" fmla="*/ 1690202 w 3144637"/>
                <a:gd name="connsiteY31" fmla="*/ 2839103 h 3147517"/>
                <a:gd name="connsiteX32" fmla="*/ 1623586 w 3144637"/>
                <a:gd name="connsiteY32" fmla="*/ 3147517 h 3147517"/>
                <a:gd name="connsiteX33" fmla="*/ 1129196 w 3144637"/>
                <a:gd name="connsiteY33" fmla="*/ 3083482 h 3147517"/>
                <a:gd name="connsiteX34" fmla="*/ 1141604 w 3144637"/>
                <a:gd name="connsiteY34" fmla="*/ 2768534 h 3147517"/>
                <a:gd name="connsiteX35" fmla="*/ 762811 w 3144637"/>
                <a:gd name="connsiteY35" fmla="*/ 2552253 h 3147517"/>
                <a:gd name="connsiteX36" fmla="*/ 497003 w 3144637"/>
                <a:gd name="connsiteY36" fmla="*/ 2723448 h 3147517"/>
                <a:gd name="connsiteX37" fmla="*/ 192009 w 3144637"/>
                <a:gd name="connsiteY37" fmla="*/ 2328783 h 3147517"/>
                <a:gd name="connsiteX38" fmla="*/ 423857 w 3144637"/>
                <a:gd name="connsiteY38" fmla="*/ 2114462 h 3147517"/>
                <a:gd name="connsiteX39" fmla="*/ 340914 w 3144637"/>
                <a:gd name="connsiteY39" fmla="*/ 1881845 h 3147517"/>
                <a:gd name="connsiteX40" fmla="*/ 308259 w 3144637"/>
                <a:gd name="connsiteY40" fmla="*/ 1692354 h 3147517"/>
                <a:gd name="connsiteX41" fmla="*/ 0 w 3144637"/>
                <a:gd name="connsiteY41" fmla="*/ 1626359 h 3147517"/>
                <a:gd name="connsiteX42" fmla="*/ 62697 w 3144637"/>
                <a:gd name="connsiteY42" fmla="*/ 1129761 h 3147517"/>
                <a:gd name="connsiteX43" fmla="*/ 378140 w 3144637"/>
                <a:gd name="connsiteY43" fmla="*/ 1143482 h 3147517"/>
                <a:gd name="connsiteX44" fmla="*/ 594967 w 3144637"/>
                <a:gd name="connsiteY44" fmla="*/ 763193 h 3147517"/>
                <a:gd name="connsiteX45" fmla="*/ 423857 w 3144637"/>
                <a:gd name="connsiteY45" fmla="*/ 498558 h 3147517"/>
                <a:gd name="connsiteX46" fmla="*/ 818324 w 3144637"/>
                <a:gd name="connsiteY46" fmla="*/ 192105 h 3147517"/>
                <a:gd name="connsiteX47" fmla="*/ 1031885 w 3144637"/>
                <a:gd name="connsiteY47" fmla="*/ 424069 h 3147517"/>
                <a:gd name="connsiteX48" fmla="*/ 1238262 w 3144637"/>
                <a:gd name="connsiteY48" fmla="*/ 348272 h 3147517"/>
                <a:gd name="connsiteX49" fmla="*/ 1453129 w 3144637"/>
                <a:gd name="connsiteY49" fmla="*/ 308414 h 314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144637" h="3147517">
                  <a:moveTo>
                    <a:pt x="1594922" y="673134"/>
                  </a:moveTo>
                  <a:cubicBezTo>
                    <a:pt x="1505499" y="671020"/>
                    <a:pt x="1418189" y="681679"/>
                    <a:pt x="1334920" y="703732"/>
                  </a:cubicBezTo>
                  <a:cubicBezTo>
                    <a:pt x="994006" y="797171"/>
                    <a:pt x="726891" y="1087288"/>
                    <a:pt x="679215" y="1460390"/>
                  </a:cubicBezTo>
                  <a:cubicBezTo>
                    <a:pt x="665500" y="1572778"/>
                    <a:pt x="672031" y="1681246"/>
                    <a:pt x="697502" y="1784486"/>
                  </a:cubicBezTo>
                  <a:cubicBezTo>
                    <a:pt x="782404" y="2137985"/>
                    <a:pt x="1076948" y="2418955"/>
                    <a:pt x="1458354" y="2467308"/>
                  </a:cubicBezTo>
                  <a:cubicBezTo>
                    <a:pt x="1519092" y="2474822"/>
                    <a:pt x="1579013" y="2476293"/>
                    <a:pt x="1637628" y="2472127"/>
                  </a:cubicBezTo>
                  <a:lnTo>
                    <a:pt x="1638646" y="2472005"/>
                  </a:lnTo>
                  <a:lnTo>
                    <a:pt x="1640663" y="2471960"/>
                  </a:lnTo>
                  <a:cubicBezTo>
                    <a:pt x="1699297" y="2467795"/>
                    <a:pt x="1756624" y="2457996"/>
                    <a:pt x="1812154" y="2442970"/>
                  </a:cubicBezTo>
                  <a:cubicBezTo>
                    <a:pt x="2153175" y="2349549"/>
                    <a:pt x="2421027" y="2060138"/>
                    <a:pt x="2468064" y="1687106"/>
                  </a:cubicBezTo>
                  <a:cubicBezTo>
                    <a:pt x="2485050" y="1555793"/>
                    <a:pt x="2471984" y="1429053"/>
                    <a:pt x="2436052" y="1310807"/>
                  </a:cubicBezTo>
                  <a:cubicBezTo>
                    <a:pt x="2336098" y="982198"/>
                    <a:pt x="2051260" y="726106"/>
                    <a:pt x="1688028" y="679722"/>
                  </a:cubicBezTo>
                  <a:cubicBezTo>
                    <a:pt x="1657813" y="676129"/>
                    <a:pt x="1627761" y="674005"/>
                    <a:pt x="1597944" y="673301"/>
                  </a:cubicBezTo>
                  <a:lnTo>
                    <a:pt x="1597438" y="673313"/>
                  </a:lnTo>
                  <a:close/>
                  <a:moveTo>
                    <a:pt x="1519745" y="0"/>
                  </a:moveTo>
                  <a:lnTo>
                    <a:pt x="2014788" y="62728"/>
                  </a:lnTo>
                  <a:lnTo>
                    <a:pt x="2002379" y="378983"/>
                  </a:lnTo>
                  <a:cubicBezTo>
                    <a:pt x="2142794" y="428643"/>
                    <a:pt x="2270800" y="503132"/>
                    <a:pt x="2382479" y="595918"/>
                  </a:cubicBezTo>
                  <a:lnTo>
                    <a:pt x="2646981" y="424069"/>
                  </a:lnTo>
                  <a:lnTo>
                    <a:pt x="2953281" y="818080"/>
                  </a:lnTo>
                  <a:lnTo>
                    <a:pt x="2720780" y="1033055"/>
                  </a:lnTo>
                  <a:cubicBezTo>
                    <a:pt x="2748210" y="1091209"/>
                    <a:pt x="2771068" y="1151323"/>
                    <a:pt x="2788702" y="1213398"/>
                  </a:cubicBezTo>
                  <a:cubicBezTo>
                    <a:pt x="2812213" y="1291808"/>
                    <a:pt x="2828540" y="1372832"/>
                    <a:pt x="2835724" y="1455816"/>
                  </a:cubicBezTo>
                  <a:lnTo>
                    <a:pt x="3144637" y="1521158"/>
                  </a:lnTo>
                  <a:lnTo>
                    <a:pt x="3081940" y="2017103"/>
                  </a:lnTo>
                  <a:lnTo>
                    <a:pt x="2766497" y="2004035"/>
                  </a:lnTo>
                  <a:cubicBezTo>
                    <a:pt x="2715556" y="2144519"/>
                    <a:pt x="2641756" y="2272589"/>
                    <a:pt x="2549670" y="2384324"/>
                  </a:cubicBezTo>
                  <a:lnTo>
                    <a:pt x="2720780" y="2649612"/>
                  </a:lnTo>
                  <a:lnTo>
                    <a:pt x="2326313" y="2955412"/>
                  </a:lnTo>
                  <a:lnTo>
                    <a:pt x="2112099" y="2722795"/>
                  </a:lnTo>
                  <a:cubicBezTo>
                    <a:pt x="2046136" y="2753505"/>
                    <a:pt x="1977562" y="2780296"/>
                    <a:pt x="1906375" y="2799245"/>
                  </a:cubicBezTo>
                  <a:cubicBezTo>
                    <a:pt x="1835841" y="2818194"/>
                    <a:pt x="1764654" y="2831916"/>
                    <a:pt x="1690202" y="2839103"/>
                  </a:cubicBezTo>
                  <a:lnTo>
                    <a:pt x="1623586" y="3147517"/>
                  </a:lnTo>
                  <a:lnTo>
                    <a:pt x="1129196" y="3083482"/>
                  </a:lnTo>
                  <a:lnTo>
                    <a:pt x="1141604" y="2768534"/>
                  </a:lnTo>
                  <a:cubicBezTo>
                    <a:pt x="1001190" y="2718221"/>
                    <a:pt x="873837" y="2644385"/>
                    <a:pt x="762811" y="2552253"/>
                  </a:cubicBezTo>
                  <a:lnTo>
                    <a:pt x="497003" y="2723448"/>
                  </a:lnTo>
                  <a:lnTo>
                    <a:pt x="192009" y="2328783"/>
                  </a:lnTo>
                  <a:lnTo>
                    <a:pt x="423857" y="2114462"/>
                  </a:lnTo>
                  <a:cubicBezTo>
                    <a:pt x="388590" y="2040626"/>
                    <a:pt x="360507" y="1962216"/>
                    <a:pt x="340914" y="1881845"/>
                  </a:cubicBezTo>
                  <a:cubicBezTo>
                    <a:pt x="325240" y="1819771"/>
                    <a:pt x="314790" y="1757042"/>
                    <a:pt x="308259" y="1692354"/>
                  </a:cubicBezTo>
                  <a:lnTo>
                    <a:pt x="0" y="1626359"/>
                  </a:lnTo>
                  <a:lnTo>
                    <a:pt x="62697" y="1129761"/>
                  </a:lnTo>
                  <a:lnTo>
                    <a:pt x="378140" y="1143482"/>
                  </a:lnTo>
                  <a:cubicBezTo>
                    <a:pt x="428428" y="1002344"/>
                    <a:pt x="502881" y="874927"/>
                    <a:pt x="594967" y="763193"/>
                  </a:cubicBezTo>
                  <a:lnTo>
                    <a:pt x="423857" y="498558"/>
                  </a:lnTo>
                  <a:lnTo>
                    <a:pt x="818324" y="192105"/>
                  </a:lnTo>
                  <a:lnTo>
                    <a:pt x="1031885" y="424069"/>
                  </a:lnTo>
                  <a:cubicBezTo>
                    <a:pt x="1097194" y="392705"/>
                    <a:pt x="1166422" y="367221"/>
                    <a:pt x="1238262" y="348272"/>
                  </a:cubicBezTo>
                  <a:cubicBezTo>
                    <a:pt x="1308143" y="328670"/>
                    <a:pt x="1379983" y="315601"/>
                    <a:pt x="1453129" y="308414"/>
                  </a:cubicBezTo>
                  <a:close/>
                </a:path>
              </a:pathLst>
            </a:custGeom>
            <a:solidFill>
              <a:schemeClr val="accent2"/>
            </a:solidFill>
            <a:ln>
              <a:noFill/>
            </a:ln>
            <a:effectLst/>
          </p:spPr>
          <p:txBody>
            <a:bodyPr wrap="square" anchor="ctr">
              <a:noAutofit/>
            </a:bodyPr>
            <a:lstStyle/>
            <a:p>
              <a:endParaRPr lang="en-US" sz="3266">
                <a:latin typeface="Lato Light" panose="020F0502020204030203" pitchFamily="34" charset="0"/>
              </a:endParaRPr>
            </a:p>
          </p:txBody>
        </p:sp>
        <p:sp>
          <p:nvSpPr>
            <p:cNvPr id="12" name="Freeform 11">
              <a:extLst>
                <a:ext uri="{FF2B5EF4-FFF2-40B4-BE49-F238E27FC236}">
                  <a16:creationId xmlns:a16="http://schemas.microsoft.com/office/drawing/2014/main" id="{641C30C0-03EE-584D-96A7-19C2A4F905B7}"/>
                </a:ext>
              </a:extLst>
            </p:cNvPr>
            <p:cNvSpPr>
              <a:spLocks noChangeArrowheads="1"/>
            </p:cNvSpPr>
            <p:nvPr/>
          </p:nvSpPr>
          <p:spPr bwMode="auto">
            <a:xfrm>
              <a:off x="11177841" y="6601654"/>
              <a:ext cx="3144637" cy="3147518"/>
            </a:xfrm>
            <a:custGeom>
              <a:avLst/>
              <a:gdLst>
                <a:gd name="connsiteX0" fmla="*/ 1595575 w 3144637"/>
                <a:gd name="connsiteY0" fmla="*/ 673144 h 3147518"/>
                <a:gd name="connsiteX1" fmla="*/ 1335573 w 3144637"/>
                <a:gd name="connsiteY1" fmla="*/ 704386 h 3147518"/>
                <a:gd name="connsiteX2" fmla="*/ 707123 w 3144637"/>
                <a:gd name="connsiteY2" fmla="*/ 1324591 h 3147518"/>
                <a:gd name="connsiteX3" fmla="*/ 707062 w 3144637"/>
                <a:gd name="connsiteY3" fmla="*/ 1324891 h 3147518"/>
                <a:gd name="connsiteX4" fmla="*/ 707001 w 3144637"/>
                <a:gd name="connsiteY4" fmla="*/ 1325054 h 3147518"/>
                <a:gd name="connsiteX5" fmla="*/ 679074 w 3144637"/>
                <a:gd name="connsiteY5" fmla="*/ 1460780 h 3147518"/>
                <a:gd name="connsiteX6" fmla="*/ 696719 w 3144637"/>
                <a:gd name="connsiteY6" fmla="*/ 1784699 h 3147518"/>
                <a:gd name="connsiteX7" fmla="*/ 874735 w 3144637"/>
                <a:gd name="connsiteY7" fmla="*/ 2143321 h 3147518"/>
                <a:gd name="connsiteX8" fmla="*/ 894856 w 3144637"/>
                <a:gd name="connsiteY8" fmla="*/ 2164569 h 3147518"/>
                <a:gd name="connsiteX9" fmla="*/ 966739 w 3144637"/>
                <a:gd name="connsiteY9" fmla="*/ 2240573 h 3147518"/>
                <a:gd name="connsiteX10" fmla="*/ 1459007 w 3144637"/>
                <a:gd name="connsiteY10" fmla="*/ 2467309 h 3147518"/>
                <a:gd name="connsiteX11" fmla="*/ 1809717 w 3144637"/>
                <a:gd name="connsiteY11" fmla="*/ 2443786 h 3147518"/>
                <a:gd name="connsiteX12" fmla="*/ 1809832 w 3144637"/>
                <a:gd name="connsiteY12" fmla="*/ 2443745 h 3147518"/>
                <a:gd name="connsiteX13" fmla="*/ 1810336 w 3144637"/>
                <a:gd name="connsiteY13" fmla="*/ 2443637 h 3147518"/>
                <a:gd name="connsiteX14" fmla="*/ 2465828 w 3144637"/>
                <a:gd name="connsiteY14" fmla="*/ 1686739 h 3147518"/>
                <a:gd name="connsiteX15" fmla="*/ 2433805 w 3144637"/>
                <a:gd name="connsiteY15" fmla="*/ 1311229 h 3147518"/>
                <a:gd name="connsiteX16" fmla="*/ 2158015 w 3144637"/>
                <a:gd name="connsiteY16" fmla="*/ 890086 h 3147518"/>
                <a:gd name="connsiteX17" fmla="*/ 2157441 w 3144637"/>
                <a:gd name="connsiteY17" fmla="*/ 889661 h 3147518"/>
                <a:gd name="connsiteX18" fmla="*/ 2157162 w 3144637"/>
                <a:gd name="connsiteY18" fmla="*/ 889385 h 3147518"/>
                <a:gd name="connsiteX19" fmla="*/ 1685630 w 3144637"/>
                <a:gd name="connsiteY19" fmla="*/ 680209 h 3147518"/>
                <a:gd name="connsiteX20" fmla="*/ 1595575 w 3144637"/>
                <a:gd name="connsiteY20" fmla="*/ 673144 h 3147518"/>
                <a:gd name="connsiteX21" fmla="*/ 1519745 w 3144637"/>
                <a:gd name="connsiteY21" fmla="*/ 0 h 3147518"/>
                <a:gd name="connsiteX22" fmla="*/ 2014788 w 3144637"/>
                <a:gd name="connsiteY22" fmla="*/ 62728 h 3147518"/>
                <a:gd name="connsiteX23" fmla="*/ 2001726 w 3144637"/>
                <a:gd name="connsiteY23" fmla="*/ 378330 h 3147518"/>
                <a:gd name="connsiteX24" fmla="*/ 2381826 w 3144637"/>
                <a:gd name="connsiteY24" fmla="*/ 595265 h 3147518"/>
                <a:gd name="connsiteX25" fmla="*/ 2646981 w 3144637"/>
                <a:gd name="connsiteY25" fmla="*/ 424722 h 3147518"/>
                <a:gd name="connsiteX26" fmla="*/ 2953281 w 3144637"/>
                <a:gd name="connsiteY26" fmla="*/ 818734 h 3147518"/>
                <a:gd name="connsiteX27" fmla="*/ 2720780 w 3144637"/>
                <a:gd name="connsiteY27" fmla="*/ 1033055 h 3147518"/>
                <a:gd name="connsiteX28" fmla="*/ 2788702 w 3144637"/>
                <a:gd name="connsiteY28" fmla="*/ 1213399 h 3147518"/>
                <a:gd name="connsiteX29" fmla="*/ 2835724 w 3144637"/>
                <a:gd name="connsiteY29" fmla="*/ 1455163 h 3147518"/>
                <a:gd name="connsiteX30" fmla="*/ 3144637 w 3144637"/>
                <a:gd name="connsiteY30" fmla="*/ 1521812 h 3147518"/>
                <a:gd name="connsiteX31" fmla="*/ 3081287 w 3144637"/>
                <a:gd name="connsiteY31" fmla="*/ 2017103 h 3147518"/>
                <a:gd name="connsiteX32" fmla="*/ 2766497 w 3144637"/>
                <a:gd name="connsiteY32" fmla="*/ 2004035 h 3147518"/>
                <a:gd name="connsiteX33" fmla="*/ 2549017 w 3144637"/>
                <a:gd name="connsiteY33" fmla="*/ 2384324 h 3147518"/>
                <a:gd name="connsiteX34" fmla="*/ 2720780 w 3144637"/>
                <a:gd name="connsiteY34" fmla="*/ 2649612 h 3147518"/>
                <a:gd name="connsiteX35" fmla="*/ 2326313 w 3144637"/>
                <a:gd name="connsiteY35" fmla="*/ 2955412 h 3147518"/>
                <a:gd name="connsiteX36" fmla="*/ 2112099 w 3144637"/>
                <a:gd name="connsiteY36" fmla="*/ 2723449 h 3147518"/>
                <a:gd name="connsiteX37" fmla="*/ 1905722 w 3144637"/>
                <a:gd name="connsiteY37" fmla="*/ 2799899 h 3147518"/>
                <a:gd name="connsiteX38" fmla="*/ 1690855 w 3144637"/>
                <a:gd name="connsiteY38" fmla="*/ 2838450 h 3147518"/>
                <a:gd name="connsiteX39" fmla="*/ 1624239 w 3144637"/>
                <a:gd name="connsiteY39" fmla="*/ 3147518 h 3147518"/>
                <a:gd name="connsiteX40" fmla="*/ 1129196 w 3144637"/>
                <a:gd name="connsiteY40" fmla="*/ 3084790 h 3147518"/>
                <a:gd name="connsiteX41" fmla="*/ 1142258 w 3144637"/>
                <a:gd name="connsiteY41" fmla="*/ 2769188 h 3147518"/>
                <a:gd name="connsiteX42" fmla="*/ 762811 w 3144637"/>
                <a:gd name="connsiteY42" fmla="*/ 2551600 h 3147518"/>
                <a:gd name="connsiteX43" fmla="*/ 497003 w 3144637"/>
                <a:gd name="connsiteY43" fmla="*/ 2723449 h 3147518"/>
                <a:gd name="connsiteX44" fmla="*/ 191356 w 3144637"/>
                <a:gd name="connsiteY44" fmla="*/ 2328130 h 3147518"/>
                <a:gd name="connsiteX45" fmla="*/ 423857 w 3144637"/>
                <a:gd name="connsiteY45" fmla="*/ 2113809 h 3147518"/>
                <a:gd name="connsiteX46" fmla="*/ 340914 w 3144637"/>
                <a:gd name="connsiteY46" fmla="*/ 1881846 h 3147518"/>
                <a:gd name="connsiteX47" fmla="*/ 308912 w 3144637"/>
                <a:gd name="connsiteY47" fmla="*/ 1692354 h 3147518"/>
                <a:gd name="connsiteX48" fmla="*/ 0 w 3144637"/>
                <a:gd name="connsiteY48" fmla="*/ 1625706 h 3147518"/>
                <a:gd name="connsiteX49" fmla="*/ 62044 w 3144637"/>
                <a:gd name="connsiteY49" fmla="*/ 1130414 h 3147518"/>
                <a:gd name="connsiteX50" fmla="*/ 377487 w 3144637"/>
                <a:gd name="connsiteY50" fmla="*/ 1142829 h 3147518"/>
                <a:gd name="connsiteX51" fmla="*/ 594314 w 3144637"/>
                <a:gd name="connsiteY51" fmla="*/ 763193 h 3147518"/>
                <a:gd name="connsiteX52" fmla="*/ 423857 w 3144637"/>
                <a:gd name="connsiteY52" fmla="*/ 497905 h 3147518"/>
                <a:gd name="connsiteX53" fmla="*/ 817671 w 3144637"/>
                <a:gd name="connsiteY53" fmla="*/ 192105 h 3147518"/>
                <a:gd name="connsiteX54" fmla="*/ 1031885 w 3144637"/>
                <a:gd name="connsiteY54" fmla="*/ 424722 h 3147518"/>
                <a:gd name="connsiteX55" fmla="*/ 1238262 w 3144637"/>
                <a:gd name="connsiteY55" fmla="*/ 348272 h 3147518"/>
                <a:gd name="connsiteX56" fmla="*/ 1453782 w 3144637"/>
                <a:gd name="connsiteY56" fmla="*/ 308414 h 3147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144637" h="3147518">
                  <a:moveTo>
                    <a:pt x="1595575" y="673144"/>
                  </a:moveTo>
                  <a:cubicBezTo>
                    <a:pt x="1506152" y="670694"/>
                    <a:pt x="1418842" y="681843"/>
                    <a:pt x="1335573" y="704386"/>
                  </a:cubicBezTo>
                  <a:cubicBezTo>
                    <a:pt x="1037273" y="785573"/>
                    <a:pt x="794976" y="1017843"/>
                    <a:pt x="707123" y="1324591"/>
                  </a:cubicBezTo>
                  <a:lnTo>
                    <a:pt x="707062" y="1324891"/>
                  </a:lnTo>
                  <a:lnTo>
                    <a:pt x="707001" y="1325054"/>
                  </a:lnTo>
                  <a:cubicBezTo>
                    <a:pt x="694442" y="1368852"/>
                    <a:pt x="685038" y="1414168"/>
                    <a:pt x="679074" y="1460780"/>
                  </a:cubicBezTo>
                  <a:cubicBezTo>
                    <a:pt x="665350" y="1572454"/>
                    <a:pt x="671232" y="1681515"/>
                    <a:pt x="696719" y="1784699"/>
                  </a:cubicBezTo>
                  <a:cubicBezTo>
                    <a:pt x="728579" y="1917188"/>
                    <a:pt x="790123" y="2039576"/>
                    <a:pt x="874735" y="2143321"/>
                  </a:cubicBezTo>
                  <a:lnTo>
                    <a:pt x="894856" y="2164569"/>
                  </a:lnTo>
                  <a:lnTo>
                    <a:pt x="966739" y="2240573"/>
                  </a:lnTo>
                  <a:cubicBezTo>
                    <a:pt x="1098990" y="2361128"/>
                    <a:pt x="1268304" y="2443459"/>
                    <a:pt x="1459007" y="2467309"/>
                  </a:cubicBezTo>
                  <a:cubicBezTo>
                    <a:pt x="1579829" y="2482338"/>
                    <a:pt x="1698692" y="2473190"/>
                    <a:pt x="1809717" y="2443786"/>
                  </a:cubicBezTo>
                  <a:lnTo>
                    <a:pt x="1809832" y="2443745"/>
                  </a:lnTo>
                  <a:lnTo>
                    <a:pt x="1810336" y="2443637"/>
                  </a:lnTo>
                  <a:cubicBezTo>
                    <a:pt x="2150826" y="2350250"/>
                    <a:pt x="2418774" y="2060290"/>
                    <a:pt x="2465828" y="1686739"/>
                  </a:cubicBezTo>
                  <a:cubicBezTo>
                    <a:pt x="2482166" y="1557433"/>
                    <a:pt x="2469749" y="1429433"/>
                    <a:pt x="2433805" y="1311229"/>
                  </a:cubicBezTo>
                  <a:cubicBezTo>
                    <a:pt x="2383483" y="1146984"/>
                    <a:pt x="2287087" y="1000862"/>
                    <a:pt x="2158015" y="890086"/>
                  </a:cubicBezTo>
                  <a:lnTo>
                    <a:pt x="2157441" y="889661"/>
                  </a:lnTo>
                  <a:lnTo>
                    <a:pt x="2157162" y="889385"/>
                  </a:lnTo>
                  <a:cubicBezTo>
                    <a:pt x="2028177" y="778549"/>
                    <a:pt x="1866537" y="703079"/>
                    <a:pt x="1685630" y="680209"/>
                  </a:cubicBezTo>
                  <a:cubicBezTo>
                    <a:pt x="1655425" y="676289"/>
                    <a:pt x="1625382" y="673961"/>
                    <a:pt x="1595575" y="673144"/>
                  </a:cubicBezTo>
                  <a:close/>
                  <a:moveTo>
                    <a:pt x="1519745" y="0"/>
                  </a:moveTo>
                  <a:lnTo>
                    <a:pt x="2014788" y="62728"/>
                  </a:lnTo>
                  <a:lnTo>
                    <a:pt x="2001726" y="378330"/>
                  </a:lnTo>
                  <a:cubicBezTo>
                    <a:pt x="2142141" y="428643"/>
                    <a:pt x="2270800" y="503786"/>
                    <a:pt x="2381826" y="595265"/>
                  </a:cubicBezTo>
                  <a:lnTo>
                    <a:pt x="2646981" y="424722"/>
                  </a:lnTo>
                  <a:lnTo>
                    <a:pt x="2953281" y="818734"/>
                  </a:lnTo>
                  <a:lnTo>
                    <a:pt x="2720780" y="1033055"/>
                  </a:lnTo>
                  <a:cubicBezTo>
                    <a:pt x="2747557" y="1090556"/>
                    <a:pt x="2771068" y="1151324"/>
                    <a:pt x="2788702" y="1213399"/>
                  </a:cubicBezTo>
                  <a:cubicBezTo>
                    <a:pt x="2812213" y="1291809"/>
                    <a:pt x="2827888" y="1372833"/>
                    <a:pt x="2835724" y="1455163"/>
                  </a:cubicBezTo>
                  <a:lnTo>
                    <a:pt x="3144637" y="1521812"/>
                  </a:lnTo>
                  <a:lnTo>
                    <a:pt x="3081287" y="2017103"/>
                  </a:lnTo>
                  <a:lnTo>
                    <a:pt x="2766497" y="2004035"/>
                  </a:lnTo>
                  <a:cubicBezTo>
                    <a:pt x="2715556" y="2145827"/>
                    <a:pt x="2641756" y="2272590"/>
                    <a:pt x="2549017" y="2384324"/>
                  </a:cubicBezTo>
                  <a:lnTo>
                    <a:pt x="2720780" y="2649612"/>
                  </a:lnTo>
                  <a:lnTo>
                    <a:pt x="2326313" y="2955412"/>
                  </a:lnTo>
                  <a:lnTo>
                    <a:pt x="2112099" y="2723449"/>
                  </a:lnTo>
                  <a:cubicBezTo>
                    <a:pt x="2046136" y="2754813"/>
                    <a:pt x="1976909" y="2779643"/>
                    <a:pt x="1905722" y="2799899"/>
                  </a:cubicBezTo>
                  <a:cubicBezTo>
                    <a:pt x="1836494" y="2818848"/>
                    <a:pt x="1764654" y="2831263"/>
                    <a:pt x="1690855" y="2838450"/>
                  </a:cubicBezTo>
                  <a:lnTo>
                    <a:pt x="1624239" y="3147518"/>
                  </a:lnTo>
                  <a:lnTo>
                    <a:pt x="1129196" y="3084790"/>
                  </a:lnTo>
                  <a:lnTo>
                    <a:pt x="1142258" y="2769188"/>
                  </a:lnTo>
                  <a:cubicBezTo>
                    <a:pt x="1001190" y="2718222"/>
                    <a:pt x="873837" y="2643732"/>
                    <a:pt x="762811" y="2551600"/>
                  </a:cubicBezTo>
                  <a:lnTo>
                    <a:pt x="497003" y="2723449"/>
                  </a:lnTo>
                  <a:lnTo>
                    <a:pt x="191356" y="2328130"/>
                  </a:lnTo>
                  <a:lnTo>
                    <a:pt x="423857" y="2113809"/>
                  </a:lnTo>
                  <a:cubicBezTo>
                    <a:pt x="388590" y="2039973"/>
                    <a:pt x="360507" y="1962216"/>
                    <a:pt x="340914" y="1881846"/>
                  </a:cubicBezTo>
                  <a:cubicBezTo>
                    <a:pt x="325240" y="1819771"/>
                    <a:pt x="314137" y="1756389"/>
                    <a:pt x="308912" y="1692354"/>
                  </a:cubicBezTo>
                  <a:lnTo>
                    <a:pt x="0" y="1625706"/>
                  </a:lnTo>
                  <a:lnTo>
                    <a:pt x="62044" y="1130414"/>
                  </a:lnTo>
                  <a:lnTo>
                    <a:pt x="377487" y="1142829"/>
                  </a:lnTo>
                  <a:cubicBezTo>
                    <a:pt x="429081" y="1002344"/>
                    <a:pt x="502228" y="874928"/>
                    <a:pt x="594314" y="763193"/>
                  </a:cubicBezTo>
                  <a:lnTo>
                    <a:pt x="423857" y="497905"/>
                  </a:lnTo>
                  <a:lnTo>
                    <a:pt x="817671" y="192105"/>
                  </a:lnTo>
                  <a:lnTo>
                    <a:pt x="1031885" y="424722"/>
                  </a:lnTo>
                  <a:cubicBezTo>
                    <a:pt x="1097847" y="393358"/>
                    <a:pt x="1166422" y="367222"/>
                    <a:pt x="1238262" y="348272"/>
                  </a:cubicBezTo>
                  <a:cubicBezTo>
                    <a:pt x="1308143" y="328670"/>
                    <a:pt x="1379983" y="315601"/>
                    <a:pt x="1453782" y="308414"/>
                  </a:cubicBezTo>
                  <a:close/>
                </a:path>
              </a:pathLst>
            </a:custGeom>
            <a:solidFill>
              <a:schemeClr val="accent3"/>
            </a:solidFill>
            <a:ln>
              <a:noFill/>
            </a:ln>
            <a:effectLst/>
          </p:spPr>
          <p:txBody>
            <a:bodyPr wrap="square" anchor="ctr">
              <a:noAutofit/>
            </a:bodyPr>
            <a:lstStyle/>
            <a:p>
              <a:endParaRPr lang="en-US" sz="3266">
                <a:latin typeface="Lato Light" panose="020F0502020204030203" pitchFamily="34" charset="0"/>
              </a:endParaRPr>
            </a:p>
          </p:txBody>
        </p:sp>
      </p:grpSp>
      <p:sp>
        <p:nvSpPr>
          <p:cNvPr id="15" name="TextBox 14">
            <a:extLst>
              <a:ext uri="{FF2B5EF4-FFF2-40B4-BE49-F238E27FC236}">
                <a16:creationId xmlns:a16="http://schemas.microsoft.com/office/drawing/2014/main" id="{D856D26B-966B-6641-9738-7FCE4BCED19C}"/>
              </a:ext>
            </a:extLst>
          </p:cNvPr>
          <p:cNvSpPr txBox="1"/>
          <p:nvPr/>
        </p:nvSpPr>
        <p:spPr>
          <a:xfrm>
            <a:off x="205483" y="213680"/>
            <a:ext cx="7309744" cy="553998"/>
          </a:xfrm>
          <a:prstGeom prst="rect">
            <a:avLst/>
          </a:prstGeom>
          <a:noFill/>
        </p:spPr>
        <p:txBody>
          <a:bodyPr wrap="square" rtlCol="0">
            <a:spAutoFit/>
          </a:bodyPr>
          <a:lstStyle/>
          <a:p>
            <a:r>
              <a:rPr lang="da-DK" sz="3000" b="1">
                <a:solidFill>
                  <a:srgbClr val="14143C"/>
                </a:solidFill>
                <a:latin typeface="Poppins" pitchFamily="2" charset="77"/>
                <a:cs typeface="Poppins" pitchFamily="2" charset="77"/>
              </a:rPr>
              <a:t>Are </a:t>
            </a:r>
            <a:r>
              <a:rPr lang="da-DK" sz="3000" b="1" err="1">
                <a:solidFill>
                  <a:srgbClr val="14143C"/>
                </a:solidFill>
                <a:latin typeface="Poppins" pitchFamily="2" charset="77"/>
                <a:cs typeface="Poppins" pitchFamily="2" charset="77"/>
              </a:rPr>
              <a:t>you</a:t>
            </a:r>
            <a:r>
              <a:rPr lang="da-DK" sz="3000" b="1">
                <a:solidFill>
                  <a:srgbClr val="14143C"/>
                </a:solidFill>
                <a:latin typeface="Poppins" pitchFamily="2" charset="77"/>
                <a:cs typeface="Poppins" pitchFamily="2" charset="77"/>
              </a:rPr>
              <a:t> Agile?</a:t>
            </a:r>
          </a:p>
        </p:txBody>
      </p:sp>
      <p:sp>
        <p:nvSpPr>
          <p:cNvPr id="17" name="TextBox 16">
            <a:extLst>
              <a:ext uri="{FF2B5EF4-FFF2-40B4-BE49-F238E27FC236}">
                <a16:creationId xmlns:a16="http://schemas.microsoft.com/office/drawing/2014/main" id="{7F0B25D9-7858-964C-BBCD-3451FDFE1F8E}"/>
              </a:ext>
            </a:extLst>
          </p:cNvPr>
          <p:cNvSpPr txBox="1"/>
          <p:nvPr/>
        </p:nvSpPr>
        <p:spPr>
          <a:xfrm>
            <a:off x="3068883" y="3300754"/>
            <a:ext cx="1212909" cy="584775"/>
          </a:xfrm>
          <a:prstGeom prst="rect">
            <a:avLst/>
          </a:prstGeom>
          <a:noFill/>
        </p:spPr>
        <p:txBody>
          <a:bodyPr wrap="square" rtlCol="0" anchor="t" anchorCtr="0">
            <a:spAutoFit/>
          </a:bodyPr>
          <a:lstStyle/>
          <a:p>
            <a:pPr algn="ctr"/>
            <a:r>
              <a:rPr lang="en-US" sz="1600" b="1">
                <a:solidFill>
                  <a:srgbClr val="14143C"/>
                </a:solidFill>
                <a:latin typeface="Poppins" pitchFamily="2" charset="77"/>
                <a:ea typeface="League Spartan" charset="0"/>
                <a:cs typeface="Poppins" pitchFamily="2" charset="77"/>
              </a:rPr>
              <a:t>Daily Stand-up</a:t>
            </a:r>
          </a:p>
        </p:txBody>
      </p:sp>
      <p:sp>
        <p:nvSpPr>
          <p:cNvPr id="19" name="TextBox 18">
            <a:extLst>
              <a:ext uri="{FF2B5EF4-FFF2-40B4-BE49-F238E27FC236}">
                <a16:creationId xmlns:a16="http://schemas.microsoft.com/office/drawing/2014/main" id="{8C75F6D6-6C26-9841-B84F-E419B246CCB1}"/>
              </a:ext>
            </a:extLst>
          </p:cNvPr>
          <p:cNvSpPr txBox="1"/>
          <p:nvPr/>
        </p:nvSpPr>
        <p:spPr>
          <a:xfrm>
            <a:off x="7701872" y="4219430"/>
            <a:ext cx="1649811" cy="338554"/>
          </a:xfrm>
          <a:prstGeom prst="rect">
            <a:avLst/>
          </a:prstGeom>
          <a:noFill/>
        </p:spPr>
        <p:txBody>
          <a:bodyPr wrap="none" rtlCol="0" anchor="t" anchorCtr="0">
            <a:spAutoFit/>
          </a:bodyPr>
          <a:lstStyle/>
          <a:p>
            <a:pPr algn="ctr"/>
            <a:r>
              <a:rPr lang="en-US" sz="1600" b="1">
                <a:solidFill>
                  <a:srgbClr val="14143C"/>
                </a:solidFill>
                <a:latin typeface="Poppins" pitchFamily="2" charset="77"/>
                <a:ea typeface="League Spartan" charset="0"/>
                <a:cs typeface="Poppins" pitchFamily="2" charset="77"/>
              </a:rPr>
              <a:t>Retrospective</a:t>
            </a:r>
          </a:p>
        </p:txBody>
      </p:sp>
      <p:sp>
        <p:nvSpPr>
          <p:cNvPr id="21" name="TextBox 20">
            <a:extLst>
              <a:ext uri="{FF2B5EF4-FFF2-40B4-BE49-F238E27FC236}">
                <a16:creationId xmlns:a16="http://schemas.microsoft.com/office/drawing/2014/main" id="{C79F2F07-A507-7444-9500-C477B0F471EE}"/>
              </a:ext>
            </a:extLst>
          </p:cNvPr>
          <p:cNvSpPr txBox="1"/>
          <p:nvPr/>
        </p:nvSpPr>
        <p:spPr>
          <a:xfrm>
            <a:off x="6075892" y="2725967"/>
            <a:ext cx="694422" cy="338554"/>
          </a:xfrm>
          <a:prstGeom prst="rect">
            <a:avLst/>
          </a:prstGeom>
          <a:noFill/>
        </p:spPr>
        <p:txBody>
          <a:bodyPr wrap="none" rtlCol="0" anchor="t" anchorCtr="0">
            <a:spAutoFit/>
          </a:bodyPr>
          <a:lstStyle/>
          <a:p>
            <a:pPr algn="ctr"/>
            <a:r>
              <a:rPr lang="en-US" sz="1600" b="1">
                <a:solidFill>
                  <a:srgbClr val="14143C"/>
                </a:solidFill>
                <a:latin typeface="Poppins" pitchFamily="2" charset="77"/>
                <a:ea typeface="League Spartan" charset="0"/>
                <a:cs typeface="Poppins" pitchFamily="2" charset="77"/>
              </a:rPr>
              <a:t>Demo</a:t>
            </a:r>
          </a:p>
        </p:txBody>
      </p:sp>
      <p:sp>
        <p:nvSpPr>
          <p:cNvPr id="23" name="TextBox 22">
            <a:extLst>
              <a:ext uri="{FF2B5EF4-FFF2-40B4-BE49-F238E27FC236}">
                <a16:creationId xmlns:a16="http://schemas.microsoft.com/office/drawing/2014/main" id="{6A57BB58-2CE8-8F4E-94EF-C45C9E26BA05}"/>
              </a:ext>
            </a:extLst>
          </p:cNvPr>
          <p:cNvSpPr txBox="1"/>
          <p:nvPr/>
        </p:nvSpPr>
        <p:spPr>
          <a:xfrm>
            <a:off x="5347033" y="5022829"/>
            <a:ext cx="923651" cy="338554"/>
          </a:xfrm>
          <a:prstGeom prst="rect">
            <a:avLst/>
          </a:prstGeom>
          <a:noFill/>
        </p:spPr>
        <p:txBody>
          <a:bodyPr wrap="none" rtlCol="0" anchor="t" anchorCtr="0">
            <a:spAutoFit/>
          </a:bodyPr>
          <a:lstStyle/>
          <a:p>
            <a:pPr algn="ctr"/>
            <a:r>
              <a:rPr lang="en-US" sz="1600" b="1">
                <a:solidFill>
                  <a:srgbClr val="14143C"/>
                </a:solidFill>
                <a:latin typeface="Poppins" pitchFamily="2" charset="77"/>
                <a:ea typeface="League Spartan" charset="0"/>
                <a:cs typeface="Poppins" pitchFamily="2" charset="77"/>
              </a:rPr>
              <a:t>Planning</a:t>
            </a:r>
          </a:p>
        </p:txBody>
      </p:sp>
      <p:pic>
        <p:nvPicPr>
          <p:cNvPr id="16" name="Grafik 15">
            <a:extLst>
              <a:ext uri="{FF2B5EF4-FFF2-40B4-BE49-F238E27FC236}">
                <a16:creationId xmlns:a16="http://schemas.microsoft.com/office/drawing/2014/main" id="{C1702EB3-0521-45F0-A45B-8E529C7BD58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290716" y="2574932"/>
            <a:ext cx="725822" cy="725822"/>
          </a:xfrm>
          <a:prstGeom prst="rect">
            <a:avLst/>
          </a:prstGeom>
        </p:spPr>
      </p:pic>
      <p:pic>
        <p:nvPicPr>
          <p:cNvPr id="25" name="Grafik 24">
            <a:extLst>
              <a:ext uri="{FF2B5EF4-FFF2-40B4-BE49-F238E27FC236}">
                <a16:creationId xmlns:a16="http://schemas.microsoft.com/office/drawing/2014/main" id="{0CECA9E9-34B4-4BCE-BAE5-300630113E2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62055" y="1927938"/>
            <a:ext cx="922096" cy="835106"/>
          </a:xfrm>
          <a:prstGeom prst="rect">
            <a:avLst/>
          </a:prstGeom>
        </p:spPr>
      </p:pic>
      <p:pic>
        <p:nvPicPr>
          <p:cNvPr id="26" name="Grafik 25">
            <a:extLst>
              <a:ext uri="{FF2B5EF4-FFF2-40B4-BE49-F238E27FC236}">
                <a16:creationId xmlns:a16="http://schemas.microsoft.com/office/drawing/2014/main" id="{872D131B-3C35-4E22-9E33-236A53C02A1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230365" y="4374660"/>
            <a:ext cx="1156984" cy="585634"/>
          </a:xfrm>
          <a:prstGeom prst="rect">
            <a:avLst/>
          </a:prstGeom>
        </p:spPr>
      </p:pic>
      <p:pic>
        <p:nvPicPr>
          <p:cNvPr id="27" name="Grafik 26">
            <a:extLst>
              <a:ext uri="{FF2B5EF4-FFF2-40B4-BE49-F238E27FC236}">
                <a16:creationId xmlns:a16="http://schemas.microsoft.com/office/drawing/2014/main" id="{E977F3C6-A9EA-413F-98CB-E4A76351762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053880" y="3586766"/>
            <a:ext cx="823877" cy="653420"/>
          </a:xfrm>
          <a:prstGeom prst="rect">
            <a:avLst/>
          </a:prstGeom>
        </p:spPr>
      </p:pic>
    </p:spTree>
    <p:custDataLst>
      <p:tags r:id="rId1"/>
    </p:custDataLst>
    <p:extLst>
      <p:ext uri="{BB962C8B-B14F-4D97-AF65-F5344CB8AC3E}">
        <p14:creationId xmlns:p14="http://schemas.microsoft.com/office/powerpoint/2010/main" val="940469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kstfelt 24">
            <a:extLst>
              <a:ext uri="{FF2B5EF4-FFF2-40B4-BE49-F238E27FC236}">
                <a16:creationId xmlns:a16="http://schemas.microsoft.com/office/drawing/2014/main" id="{A64C27F6-7181-8B4A-9277-8551913DD44E}"/>
              </a:ext>
            </a:extLst>
          </p:cNvPr>
          <p:cNvSpPr txBox="1"/>
          <p:nvPr/>
        </p:nvSpPr>
        <p:spPr>
          <a:xfrm>
            <a:off x="457191" y="520257"/>
            <a:ext cx="2184893" cy="513602"/>
          </a:xfrm>
          <a:prstGeom prst="rect">
            <a:avLst/>
          </a:prstGeom>
          <a:noFill/>
        </p:spPr>
        <p:txBody>
          <a:bodyPr wrap="none" lIns="0" tIns="0" rIns="0" bIns="0" rtlCol="0">
            <a:spAutoFit/>
          </a:bodyPr>
          <a:lstStyle/>
          <a:p>
            <a:pPr>
              <a:lnSpc>
                <a:spcPct val="111000"/>
              </a:lnSpc>
            </a:pPr>
            <a:r>
              <a:rPr lang="en-GB" sz="3200" b="1">
                <a:solidFill>
                  <a:srgbClr val="14143C"/>
                </a:solidFill>
                <a:latin typeface="Academy Sans Office" panose="020B0503030000000000" pitchFamily="34" charset="0"/>
              </a:rPr>
              <a:t>Why Agile?</a:t>
            </a:r>
            <a:endParaRPr lang="da-DK" sz="3200" b="1">
              <a:solidFill>
                <a:srgbClr val="14143C"/>
              </a:solidFill>
              <a:latin typeface="Academy Sans" panose="020B0503030000000000" pitchFamily="34" charset="0"/>
            </a:endParaRPr>
          </a:p>
        </p:txBody>
      </p:sp>
      <p:sp>
        <p:nvSpPr>
          <p:cNvPr id="26" name="Tekstfelt 25">
            <a:extLst>
              <a:ext uri="{FF2B5EF4-FFF2-40B4-BE49-F238E27FC236}">
                <a16:creationId xmlns:a16="http://schemas.microsoft.com/office/drawing/2014/main" id="{5A4D1907-66A9-BF40-9E9E-F6E33DB54EBF}"/>
              </a:ext>
            </a:extLst>
          </p:cNvPr>
          <p:cNvSpPr txBox="1"/>
          <p:nvPr/>
        </p:nvSpPr>
        <p:spPr>
          <a:xfrm>
            <a:off x="459293" y="1294698"/>
            <a:ext cx="3871279" cy="307777"/>
          </a:xfrm>
          <a:prstGeom prst="rect">
            <a:avLst/>
          </a:prstGeom>
          <a:noFill/>
        </p:spPr>
        <p:txBody>
          <a:bodyPr wrap="square" lIns="0" tIns="0" rIns="0" bIns="0" rtlCol="0" anchor="t">
            <a:spAutoFit/>
          </a:bodyPr>
          <a:lstStyle/>
          <a:p>
            <a:r>
              <a:rPr lang="da-DK" sz="2000">
                <a:latin typeface="Academy Sans"/>
              </a:rPr>
              <a:t>Stakeholder </a:t>
            </a:r>
            <a:r>
              <a:rPr lang="da-DK" sz="2000" err="1">
                <a:latin typeface="Academy Sans"/>
              </a:rPr>
              <a:t>landskabe</a:t>
            </a:r>
            <a:endParaRPr lang="da-DK" sz="2000">
              <a:latin typeface="Academy Sans Office"/>
            </a:endParaRPr>
          </a:p>
        </p:txBody>
      </p:sp>
      <p:sp>
        <p:nvSpPr>
          <p:cNvPr id="6" name="Date Placeholder 5">
            <a:extLst>
              <a:ext uri="{FF2B5EF4-FFF2-40B4-BE49-F238E27FC236}">
                <a16:creationId xmlns:a16="http://schemas.microsoft.com/office/drawing/2014/main" id="{610E4F6E-DAD1-4F7C-B0FB-8E9E738697FE}"/>
              </a:ext>
            </a:extLst>
          </p:cNvPr>
          <p:cNvSpPr>
            <a:spLocks noGrp="1"/>
          </p:cNvSpPr>
          <p:nvPr>
            <p:ph type="dt" sz="half" idx="16"/>
          </p:nvPr>
        </p:nvSpPr>
        <p:spPr/>
        <p:txBody>
          <a:bodyPr/>
          <a:lstStyle/>
          <a:p>
            <a:fld id="{31FB3FAF-A7E6-4106-8ACD-41D407863753}" type="datetime2">
              <a:rPr lang="da-DK" smtClean="0"/>
              <a:t>18. januar 2022</a:t>
            </a:fld>
            <a:endParaRPr lang="da-DK"/>
          </a:p>
        </p:txBody>
      </p:sp>
      <p:sp>
        <p:nvSpPr>
          <p:cNvPr id="8" name="Slide Number Placeholder 7">
            <a:extLst>
              <a:ext uri="{FF2B5EF4-FFF2-40B4-BE49-F238E27FC236}">
                <a16:creationId xmlns:a16="http://schemas.microsoft.com/office/drawing/2014/main" id="{0AC19055-D0A6-44D7-9D17-7F25594509B2}"/>
              </a:ext>
            </a:extLst>
          </p:cNvPr>
          <p:cNvSpPr>
            <a:spLocks noGrp="1"/>
          </p:cNvSpPr>
          <p:nvPr>
            <p:ph type="sldNum" sz="quarter" idx="18"/>
          </p:nvPr>
        </p:nvSpPr>
        <p:spPr/>
        <p:txBody>
          <a:bodyPr/>
          <a:lstStyle/>
          <a:p>
            <a:r>
              <a:rPr lang="da-DK"/>
              <a:t>Side </a:t>
            </a:r>
            <a:fld id="{24C8C45C-947F-4981-8B3F-4F32E973C901}" type="slidenum">
              <a:rPr lang="da-DK" smtClean="0"/>
              <a:pPr/>
              <a:t>8</a:t>
            </a:fld>
            <a:endParaRPr lang="da-DK"/>
          </a:p>
        </p:txBody>
      </p:sp>
      <p:sp>
        <p:nvSpPr>
          <p:cNvPr id="10" name="Rektangel 9">
            <a:extLst>
              <a:ext uri="{FF2B5EF4-FFF2-40B4-BE49-F238E27FC236}">
                <a16:creationId xmlns:a16="http://schemas.microsoft.com/office/drawing/2014/main" id="{B50B2E55-B011-CC49-B283-C800B0E5CCB1}"/>
              </a:ext>
            </a:extLst>
          </p:cNvPr>
          <p:cNvSpPr/>
          <p:nvPr/>
        </p:nvSpPr>
        <p:spPr>
          <a:xfrm>
            <a:off x="7557961" y="-29490"/>
            <a:ext cx="4713867" cy="6916980"/>
          </a:xfrm>
          <a:prstGeom prst="rect">
            <a:avLst/>
          </a:prstGeom>
          <a:solidFill>
            <a:srgbClr val="14143C"/>
          </a:solidFill>
          <a:ln>
            <a:noFill/>
          </a:ln>
        </p:spPr>
        <p:style>
          <a:lnRef idx="2">
            <a:schemeClr val="accent1">
              <a:shade val="50000"/>
            </a:schemeClr>
          </a:lnRef>
          <a:fillRef idx="1">
            <a:schemeClr val="accent1"/>
          </a:fillRef>
          <a:effectRef idx="0">
            <a:schemeClr val="accent1"/>
          </a:effectRef>
          <a:fontRef idx="minor">
            <a:schemeClr val="lt1"/>
          </a:fontRef>
        </p:style>
        <p:txBody>
          <a:bodyPr tIns="432000" rtlCol="0" anchor="t" anchorCtr="0"/>
          <a:lstStyle/>
          <a:p>
            <a:pPr>
              <a:lnSpc>
                <a:spcPct val="111000"/>
              </a:lnSpc>
            </a:pPr>
            <a:endParaRPr lang="da-DK" sz="1300">
              <a:solidFill>
                <a:schemeClr val="bg1"/>
              </a:solidFill>
              <a:latin typeface="Academy Sans" panose="020B0503030000000000" pitchFamily="34" charset="0"/>
            </a:endParaRPr>
          </a:p>
        </p:txBody>
      </p:sp>
      <p:pic>
        <p:nvPicPr>
          <p:cNvPr id="3" name="Billede 2">
            <a:extLst>
              <a:ext uri="{FF2B5EF4-FFF2-40B4-BE49-F238E27FC236}">
                <a16:creationId xmlns:a16="http://schemas.microsoft.com/office/drawing/2014/main" id="{A429FED0-5DD7-774F-B1BD-2539B3EB6FF9}"/>
              </a:ext>
            </a:extLst>
          </p:cNvPr>
          <p:cNvPicPr>
            <a:picLocks noChangeAspect="1"/>
          </p:cNvPicPr>
          <p:nvPr/>
        </p:nvPicPr>
        <p:blipFill>
          <a:blip r:embed="rId3"/>
          <a:stretch>
            <a:fillRect/>
          </a:stretch>
        </p:blipFill>
        <p:spPr>
          <a:xfrm>
            <a:off x="9757461" y="4531295"/>
            <a:ext cx="2434539" cy="2356195"/>
          </a:xfrm>
          <a:prstGeom prst="rect">
            <a:avLst/>
          </a:prstGeom>
        </p:spPr>
      </p:pic>
      <p:grpSp>
        <p:nvGrpSpPr>
          <p:cNvPr id="9" name="Gruppe 8">
            <a:extLst>
              <a:ext uri="{FF2B5EF4-FFF2-40B4-BE49-F238E27FC236}">
                <a16:creationId xmlns:a16="http://schemas.microsoft.com/office/drawing/2014/main" id="{B43350C2-29F6-4895-A967-8A85D6CE3D5E}"/>
              </a:ext>
            </a:extLst>
          </p:cNvPr>
          <p:cNvGrpSpPr/>
          <p:nvPr/>
        </p:nvGrpSpPr>
        <p:grpSpPr>
          <a:xfrm>
            <a:off x="459293" y="1682728"/>
            <a:ext cx="4083974" cy="2732926"/>
            <a:chOff x="1500027" y="2563401"/>
            <a:chExt cx="4083974" cy="2732926"/>
          </a:xfrm>
        </p:grpSpPr>
        <p:sp>
          <p:nvSpPr>
            <p:cNvPr id="11" name="Rektangel 10">
              <a:extLst>
                <a:ext uri="{FF2B5EF4-FFF2-40B4-BE49-F238E27FC236}">
                  <a16:creationId xmlns:a16="http://schemas.microsoft.com/office/drawing/2014/main" id="{E706B0B5-FC2C-41DB-9CB4-09141A3FF8A7}"/>
                </a:ext>
              </a:extLst>
            </p:cNvPr>
            <p:cNvSpPr/>
            <p:nvPr/>
          </p:nvSpPr>
          <p:spPr>
            <a:xfrm>
              <a:off x="1500028" y="2563401"/>
              <a:ext cx="1366463" cy="1366463"/>
            </a:xfrm>
            <a:prstGeom prst="rect">
              <a:avLst/>
            </a:prstGeom>
            <a:solidFill>
              <a:srgbClr val="77A5D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da-DK" sz="1800" b="1" i="0" u="none" strike="noStrike" kern="1200" cap="none" spc="0" normalizeH="0" baseline="30000" noProof="0">
                <a:ln>
                  <a:noFill/>
                </a:ln>
                <a:solidFill>
                  <a:prstClr val="white"/>
                </a:solidFill>
                <a:effectLst/>
                <a:uLnTx/>
                <a:uFillTx/>
                <a:latin typeface="Academy Sans Office Extrabold"/>
                <a:ea typeface="+mn-ea"/>
                <a:cs typeface="+mn-cs"/>
              </a:endParaRPr>
            </a:p>
          </p:txBody>
        </p:sp>
        <p:sp>
          <p:nvSpPr>
            <p:cNvPr id="12" name="Rektangel 11">
              <a:extLst>
                <a:ext uri="{FF2B5EF4-FFF2-40B4-BE49-F238E27FC236}">
                  <a16:creationId xmlns:a16="http://schemas.microsoft.com/office/drawing/2014/main" id="{CE6F6864-21B7-45A6-8008-DE42E1D75652}"/>
                </a:ext>
              </a:extLst>
            </p:cNvPr>
            <p:cNvSpPr/>
            <p:nvPr/>
          </p:nvSpPr>
          <p:spPr>
            <a:xfrm>
              <a:off x="1500027" y="3929864"/>
              <a:ext cx="1366463" cy="1366463"/>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da-DK" sz="1600" b="0" i="0" u="none" strike="noStrike" noProof="0">
                  <a:latin typeface="Academy Sans Office"/>
                </a:rPr>
                <a:t>Business </a:t>
              </a:r>
              <a:endParaRPr lang="da-DK" sz="1600">
                <a:latin typeface="Academy Sans Office"/>
              </a:endParaRPr>
            </a:p>
            <a:p>
              <a:pPr lvl="0">
                <a:buNone/>
              </a:pPr>
              <a:r>
                <a:rPr lang="da-DK" sz="1600" b="0" i="0" u="none" strike="noStrike" noProof="0">
                  <a:latin typeface="Academy Sans Office"/>
                </a:rPr>
                <a:t>community</a:t>
              </a:r>
              <a:endParaRPr lang="da-DK" sz="1600"/>
            </a:p>
          </p:txBody>
        </p:sp>
        <p:sp>
          <p:nvSpPr>
            <p:cNvPr id="13" name="Rektangel 12">
              <a:extLst>
                <a:ext uri="{FF2B5EF4-FFF2-40B4-BE49-F238E27FC236}">
                  <a16:creationId xmlns:a16="http://schemas.microsoft.com/office/drawing/2014/main" id="{15250E73-AB8A-4A88-AA62-78C522D3EDFA}"/>
                </a:ext>
              </a:extLst>
            </p:cNvPr>
            <p:cNvSpPr/>
            <p:nvPr/>
          </p:nvSpPr>
          <p:spPr>
            <a:xfrm>
              <a:off x="2866490" y="3929864"/>
              <a:ext cx="1366463" cy="1366463"/>
            </a:xfrm>
            <a:prstGeom prst="rect">
              <a:avLst/>
            </a:prstGeom>
            <a:solidFill>
              <a:srgbClr val="77A5D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10000"/>
                </a:lnSpc>
                <a:spcBef>
                  <a:spcPts val="0"/>
                </a:spcBef>
                <a:spcAft>
                  <a:spcPts val="0"/>
                </a:spcAft>
                <a:buClrTx/>
                <a:buSzTx/>
                <a:buFontTx/>
                <a:buNone/>
                <a:tabLst/>
                <a:defRPr/>
              </a:pPr>
              <a:endParaRPr lang="da-DK" sz="1600" i="0" u="none" strike="noStrike" kern="1200" cap="none" spc="0" normalizeH="0" baseline="30000" noProof="0">
                <a:ln>
                  <a:noFill/>
                </a:ln>
                <a:effectLst/>
                <a:uLnTx/>
                <a:uFillTx/>
                <a:latin typeface="Academy Sans Office"/>
              </a:endParaRPr>
            </a:p>
          </p:txBody>
        </p:sp>
        <p:sp>
          <p:nvSpPr>
            <p:cNvPr id="14" name="Rektangel 13">
              <a:extLst>
                <a:ext uri="{FF2B5EF4-FFF2-40B4-BE49-F238E27FC236}">
                  <a16:creationId xmlns:a16="http://schemas.microsoft.com/office/drawing/2014/main" id="{381AB4A4-358F-42A1-BEA8-7A8248507C71}"/>
                </a:ext>
              </a:extLst>
            </p:cNvPr>
            <p:cNvSpPr/>
            <p:nvPr/>
          </p:nvSpPr>
          <p:spPr>
            <a:xfrm>
              <a:off x="2866491" y="2563401"/>
              <a:ext cx="1366463" cy="1366463"/>
            </a:xfrm>
            <a:prstGeom prst="rect">
              <a:avLst/>
            </a:prstGeom>
            <a:solidFill>
              <a:srgbClr val="1C69B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lvl="0">
                <a:buNone/>
              </a:pPr>
              <a:endParaRPr lang="da-DK" sz="1800"/>
            </a:p>
          </p:txBody>
        </p:sp>
        <p:sp>
          <p:nvSpPr>
            <p:cNvPr id="15" name="Rektangel 14">
              <a:extLst>
                <a:ext uri="{FF2B5EF4-FFF2-40B4-BE49-F238E27FC236}">
                  <a16:creationId xmlns:a16="http://schemas.microsoft.com/office/drawing/2014/main" id="{43162182-66EE-4ACD-A13E-304B42BEA527}"/>
                </a:ext>
              </a:extLst>
            </p:cNvPr>
            <p:cNvSpPr/>
            <p:nvPr/>
          </p:nvSpPr>
          <p:spPr>
            <a:xfrm>
              <a:off x="4217538" y="3929864"/>
              <a:ext cx="1366463" cy="1366463"/>
            </a:xfrm>
            <a:prstGeom prst="rect">
              <a:avLst/>
            </a:prstGeom>
            <a:solidFill>
              <a:srgbClr val="1C69B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600" b="0" i="0" u="none" strike="noStrike" noProof="0" err="1">
                  <a:solidFill>
                    <a:schemeClr val="bg1"/>
                  </a:solidFill>
                  <a:latin typeface="Academy Sans Office"/>
                </a:rPr>
                <a:t>Agencies</a:t>
              </a:r>
              <a:r>
                <a:rPr lang="da-DK" sz="1200" b="0" i="0" u="none" strike="noStrike" noProof="0">
                  <a:solidFill>
                    <a:schemeClr val="bg1"/>
                  </a:solidFill>
                  <a:latin typeface="Academy Sans Office"/>
                </a:rPr>
                <a:t> </a:t>
              </a:r>
              <a:endParaRPr lang="da-DK" sz="1200">
                <a:solidFill>
                  <a:schemeClr val="bg1"/>
                </a:solidFill>
              </a:endParaRPr>
            </a:p>
          </p:txBody>
        </p:sp>
        <p:sp>
          <p:nvSpPr>
            <p:cNvPr id="16" name="Rektangel 15">
              <a:extLst>
                <a:ext uri="{FF2B5EF4-FFF2-40B4-BE49-F238E27FC236}">
                  <a16:creationId xmlns:a16="http://schemas.microsoft.com/office/drawing/2014/main" id="{983108DC-75A2-4C36-A2DF-9280FB9788EE}"/>
                </a:ext>
              </a:extLst>
            </p:cNvPr>
            <p:cNvSpPr/>
            <p:nvPr/>
          </p:nvSpPr>
          <p:spPr>
            <a:xfrm>
              <a:off x="4217538" y="2563401"/>
              <a:ext cx="1366463" cy="1366463"/>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a:lnSpc>
                  <a:spcPct val="110000"/>
                </a:lnSpc>
                <a:spcBef>
                  <a:spcPts val="0"/>
                </a:spcBef>
                <a:spcAft>
                  <a:spcPts val="0"/>
                </a:spcAft>
                <a:buNone/>
              </a:pPr>
              <a:r>
                <a:rPr lang="da-DK" sz="1600" b="0" i="0" u="none" strike="noStrike" noProof="0">
                  <a:solidFill>
                    <a:schemeClr val="bg1"/>
                  </a:solidFill>
                  <a:latin typeface="Academy Sans Office"/>
                </a:rPr>
                <a:t>Citizens</a:t>
              </a:r>
              <a:endParaRPr lang="da-DK" sz="1600">
                <a:solidFill>
                  <a:schemeClr val="bg1"/>
                </a:solidFill>
              </a:endParaRPr>
            </a:p>
          </p:txBody>
        </p:sp>
      </p:grpSp>
      <p:sp>
        <p:nvSpPr>
          <p:cNvPr id="17" name="Tekstfelt 16">
            <a:extLst>
              <a:ext uri="{FF2B5EF4-FFF2-40B4-BE49-F238E27FC236}">
                <a16:creationId xmlns:a16="http://schemas.microsoft.com/office/drawing/2014/main" id="{CE0CE3DD-215C-4889-8E63-FB6B08487A0C}"/>
              </a:ext>
            </a:extLst>
          </p:cNvPr>
          <p:cNvSpPr txBox="1"/>
          <p:nvPr/>
        </p:nvSpPr>
        <p:spPr>
          <a:xfrm>
            <a:off x="652690" y="2186106"/>
            <a:ext cx="1160890" cy="245965"/>
          </a:xfrm>
          <a:prstGeom prst="rect">
            <a:avLst/>
          </a:prstGeom>
          <a:noFill/>
        </p:spPr>
        <p:txBody>
          <a:bodyPr wrap="square" lIns="0" tIns="0" rIns="0" bIns="0" rtlCol="0" anchor="t">
            <a:spAutoFit/>
          </a:bodyPr>
          <a:lstStyle/>
          <a:p>
            <a:pPr>
              <a:lnSpc>
                <a:spcPct val="110000"/>
              </a:lnSpc>
            </a:pPr>
            <a:r>
              <a:rPr lang="da-DK" sz="1600" err="1">
                <a:solidFill>
                  <a:schemeClr val="bg1"/>
                </a:solidFill>
              </a:rPr>
              <a:t>Politicians</a:t>
            </a:r>
          </a:p>
        </p:txBody>
      </p:sp>
      <p:sp>
        <p:nvSpPr>
          <p:cNvPr id="18" name="Tekstfelt 17">
            <a:extLst>
              <a:ext uri="{FF2B5EF4-FFF2-40B4-BE49-F238E27FC236}">
                <a16:creationId xmlns:a16="http://schemas.microsoft.com/office/drawing/2014/main" id="{5FDB6D6A-D298-4BB5-A703-24A623145C7A}"/>
              </a:ext>
            </a:extLst>
          </p:cNvPr>
          <p:cNvSpPr txBox="1"/>
          <p:nvPr/>
        </p:nvSpPr>
        <p:spPr>
          <a:xfrm>
            <a:off x="7744543" y="1179428"/>
            <a:ext cx="2934031" cy="615553"/>
          </a:xfrm>
          <a:prstGeom prst="rect">
            <a:avLst/>
          </a:prstGeom>
          <a:noFill/>
        </p:spPr>
        <p:txBody>
          <a:bodyPr wrap="square" lIns="0" tIns="0" rIns="0" bIns="0" rtlCol="0" anchor="t">
            <a:spAutoFit/>
          </a:bodyPr>
          <a:lstStyle/>
          <a:p>
            <a:r>
              <a:rPr lang="da-DK" sz="2000" err="1">
                <a:solidFill>
                  <a:schemeClr val="bg1"/>
                </a:solidFill>
                <a:latin typeface="Academy Sans"/>
              </a:rPr>
              <a:t>Responsibility</a:t>
            </a:r>
          </a:p>
          <a:p>
            <a:endParaRPr lang="da-DK" sz="2000">
              <a:solidFill>
                <a:schemeClr val="bg1"/>
              </a:solidFill>
              <a:latin typeface="Academy Sans Office"/>
            </a:endParaRPr>
          </a:p>
        </p:txBody>
      </p:sp>
      <p:sp>
        <p:nvSpPr>
          <p:cNvPr id="19" name="Tekstfelt 18">
            <a:extLst>
              <a:ext uri="{FF2B5EF4-FFF2-40B4-BE49-F238E27FC236}">
                <a16:creationId xmlns:a16="http://schemas.microsoft.com/office/drawing/2014/main" id="{E157A3BD-5696-45C2-B481-22E49F03912F}"/>
              </a:ext>
            </a:extLst>
          </p:cNvPr>
          <p:cNvSpPr txBox="1"/>
          <p:nvPr/>
        </p:nvSpPr>
        <p:spPr>
          <a:xfrm>
            <a:off x="7639915" y="1684892"/>
            <a:ext cx="6134430" cy="3046988"/>
          </a:xfrm>
          <a:prstGeom prst="rect">
            <a:avLst/>
          </a:prstGeom>
          <a:noFill/>
        </p:spPr>
        <p:txBody>
          <a:bodyPr wrap="square">
            <a:spAutoFit/>
          </a:bodyPr>
          <a:lstStyle/>
          <a:p>
            <a:r>
              <a:rPr lang="da-DK" sz="1600" err="1">
                <a:solidFill>
                  <a:schemeClr val="bg1"/>
                </a:solidFill>
              </a:rPr>
              <a:t>Develop</a:t>
            </a:r>
            <a:r>
              <a:rPr lang="da-DK" sz="1600">
                <a:solidFill>
                  <a:schemeClr val="bg1"/>
                </a:solidFill>
              </a:rPr>
              <a:t> in </a:t>
            </a:r>
            <a:r>
              <a:rPr lang="da-DK" sz="1600" err="1">
                <a:solidFill>
                  <a:schemeClr val="bg1"/>
                </a:solidFill>
              </a:rPr>
              <a:t>close</a:t>
            </a:r>
            <a:r>
              <a:rPr lang="da-DK" sz="1600">
                <a:solidFill>
                  <a:schemeClr val="bg1"/>
                </a:solidFill>
              </a:rPr>
              <a:t> </a:t>
            </a:r>
            <a:r>
              <a:rPr lang="da-DK" sz="1600" err="1">
                <a:solidFill>
                  <a:schemeClr val="bg1"/>
                </a:solidFill>
              </a:rPr>
              <a:t>collaboration</a:t>
            </a:r>
            <a:r>
              <a:rPr lang="da-DK" sz="1600">
                <a:solidFill>
                  <a:schemeClr val="bg1"/>
                </a:solidFill>
              </a:rPr>
              <a:t> </a:t>
            </a:r>
            <a:r>
              <a:rPr lang="da-DK" sz="1600" err="1">
                <a:solidFill>
                  <a:schemeClr val="bg1"/>
                </a:solidFill>
              </a:rPr>
              <a:t>wih</a:t>
            </a:r>
            <a:r>
              <a:rPr lang="da-DK" sz="1600">
                <a:solidFill>
                  <a:schemeClr val="bg1"/>
                </a:solidFill>
              </a:rPr>
              <a:t> the </a:t>
            </a:r>
          </a:p>
          <a:p>
            <a:r>
              <a:rPr lang="da-DK" sz="1600">
                <a:solidFill>
                  <a:schemeClr val="bg1"/>
                </a:solidFill>
              </a:rPr>
              <a:t>stakeholder landscape</a:t>
            </a:r>
          </a:p>
          <a:p>
            <a:endParaRPr lang="da-DK" sz="1600">
              <a:solidFill>
                <a:schemeClr val="bg1"/>
              </a:solidFill>
            </a:endParaRPr>
          </a:p>
          <a:p>
            <a:r>
              <a:rPr lang="da-DK" sz="1600">
                <a:solidFill>
                  <a:schemeClr val="bg1"/>
                </a:solidFill>
              </a:rPr>
              <a:t>Deliver solutions to a </a:t>
            </a:r>
            <a:r>
              <a:rPr lang="da-DK" sz="1600" err="1">
                <a:solidFill>
                  <a:schemeClr val="bg1"/>
                </a:solidFill>
              </a:rPr>
              <a:t>world</a:t>
            </a:r>
            <a:r>
              <a:rPr lang="da-DK" sz="1600">
                <a:solidFill>
                  <a:schemeClr val="bg1"/>
                </a:solidFill>
              </a:rPr>
              <a:t> </a:t>
            </a:r>
            <a:r>
              <a:rPr lang="da-DK" sz="1600" err="1">
                <a:solidFill>
                  <a:schemeClr val="bg1"/>
                </a:solidFill>
              </a:rPr>
              <a:t>that</a:t>
            </a:r>
            <a:r>
              <a:rPr lang="da-DK" sz="1600">
                <a:solidFill>
                  <a:schemeClr val="bg1"/>
                </a:solidFill>
              </a:rPr>
              <a:t> is </a:t>
            </a:r>
            <a:r>
              <a:rPr lang="da-DK" sz="1600" err="1">
                <a:solidFill>
                  <a:schemeClr val="bg1"/>
                </a:solidFill>
              </a:rPr>
              <a:t>constantly</a:t>
            </a:r>
            <a:r>
              <a:rPr lang="da-DK" sz="1600">
                <a:solidFill>
                  <a:schemeClr val="bg1"/>
                </a:solidFill>
              </a:rPr>
              <a:t> </a:t>
            </a:r>
          </a:p>
          <a:p>
            <a:r>
              <a:rPr lang="da-DK" sz="1600" err="1">
                <a:solidFill>
                  <a:schemeClr val="bg1"/>
                </a:solidFill>
              </a:rPr>
              <a:t>changing</a:t>
            </a:r>
            <a:r>
              <a:rPr lang="da-DK" sz="1600">
                <a:solidFill>
                  <a:schemeClr val="bg1"/>
                </a:solidFill>
              </a:rPr>
              <a:t>, </a:t>
            </a:r>
            <a:r>
              <a:rPr lang="da-DK" sz="1600" err="1">
                <a:solidFill>
                  <a:schemeClr val="bg1"/>
                </a:solidFill>
              </a:rPr>
              <a:t>nationally</a:t>
            </a:r>
            <a:r>
              <a:rPr lang="da-DK" sz="1600">
                <a:solidFill>
                  <a:schemeClr val="bg1"/>
                </a:solidFill>
              </a:rPr>
              <a:t> as </a:t>
            </a:r>
            <a:r>
              <a:rPr lang="da-DK" sz="1600" err="1">
                <a:solidFill>
                  <a:schemeClr val="bg1"/>
                </a:solidFill>
              </a:rPr>
              <a:t>well</a:t>
            </a:r>
            <a:r>
              <a:rPr lang="da-DK" sz="1600">
                <a:solidFill>
                  <a:schemeClr val="bg1"/>
                </a:solidFill>
              </a:rPr>
              <a:t> as </a:t>
            </a:r>
            <a:r>
              <a:rPr lang="da-DK" sz="1600" err="1">
                <a:solidFill>
                  <a:schemeClr val="bg1"/>
                </a:solidFill>
              </a:rPr>
              <a:t>internationally</a:t>
            </a:r>
            <a:endParaRPr lang="da-DK" sz="1600">
              <a:solidFill>
                <a:schemeClr val="bg1"/>
              </a:solidFill>
            </a:endParaRPr>
          </a:p>
          <a:p>
            <a:br>
              <a:rPr lang="da-DK" sz="1600">
                <a:solidFill>
                  <a:schemeClr val="bg1"/>
                </a:solidFill>
              </a:rPr>
            </a:br>
            <a:r>
              <a:rPr lang="da-DK" sz="1600" err="1">
                <a:solidFill>
                  <a:schemeClr val="bg1"/>
                </a:solidFill>
              </a:rPr>
              <a:t>Flexibility</a:t>
            </a:r>
            <a:r>
              <a:rPr lang="da-DK" sz="1600">
                <a:solidFill>
                  <a:schemeClr val="bg1"/>
                </a:solidFill>
              </a:rPr>
              <a:t> in </a:t>
            </a:r>
            <a:r>
              <a:rPr lang="da-DK" sz="1600" err="1">
                <a:solidFill>
                  <a:schemeClr val="bg1"/>
                </a:solidFill>
              </a:rPr>
              <a:t>development</a:t>
            </a:r>
            <a:r>
              <a:rPr lang="da-DK" sz="1600">
                <a:solidFill>
                  <a:schemeClr val="bg1"/>
                </a:solidFill>
              </a:rPr>
              <a:t> </a:t>
            </a:r>
            <a:r>
              <a:rPr lang="da-DK" sz="1600" err="1">
                <a:solidFill>
                  <a:schemeClr val="bg1"/>
                </a:solidFill>
              </a:rPr>
              <a:t>processes</a:t>
            </a:r>
            <a:endParaRPr lang="da-DK" sz="1600">
              <a:solidFill>
                <a:schemeClr val="bg1"/>
              </a:solidFill>
            </a:endParaRPr>
          </a:p>
          <a:p>
            <a:endParaRPr lang="da-DK" sz="1600">
              <a:solidFill>
                <a:schemeClr val="bg1"/>
              </a:solidFill>
            </a:endParaRPr>
          </a:p>
          <a:p>
            <a:r>
              <a:rPr lang="da-DK" sz="1600">
                <a:solidFill>
                  <a:schemeClr val="bg1"/>
                </a:solidFill>
              </a:rPr>
              <a:t>Deliver </a:t>
            </a:r>
            <a:r>
              <a:rPr lang="da-DK" sz="1600" err="1">
                <a:solidFill>
                  <a:schemeClr val="bg1"/>
                </a:solidFill>
              </a:rPr>
              <a:t>frequent</a:t>
            </a:r>
            <a:r>
              <a:rPr lang="da-DK" sz="1600">
                <a:solidFill>
                  <a:schemeClr val="bg1"/>
                </a:solidFill>
              </a:rPr>
              <a:t> business </a:t>
            </a:r>
            <a:r>
              <a:rPr lang="da-DK" sz="1600" err="1">
                <a:solidFill>
                  <a:schemeClr val="bg1"/>
                </a:solidFill>
              </a:rPr>
              <a:t>value</a:t>
            </a:r>
            <a:r>
              <a:rPr lang="da-DK" sz="1600">
                <a:solidFill>
                  <a:schemeClr val="bg1"/>
                </a:solidFill>
              </a:rPr>
              <a:t> in high </a:t>
            </a:r>
            <a:r>
              <a:rPr lang="da-DK" sz="1600" err="1">
                <a:solidFill>
                  <a:schemeClr val="bg1"/>
                </a:solidFill>
              </a:rPr>
              <a:t>quality</a:t>
            </a:r>
            <a:endParaRPr lang="da-DK" sz="1600">
              <a:solidFill>
                <a:schemeClr val="bg1"/>
              </a:solidFill>
            </a:endParaRPr>
          </a:p>
          <a:p>
            <a:endParaRPr lang="da-DK" sz="1600">
              <a:solidFill>
                <a:schemeClr val="bg1"/>
              </a:solidFill>
            </a:endParaRPr>
          </a:p>
          <a:p>
            <a:r>
              <a:rPr lang="da-DK" sz="1600" err="1">
                <a:solidFill>
                  <a:schemeClr val="bg1"/>
                </a:solidFill>
              </a:rPr>
              <a:t>opportunity</a:t>
            </a:r>
            <a:r>
              <a:rPr lang="da-DK" sz="1600">
                <a:solidFill>
                  <a:schemeClr val="bg1"/>
                </a:solidFill>
              </a:rPr>
              <a:t> to </a:t>
            </a:r>
            <a:r>
              <a:rPr lang="da-DK" sz="1600" err="1">
                <a:solidFill>
                  <a:schemeClr val="bg1"/>
                </a:solidFill>
              </a:rPr>
              <a:t>acquire</a:t>
            </a:r>
            <a:r>
              <a:rPr lang="da-DK" sz="1600">
                <a:solidFill>
                  <a:schemeClr val="bg1"/>
                </a:solidFill>
              </a:rPr>
              <a:t> new </a:t>
            </a:r>
            <a:r>
              <a:rPr lang="da-DK" sz="1600" err="1">
                <a:solidFill>
                  <a:schemeClr val="bg1"/>
                </a:solidFill>
              </a:rPr>
              <a:t>knowledge</a:t>
            </a:r>
            <a:r>
              <a:rPr lang="da-DK" sz="1600">
                <a:solidFill>
                  <a:schemeClr val="bg1"/>
                </a:solidFill>
              </a:rPr>
              <a:t> </a:t>
            </a:r>
          </a:p>
          <a:p>
            <a:r>
              <a:rPr lang="da-DK" sz="1600">
                <a:solidFill>
                  <a:schemeClr val="bg1"/>
                </a:solidFill>
              </a:rPr>
              <a:t>and </a:t>
            </a:r>
            <a:r>
              <a:rPr lang="da-DK" sz="1600" err="1">
                <a:solidFill>
                  <a:schemeClr val="bg1"/>
                </a:solidFill>
              </a:rPr>
              <a:t>act</a:t>
            </a:r>
            <a:r>
              <a:rPr lang="da-DK" sz="1600">
                <a:solidFill>
                  <a:schemeClr val="bg1"/>
                </a:solidFill>
              </a:rPr>
              <a:t> </a:t>
            </a:r>
            <a:r>
              <a:rPr lang="da-DK" sz="1600" err="1">
                <a:solidFill>
                  <a:schemeClr val="bg1"/>
                </a:solidFill>
              </a:rPr>
              <a:t>accordingly</a:t>
            </a:r>
            <a:endParaRPr lang="da-DK" sz="1600">
              <a:solidFill>
                <a:schemeClr val="bg1"/>
              </a:solidFill>
            </a:endParaRPr>
          </a:p>
        </p:txBody>
      </p:sp>
      <p:sp>
        <p:nvSpPr>
          <p:cNvPr id="20" name="Tekstfelt 19">
            <a:extLst>
              <a:ext uri="{FF2B5EF4-FFF2-40B4-BE49-F238E27FC236}">
                <a16:creationId xmlns:a16="http://schemas.microsoft.com/office/drawing/2014/main" id="{E1A6E278-8C7A-4422-BB87-44AD8879C80D}"/>
              </a:ext>
            </a:extLst>
          </p:cNvPr>
          <p:cNvSpPr txBox="1"/>
          <p:nvPr/>
        </p:nvSpPr>
        <p:spPr>
          <a:xfrm>
            <a:off x="2342341" y="3503040"/>
            <a:ext cx="332630" cy="245965"/>
          </a:xfrm>
          <a:prstGeom prst="rect">
            <a:avLst/>
          </a:prstGeom>
          <a:noFill/>
        </p:spPr>
        <p:txBody>
          <a:bodyPr wrap="square" lIns="0" tIns="0" rIns="0" bIns="0" rtlCol="0" anchor="t">
            <a:spAutoFit/>
          </a:bodyPr>
          <a:lstStyle/>
          <a:p>
            <a:pPr>
              <a:lnSpc>
                <a:spcPct val="110000"/>
              </a:lnSpc>
            </a:pPr>
            <a:r>
              <a:rPr lang="da-DK" sz="1600">
                <a:solidFill>
                  <a:schemeClr val="bg1"/>
                </a:solidFill>
              </a:rPr>
              <a:t>EU</a:t>
            </a:r>
          </a:p>
        </p:txBody>
      </p:sp>
      <p:sp>
        <p:nvSpPr>
          <p:cNvPr id="21" name="Tekstfelt 20">
            <a:extLst>
              <a:ext uri="{FF2B5EF4-FFF2-40B4-BE49-F238E27FC236}">
                <a16:creationId xmlns:a16="http://schemas.microsoft.com/office/drawing/2014/main" id="{0D386351-18A4-41E6-9E37-89C164402238}"/>
              </a:ext>
            </a:extLst>
          </p:cNvPr>
          <p:cNvSpPr txBox="1"/>
          <p:nvPr/>
        </p:nvSpPr>
        <p:spPr>
          <a:xfrm>
            <a:off x="2060733" y="2186105"/>
            <a:ext cx="1160890" cy="245965"/>
          </a:xfrm>
          <a:prstGeom prst="rect">
            <a:avLst/>
          </a:prstGeom>
          <a:noFill/>
        </p:spPr>
        <p:txBody>
          <a:bodyPr wrap="square" lIns="0" tIns="0" rIns="0" bIns="0" rtlCol="0" anchor="t">
            <a:spAutoFit/>
          </a:bodyPr>
          <a:lstStyle/>
          <a:p>
            <a:pPr>
              <a:lnSpc>
                <a:spcPct val="110000"/>
              </a:lnSpc>
            </a:pPr>
            <a:r>
              <a:rPr lang="da-DK" sz="1600" err="1">
                <a:solidFill>
                  <a:schemeClr val="bg1"/>
                </a:solidFill>
              </a:rPr>
              <a:t>Vendors</a:t>
            </a:r>
          </a:p>
        </p:txBody>
      </p:sp>
      <mc:AlternateContent xmlns:mc="http://schemas.openxmlformats.org/markup-compatibility/2006">
        <mc:Choice xmlns:p14="http://schemas.microsoft.com/office/powerpoint/2010/main" Requires="p14">
          <p:contentPart p14:bwMode="auto" r:id="rId4">
            <p14:nvContentPartPr>
              <p14:cNvPr id="2" name="Håndskrift 1">
                <a:extLst>
                  <a:ext uri="{FF2B5EF4-FFF2-40B4-BE49-F238E27FC236}">
                    <a16:creationId xmlns:a16="http://schemas.microsoft.com/office/drawing/2014/main" id="{F90020B1-757A-44DF-AEFF-B4D5D176E852}"/>
                  </a:ext>
                </a:extLst>
              </p14:cNvPr>
              <p14:cNvContentPartPr/>
              <p14:nvPr/>
            </p14:nvContentPartPr>
            <p14:xfrm>
              <a:off x="439560" y="1834200"/>
              <a:ext cx="7242480" cy="2515680"/>
            </p14:xfrm>
          </p:contentPart>
        </mc:Choice>
        <mc:Fallback>
          <p:pic>
            <p:nvPicPr>
              <p:cNvPr id="2" name="Håndskrift 1">
                <a:extLst>
                  <a:ext uri="{FF2B5EF4-FFF2-40B4-BE49-F238E27FC236}">
                    <a16:creationId xmlns:a16="http://schemas.microsoft.com/office/drawing/2014/main" id="{F90020B1-757A-44DF-AEFF-B4D5D176E852}"/>
                  </a:ext>
                </a:extLst>
              </p:cNvPr>
              <p:cNvPicPr/>
              <p:nvPr/>
            </p:nvPicPr>
            <p:blipFill>
              <a:blip r:embed="rId5"/>
              <a:stretch>
                <a:fillRect/>
              </a:stretch>
            </p:blipFill>
            <p:spPr>
              <a:xfrm>
                <a:off x="430200" y="1824840"/>
                <a:ext cx="7261200" cy="2534400"/>
              </a:xfrm>
              <a:prstGeom prst="rect">
                <a:avLst/>
              </a:prstGeom>
            </p:spPr>
          </p:pic>
        </mc:Fallback>
      </mc:AlternateContent>
    </p:spTree>
    <p:extLst>
      <p:ext uri="{BB962C8B-B14F-4D97-AF65-F5344CB8AC3E}">
        <p14:creationId xmlns:p14="http://schemas.microsoft.com/office/powerpoint/2010/main" val="1155859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12F6D41-315C-4FD1-AD34-DFF1D057C66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5" name="think-cell Slide" r:id="rId6" imgW="306" imgH="306" progId="TCLayout.ActiveDocument.1">
                  <p:embed/>
                </p:oleObj>
              </mc:Choice>
              <mc:Fallback>
                <p:oleObj name="think-cell Slide" r:id="rId6" imgW="306" imgH="306" progId="TCLayout.ActiveDocument.1">
                  <p:embed/>
                  <p:pic>
                    <p:nvPicPr>
                      <p:cNvPr id="5" name="Objekt 4" hidden="1">
                        <a:extLst>
                          <a:ext uri="{FF2B5EF4-FFF2-40B4-BE49-F238E27FC236}">
                            <a16:creationId xmlns:a16="http://schemas.microsoft.com/office/drawing/2014/main" id="{A12F6D41-315C-4FD1-AD34-DFF1D057C66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D4FE580D-4270-4378-8F49-B807949C4198}"/>
              </a:ext>
            </a:extLst>
          </p:cNvPr>
          <p:cNvSpPr/>
          <p:nvPr/>
        </p:nvSpPr>
        <p:spPr>
          <a:xfrm>
            <a:off x="0" y="1059402"/>
            <a:ext cx="12192000" cy="5798598"/>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1000"/>
              </a:lnSpc>
            </a:pPr>
            <a:endParaRPr lang="da-DK" sz="1500" noProof="0" err="1">
              <a:solidFill>
                <a:schemeClr val="bg1"/>
              </a:solidFill>
            </a:endParaRPr>
          </a:p>
        </p:txBody>
      </p:sp>
      <p:sp>
        <p:nvSpPr>
          <p:cNvPr id="10" name="Undertitel 9">
            <a:extLst>
              <a:ext uri="{FF2B5EF4-FFF2-40B4-BE49-F238E27FC236}">
                <a16:creationId xmlns:a16="http://schemas.microsoft.com/office/drawing/2014/main" id="{EF8ED36D-CFB5-47CC-A730-68F1E93C4393}"/>
              </a:ext>
            </a:extLst>
          </p:cNvPr>
          <p:cNvSpPr>
            <a:spLocks noGrp="1"/>
          </p:cNvSpPr>
          <p:nvPr>
            <p:ph type="subTitle" idx="1"/>
          </p:nvPr>
        </p:nvSpPr>
        <p:spPr/>
        <p:txBody>
          <a:bodyPr/>
          <a:lstStyle/>
          <a:p>
            <a:endParaRPr lang="da-DK"/>
          </a:p>
        </p:txBody>
      </p:sp>
      <p:sp>
        <p:nvSpPr>
          <p:cNvPr id="2" name="Pladsholder til dato 1">
            <a:extLst>
              <a:ext uri="{FF2B5EF4-FFF2-40B4-BE49-F238E27FC236}">
                <a16:creationId xmlns:a16="http://schemas.microsoft.com/office/drawing/2014/main" id="{FD8665E8-55F6-B24E-AF08-15B11B2643D7}"/>
              </a:ext>
            </a:extLst>
          </p:cNvPr>
          <p:cNvSpPr>
            <a:spLocks noGrp="1"/>
          </p:cNvSpPr>
          <p:nvPr>
            <p:ph type="dt" sz="half" idx="10"/>
          </p:nvPr>
        </p:nvSpPr>
        <p:spPr/>
        <p:txBody>
          <a:bodyPr/>
          <a:lstStyle/>
          <a:p>
            <a:fld id="{0EB8853E-D6FB-4173-9125-4D0D0EFC7EDD}" type="datetime2">
              <a:rPr lang="da-DK" smtClean="0"/>
              <a:pPr/>
              <a:t>18. januar 2022</a:t>
            </a:fld>
            <a:endParaRPr lang="da-DK"/>
          </a:p>
        </p:txBody>
      </p:sp>
      <p:sp>
        <p:nvSpPr>
          <p:cNvPr id="11" name="Pladsholder til tekst 10">
            <a:extLst>
              <a:ext uri="{FF2B5EF4-FFF2-40B4-BE49-F238E27FC236}">
                <a16:creationId xmlns:a16="http://schemas.microsoft.com/office/drawing/2014/main" id="{42DF54D7-FA97-4C8D-A5C8-24B85C8D652D}"/>
              </a:ext>
            </a:extLst>
          </p:cNvPr>
          <p:cNvSpPr>
            <a:spLocks noGrp="1"/>
          </p:cNvSpPr>
          <p:nvPr>
            <p:ph type="body" sz="quarter" idx="16"/>
          </p:nvPr>
        </p:nvSpPr>
        <p:spPr/>
        <p:txBody>
          <a:bodyPr/>
          <a:lstStyle/>
          <a:p>
            <a:endParaRPr lang="da-DK"/>
          </a:p>
        </p:txBody>
      </p:sp>
      <p:sp>
        <p:nvSpPr>
          <p:cNvPr id="21" name="Tekstfelt 20">
            <a:extLst>
              <a:ext uri="{FF2B5EF4-FFF2-40B4-BE49-F238E27FC236}">
                <a16:creationId xmlns:a16="http://schemas.microsoft.com/office/drawing/2014/main" id="{1A18A639-6381-934C-8C37-7FCA67F01762}"/>
              </a:ext>
            </a:extLst>
          </p:cNvPr>
          <p:cNvSpPr txBox="1"/>
          <p:nvPr/>
        </p:nvSpPr>
        <p:spPr>
          <a:xfrm>
            <a:off x="8751067" y="5089217"/>
            <a:ext cx="918521" cy="278794"/>
          </a:xfrm>
          <a:prstGeom prst="rect">
            <a:avLst/>
          </a:prstGeom>
          <a:noFill/>
        </p:spPr>
        <p:txBody>
          <a:bodyPr wrap="none" lIns="0" tIns="0" rIns="0" bIns="0" rtlCol="0">
            <a:spAutoFit/>
          </a:bodyPr>
          <a:lstStyle/>
          <a:p>
            <a:pPr>
              <a:lnSpc>
                <a:spcPct val="111000"/>
              </a:lnSpc>
            </a:pPr>
            <a:r>
              <a:rPr lang="da-DK" b="1">
                <a:solidFill>
                  <a:schemeClr val="bg1"/>
                </a:solidFill>
                <a:latin typeface="Academy Sans" panose="020B0503030000000000" pitchFamily="34" charset="0"/>
                <a:ea typeface="+mj-lt"/>
                <a:cs typeface="+mj-lt"/>
              </a:rPr>
              <a:t>30-75%</a:t>
            </a:r>
            <a:endParaRPr lang="da-DK" b="1">
              <a:solidFill>
                <a:schemeClr val="bg1"/>
              </a:solidFill>
              <a:latin typeface="Academy Sans" panose="020B0503030000000000" pitchFamily="34" charset="0"/>
            </a:endParaRPr>
          </a:p>
        </p:txBody>
      </p:sp>
      <p:sp>
        <p:nvSpPr>
          <p:cNvPr id="22" name="Tekstfelt 21">
            <a:extLst>
              <a:ext uri="{FF2B5EF4-FFF2-40B4-BE49-F238E27FC236}">
                <a16:creationId xmlns:a16="http://schemas.microsoft.com/office/drawing/2014/main" id="{DDB6FBD8-F793-594F-9E5A-5B0DBF7D07B5}"/>
              </a:ext>
            </a:extLst>
          </p:cNvPr>
          <p:cNvSpPr txBox="1"/>
          <p:nvPr/>
        </p:nvSpPr>
        <p:spPr>
          <a:xfrm>
            <a:off x="6944737" y="3722195"/>
            <a:ext cx="918521" cy="278794"/>
          </a:xfrm>
          <a:prstGeom prst="rect">
            <a:avLst/>
          </a:prstGeom>
          <a:noFill/>
        </p:spPr>
        <p:txBody>
          <a:bodyPr wrap="none" lIns="0" tIns="0" rIns="0" bIns="0" rtlCol="0">
            <a:spAutoFit/>
          </a:bodyPr>
          <a:lstStyle/>
          <a:p>
            <a:pPr>
              <a:lnSpc>
                <a:spcPct val="111000"/>
              </a:lnSpc>
            </a:pPr>
            <a:r>
              <a:rPr lang="da-DK" b="1">
                <a:solidFill>
                  <a:schemeClr val="bg1"/>
                </a:solidFill>
                <a:latin typeface="Academy Sans" panose="020B0503030000000000" pitchFamily="34" charset="0"/>
                <a:ea typeface="+mj-lt"/>
                <a:cs typeface="+mj-lt"/>
              </a:rPr>
              <a:t>30-75%</a:t>
            </a:r>
            <a:endParaRPr lang="da-DK" b="1">
              <a:solidFill>
                <a:schemeClr val="bg1"/>
              </a:solidFill>
              <a:latin typeface="Academy Sans" panose="020B0503030000000000" pitchFamily="34" charset="0"/>
            </a:endParaRPr>
          </a:p>
        </p:txBody>
      </p:sp>
      <p:sp>
        <p:nvSpPr>
          <p:cNvPr id="23" name="Tekstfelt 22">
            <a:extLst>
              <a:ext uri="{FF2B5EF4-FFF2-40B4-BE49-F238E27FC236}">
                <a16:creationId xmlns:a16="http://schemas.microsoft.com/office/drawing/2014/main" id="{D7712036-4C0E-724E-93B2-EC439083BDBE}"/>
              </a:ext>
            </a:extLst>
          </p:cNvPr>
          <p:cNvSpPr txBox="1"/>
          <p:nvPr/>
        </p:nvSpPr>
        <p:spPr>
          <a:xfrm>
            <a:off x="10487332" y="3707816"/>
            <a:ext cx="918521" cy="278794"/>
          </a:xfrm>
          <a:prstGeom prst="rect">
            <a:avLst/>
          </a:prstGeom>
          <a:noFill/>
        </p:spPr>
        <p:txBody>
          <a:bodyPr wrap="none" lIns="0" tIns="0" rIns="0" bIns="0" rtlCol="0">
            <a:spAutoFit/>
          </a:bodyPr>
          <a:lstStyle/>
          <a:p>
            <a:pPr>
              <a:lnSpc>
                <a:spcPct val="111000"/>
              </a:lnSpc>
            </a:pPr>
            <a:r>
              <a:rPr lang="da-DK" b="1">
                <a:solidFill>
                  <a:schemeClr val="bg1"/>
                </a:solidFill>
                <a:latin typeface="Academy Sans" panose="020B0503030000000000" pitchFamily="34" charset="0"/>
                <a:ea typeface="+mj-lt"/>
                <a:cs typeface="+mj-lt"/>
              </a:rPr>
              <a:t>30-75%</a:t>
            </a:r>
            <a:endParaRPr lang="da-DK" b="1">
              <a:solidFill>
                <a:schemeClr val="bg1"/>
              </a:solidFill>
              <a:latin typeface="Academy Sans" panose="020B0503030000000000" pitchFamily="34" charset="0"/>
            </a:endParaRPr>
          </a:p>
        </p:txBody>
      </p:sp>
      <p:pic>
        <p:nvPicPr>
          <p:cNvPr id="3" name="Billede 2">
            <a:extLst>
              <a:ext uri="{FF2B5EF4-FFF2-40B4-BE49-F238E27FC236}">
                <a16:creationId xmlns:a16="http://schemas.microsoft.com/office/drawing/2014/main" id="{1D81CEDE-EC8A-B845-BA7C-A72901C405D3}"/>
              </a:ext>
            </a:extLst>
          </p:cNvPr>
          <p:cNvPicPr>
            <a:picLocks noChangeAspect="1"/>
          </p:cNvPicPr>
          <p:nvPr/>
        </p:nvPicPr>
        <p:blipFill>
          <a:blip r:embed="rId8" cstate="print"/>
          <a:stretch>
            <a:fillRect/>
          </a:stretch>
        </p:blipFill>
        <p:spPr>
          <a:xfrm>
            <a:off x="502147" y="1120540"/>
            <a:ext cx="11149853" cy="5315798"/>
          </a:xfrm>
          <a:prstGeom prst="rect">
            <a:avLst/>
          </a:prstGeom>
        </p:spPr>
      </p:pic>
      <p:sp>
        <p:nvSpPr>
          <p:cNvPr id="24" name="Tekstfelt 23">
            <a:extLst>
              <a:ext uri="{FF2B5EF4-FFF2-40B4-BE49-F238E27FC236}">
                <a16:creationId xmlns:a16="http://schemas.microsoft.com/office/drawing/2014/main" id="{F05BE939-6C88-F04F-869E-936D477E16EA}"/>
              </a:ext>
            </a:extLst>
          </p:cNvPr>
          <p:cNvSpPr txBox="1"/>
          <p:nvPr/>
        </p:nvSpPr>
        <p:spPr>
          <a:xfrm>
            <a:off x="502147" y="482800"/>
            <a:ext cx="3502925" cy="492443"/>
          </a:xfrm>
          <a:prstGeom prst="rect">
            <a:avLst/>
          </a:prstGeom>
          <a:noFill/>
        </p:spPr>
        <p:txBody>
          <a:bodyPr wrap="square" lIns="0" tIns="0" rIns="0" bIns="0" rtlCol="0">
            <a:spAutoFit/>
          </a:bodyPr>
          <a:lstStyle/>
          <a:p>
            <a:r>
              <a:rPr lang="da-DK" sz="3200" b="1">
                <a:solidFill>
                  <a:srgbClr val="FFFFFF"/>
                </a:solidFill>
                <a:latin typeface="Academy Sans" panose="020B0503030000000000" pitchFamily="34" charset="0"/>
                <a:ea typeface="+mj-lt"/>
                <a:cs typeface="+mj-lt"/>
              </a:rPr>
              <a:t>Water Fall &amp; Agile</a:t>
            </a:r>
            <a:endParaRPr lang="da-DK" sz="3200" b="1">
              <a:solidFill>
                <a:srgbClr val="FFFFFF"/>
              </a:solidFill>
              <a:latin typeface="Academy Sans" panose="020B0503030000000000" pitchFamily="34" charset="0"/>
            </a:endParaRPr>
          </a:p>
        </p:txBody>
      </p:sp>
      <p:sp>
        <p:nvSpPr>
          <p:cNvPr id="6" name="Tekstfelt 5">
            <a:extLst>
              <a:ext uri="{FF2B5EF4-FFF2-40B4-BE49-F238E27FC236}">
                <a16:creationId xmlns:a16="http://schemas.microsoft.com/office/drawing/2014/main" id="{0D33B844-AAF8-489F-9931-7A3527FE3451}"/>
              </a:ext>
            </a:extLst>
          </p:cNvPr>
          <p:cNvSpPr txBox="1"/>
          <p:nvPr/>
        </p:nvSpPr>
        <p:spPr>
          <a:xfrm>
            <a:off x="621792" y="1728216"/>
            <a:ext cx="1161288" cy="235962"/>
          </a:xfrm>
          <a:prstGeom prst="rect">
            <a:avLst/>
          </a:prstGeom>
          <a:solidFill>
            <a:schemeClr val="bg1"/>
          </a:solidFill>
        </p:spPr>
        <p:txBody>
          <a:bodyPr wrap="square" lIns="0" tIns="0" rIns="0" bIns="0" rtlCol="0">
            <a:spAutoFit/>
          </a:bodyPr>
          <a:lstStyle/>
          <a:p>
            <a:pPr algn="l">
              <a:lnSpc>
                <a:spcPct val="111000"/>
              </a:lnSpc>
            </a:pPr>
            <a:r>
              <a:rPr lang="da-DK" sz="1500"/>
              <a:t>Water Fall</a:t>
            </a:r>
          </a:p>
        </p:txBody>
      </p:sp>
      <p:sp>
        <p:nvSpPr>
          <p:cNvPr id="13" name="Tekstfelt 12">
            <a:extLst>
              <a:ext uri="{FF2B5EF4-FFF2-40B4-BE49-F238E27FC236}">
                <a16:creationId xmlns:a16="http://schemas.microsoft.com/office/drawing/2014/main" id="{EF4F6DC5-8083-48F6-93D3-E2930632D508}"/>
              </a:ext>
            </a:extLst>
          </p:cNvPr>
          <p:cNvSpPr txBox="1"/>
          <p:nvPr/>
        </p:nvSpPr>
        <p:spPr>
          <a:xfrm>
            <a:off x="3069336" y="2316591"/>
            <a:ext cx="1161288" cy="235962"/>
          </a:xfrm>
          <a:prstGeom prst="rect">
            <a:avLst/>
          </a:prstGeom>
          <a:solidFill>
            <a:schemeClr val="bg1"/>
          </a:solidFill>
        </p:spPr>
        <p:txBody>
          <a:bodyPr wrap="square" lIns="0" tIns="0" rIns="0" bIns="0" rtlCol="0">
            <a:spAutoFit/>
          </a:bodyPr>
          <a:lstStyle/>
          <a:p>
            <a:pPr algn="l">
              <a:lnSpc>
                <a:spcPct val="111000"/>
              </a:lnSpc>
            </a:pPr>
            <a:r>
              <a:rPr lang="da-DK" sz="1500"/>
              <a:t>Phase</a:t>
            </a:r>
          </a:p>
        </p:txBody>
      </p:sp>
      <p:sp>
        <p:nvSpPr>
          <p:cNvPr id="15" name="Tekstfelt 14">
            <a:extLst>
              <a:ext uri="{FF2B5EF4-FFF2-40B4-BE49-F238E27FC236}">
                <a16:creationId xmlns:a16="http://schemas.microsoft.com/office/drawing/2014/main" id="{950A6F86-F42D-4552-900C-8088444B2779}"/>
              </a:ext>
            </a:extLst>
          </p:cNvPr>
          <p:cNvSpPr txBox="1"/>
          <p:nvPr/>
        </p:nvSpPr>
        <p:spPr>
          <a:xfrm>
            <a:off x="5215128" y="2698534"/>
            <a:ext cx="1161288" cy="235962"/>
          </a:xfrm>
          <a:prstGeom prst="rect">
            <a:avLst/>
          </a:prstGeom>
          <a:solidFill>
            <a:schemeClr val="bg1"/>
          </a:solidFill>
        </p:spPr>
        <p:txBody>
          <a:bodyPr wrap="square" lIns="0" tIns="0" rIns="0" bIns="0" rtlCol="0">
            <a:spAutoFit/>
          </a:bodyPr>
          <a:lstStyle/>
          <a:p>
            <a:pPr algn="l">
              <a:lnSpc>
                <a:spcPct val="111000"/>
              </a:lnSpc>
            </a:pPr>
            <a:r>
              <a:rPr lang="da-DK" sz="1500"/>
              <a:t>Phase</a:t>
            </a:r>
          </a:p>
        </p:txBody>
      </p:sp>
      <p:sp>
        <p:nvSpPr>
          <p:cNvPr id="16" name="Tekstfelt 15">
            <a:extLst>
              <a:ext uri="{FF2B5EF4-FFF2-40B4-BE49-F238E27FC236}">
                <a16:creationId xmlns:a16="http://schemas.microsoft.com/office/drawing/2014/main" id="{84F7DF40-E599-48FA-B1C6-C96BEF0889FB}"/>
              </a:ext>
            </a:extLst>
          </p:cNvPr>
          <p:cNvSpPr txBox="1"/>
          <p:nvPr/>
        </p:nvSpPr>
        <p:spPr>
          <a:xfrm>
            <a:off x="7059168" y="2934496"/>
            <a:ext cx="1161288" cy="235962"/>
          </a:xfrm>
          <a:prstGeom prst="rect">
            <a:avLst/>
          </a:prstGeom>
          <a:solidFill>
            <a:schemeClr val="bg1"/>
          </a:solidFill>
        </p:spPr>
        <p:txBody>
          <a:bodyPr wrap="square" lIns="0" tIns="0" rIns="0" bIns="0" rtlCol="0">
            <a:spAutoFit/>
          </a:bodyPr>
          <a:lstStyle/>
          <a:p>
            <a:pPr algn="l">
              <a:lnSpc>
                <a:spcPct val="111000"/>
              </a:lnSpc>
            </a:pPr>
            <a:r>
              <a:rPr lang="da-DK" sz="1500"/>
              <a:t>Phase</a:t>
            </a:r>
          </a:p>
        </p:txBody>
      </p:sp>
      <p:sp>
        <p:nvSpPr>
          <p:cNvPr id="17" name="Tekstfelt 16">
            <a:extLst>
              <a:ext uri="{FF2B5EF4-FFF2-40B4-BE49-F238E27FC236}">
                <a16:creationId xmlns:a16="http://schemas.microsoft.com/office/drawing/2014/main" id="{FABEC711-B41D-4336-A527-8CE613480A44}"/>
              </a:ext>
            </a:extLst>
          </p:cNvPr>
          <p:cNvSpPr txBox="1"/>
          <p:nvPr/>
        </p:nvSpPr>
        <p:spPr>
          <a:xfrm>
            <a:off x="9088944" y="3233756"/>
            <a:ext cx="1161288" cy="235962"/>
          </a:xfrm>
          <a:prstGeom prst="rect">
            <a:avLst/>
          </a:prstGeom>
          <a:solidFill>
            <a:schemeClr val="bg1"/>
          </a:solidFill>
        </p:spPr>
        <p:txBody>
          <a:bodyPr wrap="square" lIns="0" tIns="0" rIns="0" bIns="0" rtlCol="0">
            <a:spAutoFit/>
          </a:bodyPr>
          <a:lstStyle/>
          <a:p>
            <a:pPr algn="l">
              <a:lnSpc>
                <a:spcPct val="111000"/>
              </a:lnSpc>
            </a:pPr>
            <a:r>
              <a:rPr lang="da-DK" sz="1500"/>
              <a:t>Phase</a:t>
            </a:r>
          </a:p>
        </p:txBody>
      </p:sp>
      <p:sp>
        <p:nvSpPr>
          <p:cNvPr id="18" name="Tekstfelt 17">
            <a:extLst>
              <a:ext uri="{FF2B5EF4-FFF2-40B4-BE49-F238E27FC236}">
                <a16:creationId xmlns:a16="http://schemas.microsoft.com/office/drawing/2014/main" id="{9FCA43FB-B86A-46D1-A413-E65A14D55DA5}"/>
              </a:ext>
            </a:extLst>
          </p:cNvPr>
          <p:cNvSpPr txBox="1"/>
          <p:nvPr/>
        </p:nvSpPr>
        <p:spPr>
          <a:xfrm>
            <a:off x="10610952" y="3474710"/>
            <a:ext cx="1331112" cy="220253"/>
          </a:xfrm>
          <a:prstGeom prst="rect">
            <a:avLst/>
          </a:prstGeom>
          <a:solidFill>
            <a:schemeClr val="bg1"/>
          </a:solidFill>
        </p:spPr>
        <p:txBody>
          <a:bodyPr wrap="square" lIns="0" tIns="0" rIns="0" bIns="0" rtlCol="0">
            <a:spAutoFit/>
          </a:bodyPr>
          <a:lstStyle/>
          <a:p>
            <a:pPr algn="l">
              <a:lnSpc>
                <a:spcPct val="111000"/>
              </a:lnSpc>
            </a:pPr>
            <a:r>
              <a:rPr lang="da-DK" sz="1400" b="1"/>
              <a:t>IMPLEMENTED</a:t>
            </a:r>
          </a:p>
        </p:txBody>
      </p:sp>
      <p:sp>
        <p:nvSpPr>
          <p:cNvPr id="19" name="Tekstfelt 18">
            <a:extLst>
              <a:ext uri="{FF2B5EF4-FFF2-40B4-BE49-F238E27FC236}">
                <a16:creationId xmlns:a16="http://schemas.microsoft.com/office/drawing/2014/main" id="{A12758B0-F2CF-40D5-8811-6FDEF03A8670}"/>
              </a:ext>
            </a:extLst>
          </p:cNvPr>
          <p:cNvSpPr txBox="1"/>
          <p:nvPr/>
        </p:nvSpPr>
        <p:spPr>
          <a:xfrm>
            <a:off x="6823353" y="2673926"/>
            <a:ext cx="1161288" cy="188834"/>
          </a:xfrm>
          <a:prstGeom prst="rect">
            <a:avLst/>
          </a:prstGeom>
          <a:solidFill>
            <a:srgbClr val="E4DCDB"/>
          </a:solidFill>
        </p:spPr>
        <p:txBody>
          <a:bodyPr wrap="square" lIns="0" tIns="0" rIns="0" bIns="0" rtlCol="0">
            <a:spAutoFit/>
          </a:bodyPr>
          <a:lstStyle/>
          <a:p>
            <a:pPr algn="l">
              <a:lnSpc>
                <a:spcPct val="111000"/>
              </a:lnSpc>
            </a:pPr>
            <a:r>
              <a:rPr lang="da-DK" sz="1200" b="1"/>
              <a:t>DEVELOPMENT</a:t>
            </a:r>
          </a:p>
        </p:txBody>
      </p:sp>
      <p:sp>
        <p:nvSpPr>
          <p:cNvPr id="20" name="Tekstfelt 19">
            <a:extLst>
              <a:ext uri="{FF2B5EF4-FFF2-40B4-BE49-F238E27FC236}">
                <a16:creationId xmlns:a16="http://schemas.microsoft.com/office/drawing/2014/main" id="{255E151A-34B4-4509-AD53-D4C464D97688}"/>
              </a:ext>
            </a:extLst>
          </p:cNvPr>
          <p:cNvSpPr txBox="1"/>
          <p:nvPr/>
        </p:nvSpPr>
        <p:spPr>
          <a:xfrm>
            <a:off x="4870064" y="2330691"/>
            <a:ext cx="1393575" cy="220253"/>
          </a:xfrm>
          <a:prstGeom prst="rect">
            <a:avLst/>
          </a:prstGeom>
          <a:solidFill>
            <a:srgbClr val="E4DCDB"/>
          </a:solidFill>
        </p:spPr>
        <p:txBody>
          <a:bodyPr wrap="square" lIns="0" tIns="0" rIns="0" bIns="0" rtlCol="0">
            <a:spAutoFit/>
          </a:bodyPr>
          <a:lstStyle/>
          <a:p>
            <a:pPr algn="l">
              <a:lnSpc>
                <a:spcPct val="111000"/>
              </a:lnSpc>
            </a:pPr>
            <a:r>
              <a:rPr lang="da-DK" sz="1400" b="1"/>
              <a:t>Planning</a:t>
            </a:r>
          </a:p>
        </p:txBody>
      </p:sp>
      <mc:AlternateContent xmlns:mc="http://schemas.openxmlformats.org/markup-compatibility/2006">
        <mc:Choice xmlns:p14="http://schemas.microsoft.com/office/powerpoint/2010/main" Requires="p14">
          <p:contentPart p14:bwMode="auto" r:id="rId9">
            <p14:nvContentPartPr>
              <p14:cNvPr id="7" name="Håndskrift 6">
                <a:extLst>
                  <a:ext uri="{FF2B5EF4-FFF2-40B4-BE49-F238E27FC236}">
                    <a16:creationId xmlns:a16="http://schemas.microsoft.com/office/drawing/2014/main" id="{75502822-135B-4C04-A6D6-A15F0E4FC2E7}"/>
                  </a:ext>
                </a:extLst>
              </p14:cNvPr>
              <p14:cNvContentPartPr/>
              <p14:nvPr/>
            </p14:nvContentPartPr>
            <p14:xfrm>
              <a:off x="408960" y="1015560"/>
              <a:ext cx="11256480" cy="5749200"/>
            </p14:xfrm>
          </p:contentPart>
        </mc:Choice>
        <mc:Fallback>
          <p:pic>
            <p:nvPicPr>
              <p:cNvPr id="7" name="Håndskrift 6">
                <a:extLst>
                  <a:ext uri="{FF2B5EF4-FFF2-40B4-BE49-F238E27FC236}">
                    <a16:creationId xmlns:a16="http://schemas.microsoft.com/office/drawing/2014/main" id="{75502822-135B-4C04-A6D6-A15F0E4FC2E7}"/>
                  </a:ext>
                </a:extLst>
              </p:cNvPr>
              <p:cNvPicPr/>
              <p:nvPr/>
            </p:nvPicPr>
            <p:blipFill>
              <a:blip r:embed="rId10"/>
              <a:stretch>
                <a:fillRect/>
              </a:stretch>
            </p:blipFill>
            <p:spPr>
              <a:xfrm>
                <a:off x="399600" y="1006200"/>
                <a:ext cx="11275200" cy="5767920"/>
              </a:xfrm>
              <a:prstGeom prst="rect">
                <a:avLst/>
              </a:prstGeom>
            </p:spPr>
          </p:pic>
        </mc:Fallback>
      </mc:AlternateContent>
    </p:spTree>
    <p:custDataLst>
      <p:tags r:id="rId2"/>
    </p:custDataLst>
    <p:extLst>
      <p:ext uri="{BB962C8B-B14F-4D97-AF65-F5344CB8AC3E}">
        <p14:creationId xmlns:p14="http://schemas.microsoft.com/office/powerpoint/2010/main" val="3132292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HAPE_LOCKS" val="0"/>
</p:tagLst>
</file>

<file path=ppt/tags/tag25.xml><?xml version="1.0" encoding="utf-8"?>
<p:tagLst xmlns:a="http://schemas.openxmlformats.org/drawingml/2006/main" xmlns:r="http://schemas.openxmlformats.org/officeDocument/2006/relationships" xmlns:p="http://schemas.openxmlformats.org/presentationml/2006/main">
  <p:tag name="SHAPE_LOCKS" val="0"/>
</p:tagLst>
</file>

<file path=ppt/tags/tag26.xml><?xml version="1.0" encoding="utf-8"?>
<p:tagLst xmlns:a="http://schemas.openxmlformats.org/drawingml/2006/main" xmlns:r="http://schemas.openxmlformats.org/officeDocument/2006/relationships" xmlns:p="http://schemas.openxmlformats.org/presentationml/2006/main">
  <p:tag name="SHAPE_LOCKS" val="0"/>
</p:tagLst>
</file>

<file path=ppt/tags/tag27.xml><?xml version="1.0" encoding="utf-8"?>
<p:tagLst xmlns:a="http://schemas.openxmlformats.org/drawingml/2006/main" xmlns:r="http://schemas.openxmlformats.org/officeDocument/2006/relationships" xmlns:p="http://schemas.openxmlformats.org/presentationml/2006/main">
  <p:tag name="SHAPE_LOCKS" val="0"/>
</p:tagLst>
</file>

<file path=ppt/tags/tag28.xml><?xml version="1.0" encoding="utf-8"?>
<p:tagLst xmlns:a="http://schemas.openxmlformats.org/drawingml/2006/main" xmlns:r="http://schemas.openxmlformats.org/officeDocument/2006/relationships" xmlns:p="http://schemas.openxmlformats.org/presentationml/2006/main">
  <p:tag name="SHAPE_LOCKS" val="0"/>
</p:tagLst>
</file>

<file path=ppt/tags/tag29.xml><?xml version="1.0" encoding="utf-8"?>
<p:tagLst xmlns:a="http://schemas.openxmlformats.org/drawingml/2006/main" xmlns:r="http://schemas.openxmlformats.org/officeDocument/2006/relationships" xmlns:p="http://schemas.openxmlformats.org/presentationml/2006/main">
  <p:tag name="SHAPE_LOCKS" val="0"/>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HAPE_LOCKS" val="0"/>
</p:tagLst>
</file>

<file path=ppt/tags/tag31.xml><?xml version="1.0" encoding="utf-8"?>
<p:tagLst xmlns:a="http://schemas.openxmlformats.org/drawingml/2006/main" xmlns:r="http://schemas.openxmlformats.org/officeDocument/2006/relationships" xmlns:p="http://schemas.openxmlformats.org/presentationml/2006/main">
  <p:tag name="SHAPE_LOCKS" val="0"/>
</p:tagLst>
</file>

<file path=ppt/tags/tag32.xml><?xml version="1.0" encoding="utf-8"?>
<p:tagLst xmlns:a="http://schemas.openxmlformats.org/drawingml/2006/main" xmlns:r="http://schemas.openxmlformats.org/officeDocument/2006/relationships" xmlns:p="http://schemas.openxmlformats.org/presentationml/2006/main">
  <p:tag name="SHAPE_LOCKS" val="0"/>
</p:tagLst>
</file>

<file path=ppt/tags/tag33.xml><?xml version="1.0" encoding="utf-8"?>
<p:tagLst xmlns:a="http://schemas.openxmlformats.org/drawingml/2006/main" xmlns:r="http://schemas.openxmlformats.org/officeDocument/2006/relationships" xmlns:p="http://schemas.openxmlformats.org/presentationml/2006/main">
  <p:tag name="SHAPE_LOCKS" val="0"/>
</p:tagLst>
</file>

<file path=ppt/tags/tag34.xml><?xml version="1.0" encoding="utf-8"?>
<p:tagLst xmlns:a="http://schemas.openxmlformats.org/drawingml/2006/main" xmlns:r="http://schemas.openxmlformats.org/officeDocument/2006/relationships" xmlns:p="http://schemas.openxmlformats.org/presentationml/2006/main">
  <p:tag name="SHAPE_LOCKS" val="0"/>
</p:tagLst>
</file>

<file path=ppt/tags/tag35.xml><?xml version="1.0" encoding="utf-8"?>
<p:tagLst xmlns:a="http://schemas.openxmlformats.org/drawingml/2006/main" xmlns:r="http://schemas.openxmlformats.org/officeDocument/2006/relationships" xmlns:p="http://schemas.openxmlformats.org/presentationml/2006/main">
  <p:tag name="SHAPE_LOCKS" val="0"/>
</p:tagLst>
</file>

<file path=ppt/tags/tag36.xml><?xml version="1.0" encoding="utf-8"?>
<p:tagLst xmlns:a="http://schemas.openxmlformats.org/drawingml/2006/main" xmlns:r="http://schemas.openxmlformats.org/officeDocument/2006/relationships" xmlns:p="http://schemas.openxmlformats.org/presentationml/2006/main">
  <p:tag name="SHAPE_LOCKS" val="0"/>
</p:tagLst>
</file>

<file path=ppt/tags/tag37.xml><?xml version="1.0" encoding="utf-8"?>
<p:tagLst xmlns:a="http://schemas.openxmlformats.org/drawingml/2006/main" xmlns:r="http://schemas.openxmlformats.org/officeDocument/2006/relationships" xmlns:p="http://schemas.openxmlformats.org/presentationml/2006/main">
  <p:tag name="SHAPE_LOCKS" val="0"/>
</p:tagLst>
</file>

<file path=ppt/tags/tag38.xml><?xml version="1.0" encoding="utf-8"?>
<p:tagLst xmlns:a="http://schemas.openxmlformats.org/drawingml/2006/main" xmlns:r="http://schemas.openxmlformats.org/officeDocument/2006/relationships" xmlns:p="http://schemas.openxmlformats.org/presentationml/2006/main">
  <p:tag name="SHAPE_LOCKS" val="0"/>
</p:tagLst>
</file>

<file path=ppt/tags/tag39.xml><?xml version="1.0" encoding="utf-8"?>
<p:tagLst xmlns:a="http://schemas.openxmlformats.org/drawingml/2006/main" xmlns:r="http://schemas.openxmlformats.org/officeDocument/2006/relationships" xmlns:p="http://schemas.openxmlformats.org/presentationml/2006/main">
  <p:tag name="SHAPE_LOCKS" val="0"/>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HAPE_LOCKS" val="0"/>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HAPE_LOCKS" val="0"/>
</p:tagLst>
</file>

<file path=ppt/tags/tag66.xml><?xml version="1.0" encoding="utf-8"?>
<p:tagLst xmlns:a="http://schemas.openxmlformats.org/drawingml/2006/main" xmlns:r="http://schemas.openxmlformats.org/officeDocument/2006/relationships" xmlns:p="http://schemas.openxmlformats.org/presentationml/2006/main">
  <p:tag name="SHAPE_LOCKS" val="0"/>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UFST 16:9 præsentation">
  <a:themeElements>
    <a:clrScheme name="UFST">
      <a:dk1>
        <a:srgbClr val="14143C"/>
      </a:dk1>
      <a:lt1>
        <a:sysClr val="window" lastClr="FFFFFF"/>
      </a:lt1>
      <a:dk2>
        <a:srgbClr val="E8E8EC"/>
      </a:dk2>
      <a:lt2>
        <a:srgbClr val="E8F0F8"/>
      </a:lt2>
      <a:accent1>
        <a:srgbClr val="14143C"/>
      </a:accent1>
      <a:accent2>
        <a:srgbClr val="434363"/>
      </a:accent2>
      <a:accent3>
        <a:srgbClr val="72728A"/>
      </a:accent3>
      <a:accent4>
        <a:srgbClr val="B8B8C4"/>
      </a:accent4>
      <a:accent5>
        <a:srgbClr val="77A5D5"/>
      </a:accent5>
      <a:accent6>
        <a:srgbClr val="BBD2EA"/>
      </a:accent6>
      <a:hlink>
        <a:srgbClr val="1C69B9"/>
      </a:hlink>
      <a:folHlink>
        <a:srgbClr val="14143C"/>
      </a:folHlink>
    </a:clrScheme>
    <a:fontScheme name="UFST">
      <a:majorFont>
        <a:latin typeface="Academy Sans Office Extrabold"/>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rgbClr val="12133B"/>
        </a:solidFill>
        <a:ln w="0">
          <a:solidFill>
            <a:srgbClr val="000000"/>
          </a:solidFill>
          <a:prstDash val="solid"/>
          <a:round/>
          <a:headEnd/>
          <a:tailEnd/>
        </a:ln>
      </a:spPr>
      <a:bodyPr vert="horz" wrap="square" lIns="91440" tIns="45720" rIns="91440" bIns="45720" numCol="1" anchor="t" anchorCtr="0" compatLnSpc="1">
        <a:prstTxWarp prst="textNoShape">
          <a:avLst/>
        </a:prstTxWarp>
      </a:bodyPr>
      <a:lstStyle>
        <a:defPPr algn="l">
          <a:defRPr/>
        </a:defPPr>
      </a:lst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defRPr sz="1500" dirty="0">
            <a:solidFill>
              <a:schemeClr val="accent1"/>
            </a:solidFill>
          </a:defRPr>
        </a:defPPr>
      </a:lstStyle>
    </a:txDef>
  </a:objectDefaults>
  <a:extraClrSchemeLst/>
  <a:extLst>
    <a:ext uri="{05A4C25C-085E-4340-85A3-A5531E510DB2}">
      <thm15:themeFamily xmlns:thm15="http://schemas.microsoft.com/office/thememl/2012/main" name="Ny_skabelon" id="{AE4862F9-BFB6-4216-9AD8-7FBFBD8CEC75}" vid="{7F7869FE-DAF8-4C18-BEC2-9BE2F5320634}"/>
    </a:ext>
  </a:extLst>
</a:theme>
</file>

<file path=ppt/theme/theme2.xml><?xml version="1.0" encoding="utf-8"?>
<a:theme xmlns:a="http://schemas.openxmlformats.org/drawingml/2006/main" name="UFST 16:9 præsentation">
  <a:themeElements>
    <a:clrScheme name="UFST">
      <a:dk1>
        <a:srgbClr val="14143C"/>
      </a:dk1>
      <a:lt1>
        <a:sysClr val="window" lastClr="FFFFFF"/>
      </a:lt1>
      <a:dk2>
        <a:srgbClr val="E8E8EC"/>
      </a:dk2>
      <a:lt2>
        <a:srgbClr val="E8F0F8"/>
      </a:lt2>
      <a:accent1>
        <a:srgbClr val="14143C"/>
      </a:accent1>
      <a:accent2>
        <a:srgbClr val="434363"/>
      </a:accent2>
      <a:accent3>
        <a:srgbClr val="72728A"/>
      </a:accent3>
      <a:accent4>
        <a:srgbClr val="B8B8C4"/>
      </a:accent4>
      <a:accent5>
        <a:srgbClr val="77A5D5"/>
      </a:accent5>
      <a:accent6>
        <a:srgbClr val="BBD2EA"/>
      </a:accent6>
      <a:hlink>
        <a:srgbClr val="1C69B9"/>
      </a:hlink>
      <a:folHlink>
        <a:srgbClr val="14143C"/>
      </a:folHlink>
    </a:clrScheme>
    <a:fontScheme name="UFST">
      <a:majorFont>
        <a:latin typeface="Academy Sans Office Extrabold"/>
        <a:ea typeface=""/>
        <a:cs typeface=""/>
      </a:majorFont>
      <a:minorFont>
        <a:latin typeface="Academy Sans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lnSpc>
            <a:spcPct val="110000"/>
          </a:lnSpc>
          <a:defRPr sz="1500" noProof="0"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defRPr sz="1500" dirty="0">
            <a:solidFill>
              <a:schemeClr val="accent1"/>
            </a:solidFill>
          </a:defRPr>
        </a:defPPr>
      </a:lstStyle>
    </a:txDef>
  </a:objectDefaults>
  <a:extraClrSchemeLst/>
  <a:extLst>
    <a:ext uri="{05A4C25C-085E-4340-85A3-A5531E510DB2}">
      <thm15:themeFamily xmlns:thm15="http://schemas.microsoft.com/office/thememl/2012/main" name="Ny_skabelon" id="{AE4862F9-BFB6-4216-9AD8-7FBFBD8CEC75}" vid="{7F7869FE-DAF8-4C18-BEC2-9BE2F5320634}"/>
    </a:ext>
  </a:extLst>
</a:theme>
</file>

<file path=ppt/theme/theme3.xml><?xml version="1.0" encoding="utf-8"?>
<a:theme xmlns:a="http://schemas.openxmlformats.org/drawingml/2006/main" name="Blank">
  <a:themeElements>
    <a:clrScheme name="Udviklingsstyrelsen">
      <a:dk1>
        <a:srgbClr val="14143C"/>
      </a:dk1>
      <a:lt1>
        <a:srgbClr val="FFFFFF"/>
      </a:lt1>
      <a:dk2>
        <a:srgbClr val="D1C5C3"/>
      </a:dk2>
      <a:lt2>
        <a:srgbClr val="E8E2E1"/>
      </a:lt2>
      <a:accent1>
        <a:srgbClr val="14143C"/>
      </a:accent1>
      <a:accent2>
        <a:srgbClr val="72728A"/>
      </a:accent2>
      <a:accent3>
        <a:srgbClr val="B8B8C4"/>
      </a:accent3>
      <a:accent4>
        <a:srgbClr val="1C69B9"/>
      </a:accent4>
      <a:accent5>
        <a:srgbClr val="77A5D5"/>
      </a:accent5>
      <a:accent6>
        <a:srgbClr val="BBD2EA"/>
      </a:accent6>
      <a:hlink>
        <a:srgbClr val="14143C"/>
      </a:hlink>
      <a:folHlink>
        <a:srgbClr val="14143C"/>
      </a:folHlink>
    </a:clrScheme>
    <a:fontScheme name="Skatteministerie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lnSpc>
            <a:spcPct val="111000"/>
          </a:lnSpc>
          <a:defRPr sz="15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1000"/>
          </a:lnSpc>
          <a:defRPr sz="1500" dirty="0" err="1"/>
        </a:defPPr>
      </a:lstStyle>
    </a:txDef>
  </a:objectDefaults>
  <a:extraClrSchemeLst/>
  <a:custClrLst>
    <a:custClr name="Color has no name">
      <a:srgbClr val="14143C"/>
    </a:custClr>
    <a:custClr name="Color has no name">
      <a:srgbClr val="D1C5C3"/>
    </a:custClr>
    <a:custClr name="Color has no name">
      <a:srgbClr val="1C69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72728A"/>
    </a:custClr>
    <a:custClr name="Color has no name">
      <a:srgbClr val="E8E2E1"/>
    </a:custClr>
    <a:custClr name="Color has no name">
      <a:srgbClr val="77A5D5"/>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B8B8C4"/>
    </a:custClr>
    <a:custClr name="Color has no name">
      <a:srgbClr val="FFFFFF"/>
    </a:custClr>
    <a:custClr name="Color has no name">
      <a:srgbClr val="BBD2EA"/>
    </a:custClr>
  </a:custClrLst>
  <a:extLst>
    <a:ext uri="{05A4C25C-085E-4340-85A3-A5531E510DB2}">
      <thm15:themeFamily xmlns:thm15="http://schemas.microsoft.com/office/thememl/2012/main" name="Blank.potx" id="{07AA2E26-6274-489F-BC03-FBACBC74DE4C}" vid="{F6C9F24E-4019-4003-8F42-A0232ABBBFA4}"/>
    </a:ext>
  </a:extLst>
</a:theme>
</file>

<file path=ppt/theme/theme4.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FindesiMSTeams_x003f_ xmlns="0a98d207-fd14-4b31-b349-cd66cde93df7">false</FindesiMSTeams_x003f_>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4F80EE99E2D08D47AEF55B8246050741" ma:contentTypeVersion="14" ma:contentTypeDescription="Opret et nyt dokument." ma:contentTypeScope="" ma:versionID="1926e911ff25b4ad1f692b78a8b508af">
  <xsd:schema xmlns:xsd="http://www.w3.org/2001/XMLSchema" xmlns:xs="http://www.w3.org/2001/XMLSchema" xmlns:p="http://schemas.microsoft.com/office/2006/metadata/properties" xmlns:ns2="0a98d207-fd14-4b31-b349-cd66cde93df7" xmlns:ns3="e60e425c-a4e6-47e0-a983-eae0a160865c" targetNamespace="http://schemas.microsoft.com/office/2006/metadata/properties" ma:root="true" ma:fieldsID="c88726eee1021b2ae0dc902f5ecede9c" ns2:_="" ns3:_="">
    <xsd:import namespace="0a98d207-fd14-4b31-b349-cd66cde93df7"/>
    <xsd:import namespace="e60e425c-a4e6-47e0-a983-eae0a160865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element ref="ns2:FindesiMSTeams_x003f_"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a98d207-fd14-4b31-b349-cd66cde93d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FindesiMSTeams_x003f_" ma:index="19" nillable="true" ma:displayName="Findes i MS Teams?" ma:default="0" ma:description="Denne kolonne SKAL bruges til at holdes ajour med hvilke af de overordnede mapper der reelt set findes i MS Teams" ma:format="Dropdown" ma:internalName="FindesiMSTeams_x003f_">
      <xsd:simpleType>
        <xsd:restriction base="dms:Boolea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60e425c-a4e6-47e0-a983-eae0a160865c" elementFormDefault="qualified">
    <xsd:import namespace="http://schemas.microsoft.com/office/2006/documentManagement/types"/>
    <xsd:import namespace="http://schemas.microsoft.com/office/infopath/2007/PartnerControls"/>
    <xsd:element name="SharedWithUsers" ma:index="17"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80BCB9-0CEF-4DA1-93C8-136073B572BC}">
  <ds:schemaRefs>
    <ds:schemaRef ds:uri="http://schemas.microsoft.com/sharepoint/v3/contenttype/forms"/>
  </ds:schemaRefs>
</ds:datastoreItem>
</file>

<file path=customXml/itemProps2.xml><?xml version="1.0" encoding="utf-8"?>
<ds:datastoreItem xmlns:ds="http://schemas.openxmlformats.org/officeDocument/2006/customXml" ds:itemID="{8E892130-A204-4898-AB50-D93B58A71714}">
  <ds:schemaRefs>
    <ds:schemaRef ds:uri="0a98d207-fd14-4b31-b349-cd66cde93df7"/>
    <ds:schemaRef ds:uri="e60e425c-a4e6-47e0-a983-eae0a160865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B731EDBC-E375-49D2-9E2F-815D650E5B28}">
  <ds:schemaRefs>
    <ds:schemaRef ds:uri="0a98d207-fd14-4b31-b349-cd66cde93df7"/>
    <ds:schemaRef ds:uri="e60e425c-a4e6-47e0-a983-eae0a160865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42</TotalTime>
  <Words>1521</Words>
  <Application>Microsoft Office PowerPoint</Application>
  <PresentationFormat>Widescreen</PresentationFormat>
  <Paragraphs>260</Paragraphs>
  <Slides>20</Slides>
  <Notes>9</Notes>
  <HiddenSlides>0</HiddenSlides>
  <MMClips>0</MMClips>
  <ScaleCrop>false</ScaleCrop>
  <HeadingPairs>
    <vt:vector size="8" baseType="variant">
      <vt:variant>
        <vt:lpstr>Benyttede skrifttyper</vt:lpstr>
      </vt:variant>
      <vt:variant>
        <vt:i4>14</vt:i4>
      </vt:variant>
      <vt:variant>
        <vt:lpstr>Tema</vt:lpstr>
      </vt:variant>
      <vt:variant>
        <vt:i4>3</vt:i4>
      </vt:variant>
      <vt:variant>
        <vt:lpstr>Integrerede OLE-servere</vt:lpstr>
      </vt:variant>
      <vt:variant>
        <vt:i4>1</vt:i4>
      </vt:variant>
      <vt:variant>
        <vt:lpstr>Slidetitler</vt:lpstr>
      </vt:variant>
      <vt:variant>
        <vt:i4>20</vt:i4>
      </vt:variant>
    </vt:vector>
  </HeadingPairs>
  <TitlesOfParts>
    <vt:vector size="38" baseType="lpstr">
      <vt:lpstr>Wingdings</vt:lpstr>
      <vt:lpstr>Nunito Sans SemiBold</vt:lpstr>
      <vt:lpstr>Academy Sans Office</vt:lpstr>
      <vt:lpstr>Nunito Sans ExtraLight</vt:lpstr>
      <vt:lpstr>Arial</vt:lpstr>
      <vt:lpstr>Nunito Sans</vt:lpstr>
      <vt:lpstr>Lato Light</vt:lpstr>
      <vt:lpstr>Academy Sans</vt:lpstr>
      <vt:lpstr>Academy Sans Demibold</vt:lpstr>
      <vt:lpstr>Poppins</vt:lpstr>
      <vt:lpstr>Academy Sans Office Extrabold</vt:lpstr>
      <vt:lpstr>Academy Sans Office Black</vt:lpstr>
      <vt:lpstr>Open Sans</vt:lpstr>
      <vt:lpstr>Helvetica Light</vt:lpstr>
      <vt:lpstr>UFST 16:9 præsentation</vt:lpstr>
      <vt:lpstr>UFST 16:9 præsentation</vt:lpstr>
      <vt:lpstr>Blank</vt:lpstr>
      <vt:lpstr>think-cell Slide</vt:lpstr>
      <vt:lpstr>Agile Development </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12 principles</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Kate Louise Balslev</dc:creator>
  <cp:lastModifiedBy>Anni Rander</cp:lastModifiedBy>
  <cp:revision>6</cp:revision>
  <cp:lastPrinted>2022-01-18T08:09:35Z</cp:lastPrinted>
  <dcterms:created xsi:type="dcterms:W3CDTF">2021-08-09T09:02:48Z</dcterms:created>
  <dcterms:modified xsi:type="dcterms:W3CDTF">2022-01-18T14:1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DocumentInfoFinished">
    <vt:lpwstr>True</vt:lpwstr>
  </property>
  <property fmtid="{D5CDD505-2E9C-101B-9397-08002B2CF9AE}" pid="4" name="ContentTypeId">
    <vt:lpwstr>0x0101004F80EE99E2D08D47AEF55B8246050741</vt:lpwstr>
  </property>
</Properties>
</file>